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2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3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  <p:sldMasterId id="2147483672" r:id="rId5"/>
    <p:sldMasterId id="2147483728" r:id="rId6"/>
    <p:sldMasterId id="2147483740" r:id="rId7"/>
  </p:sldMasterIdLst>
  <p:notesMasterIdLst>
    <p:notesMasterId r:id="rId18"/>
  </p:notesMasterIdLst>
  <p:sldIdLst>
    <p:sldId id="256" r:id="rId8"/>
    <p:sldId id="261" r:id="rId9"/>
    <p:sldId id="2147483416" r:id="rId10"/>
    <p:sldId id="2147480027" r:id="rId11"/>
    <p:sldId id="2147480028" r:id="rId12"/>
    <p:sldId id="2147480024" r:id="rId13"/>
    <p:sldId id="257" r:id="rId14"/>
    <p:sldId id="2147480025" r:id="rId15"/>
    <p:sldId id="2147480026" r:id="rId16"/>
    <p:sldId id="262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2AEF0"/>
    <a:srgbClr val="5EA442"/>
    <a:srgbClr val="F1592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9EEE035-885B-4151-A327-F0DC9EE9CCDC}" v="3" dt="2024-06-20T19:38:37.40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972" autoAdjust="0"/>
    <p:restoredTop sz="93792" autoAdjust="0"/>
  </p:normalViewPr>
  <p:slideViewPr>
    <p:cSldViewPr snapToGrid="0">
      <p:cViewPr varScale="1">
        <p:scale>
          <a:sx n="107" d="100"/>
          <a:sy n="107" d="100"/>
        </p:scale>
        <p:origin x="46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microsoft.com/office/2015/10/relationships/revisionInfo" Target="revisionInfo.xml"/><Relationship Id="rId10" Type="http://schemas.openxmlformats.org/officeDocument/2006/relationships/slide" Target="slides/slide3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3A18A4-5E43-49F4-9700-A2378E6B0894}" type="datetimeFigureOut">
              <a:rPr lang="en-US" smtClean="0"/>
              <a:t>6/27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29BCCE-CBFE-4D8F-91D8-4F06582B9A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17059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2" name="Google Shape;82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u="none" strike="noStrike" dirty="0">
                <a:solidFill>
                  <a:srgbClr val="333333"/>
                </a:solidFill>
                <a:effectLst/>
                <a:latin typeface="interfaceregular"/>
              </a:rPr>
              <a:t>Glucagon is key to controlling blood sugar levels and is critical to the management of insulin from the pancrea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0" i="0" u="none" strike="noStrike" dirty="0">
              <a:solidFill>
                <a:srgbClr val="333333"/>
              </a:solidFill>
              <a:effectLst/>
              <a:latin typeface="interfaceregular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u="none" strike="noStrike" dirty="0">
                <a:solidFill>
                  <a:srgbClr val="333333"/>
                </a:solidFill>
                <a:effectLst/>
                <a:latin typeface="interfaceregular"/>
              </a:rPr>
              <a:t>That is why GLP1s were originally designed for diabetes. 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0" i="0" u="none" strike="noStrike" dirty="0">
              <a:solidFill>
                <a:srgbClr val="333333"/>
              </a:solidFill>
              <a:effectLst/>
              <a:latin typeface="interfaceregular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u="none" strike="noStrike" dirty="0">
                <a:solidFill>
                  <a:srgbClr val="333333"/>
                </a:solidFill>
                <a:effectLst/>
                <a:latin typeface="interfaceregular"/>
              </a:rPr>
              <a:t>But what we discovered was the impact on the brain and stomach – decrease appetite, makes you feel full – causes weight loss. 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0" i="0" u="none" strike="noStrike" dirty="0">
              <a:solidFill>
                <a:srgbClr val="333333"/>
              </a:solidFill>
              <a:effectLst/>
              <a:latin typeface="interfaceregular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rgbClr val="1C1D1E"/>
                </a:solidFill>
                <a:effectLst/>
                <a:latin typeface="Open Sans" panose="020B0606030504020204" pitchFamily="34" charset="0"/>
              </a:rPr>
              <a:t>Journal of Internal Medicine, “Glucagon-like peptide-1: Are its roles as endogenous hormone and therapeutic wizard congruent?”,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rgbClr val="1C1D1E"/>
                </a:solidFill>
                <a:effectLst/>
                <a:latin typeface="Open Sans" panose="020B0606030504020204" pitchFamily="34" charset="0"/>
              </a:rPr>
              <a:t>Volume291, Issue5, May 2022, Pages 557-573. https://onlinelibrary.wiley.com/doi/10.1111/joim.13433, accessed, 6/13/24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0" i="0" u="none" strike="noStrike" dirty="0">
              <a:solidFill>
                <a:srgbClr val="333333"/>
              </a:solidFill>
              <a:effectLst/>
              <a:latin typeface="interfaceregular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fld id="{D6F72A77-3046-480C-A19F-694E6A0236B6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VS Health Sans"/>
                <a:ea typeface="+mn-ea"/>
                <a:cs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3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CVS Health Sans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08416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7" name="Google Shape;87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Google Shape;128;p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" name="Google Shape;129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7" name="Google Shape;687;g211dbad3ddb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5800"/>
            <a:ext cx="6094412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688" name="Google Shape;688;g211dbad3ddb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Lato"/>
              <a:ea typeface="Lato"/>
              <a:cs typeface="Lato"/>
              <a:sym typeface="Lato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" name="Google Shape;706;g211db248aa1_2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07" name="Google Shape;707;g211db248aa1_2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b="1"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708" name="Google Shape;708;g211db248aa1_2_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7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8" name="Google Shape;718;g2c8857d12da_4_37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19" name="Google Shape;719;g2c8857d12da_4_378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20" name="Google Shape;720;g2c8857d12da_4_378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8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8" name="Google Shape;758;g211dbad3ddb_0_5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59" name="Google Shape;759;g211dbad3ddb_0_54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760" name="Google Shape;760;g211dbad3ddb_0_54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t>9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CF60D9-7A44-4F5F-81F2-D957743028E8}" type="datetime1">
              <a:rPr lang="en-US" smtClean="0"/>
              <a:t>6/2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8BEBB2-2CB7-42E1-B3EB-538AC521BB4F}" type="datetime1">
              <a:rPr lang="en-US" smtClean="0"/>
              <a:t>6/2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right red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5">
            <a:extLst>
              <a:ext uri="{FF2B5EF4-FFF2-40B4-BE49-F238E27FC236}">
                <a16:creationId xmlns:a16="http://schemas.microsoft.com/office/drawing/2014/main" id="{A4D12A02-A360-46A7-8D87-07E27C95D1F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4148" y="384048"/>
            <a:ext cx="11432977" cy="57241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231775" indent="0" algn="l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A5028E0-B9C4-4F1E-B493-C01E099850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0" y="0"/>
            <a:ext cx="5323194" cy="5724144"/>
          </a:xfrm>
          <a:solidFill>
            <a:srgbClr val="CC0000">
              <a:alpha val="74902"/>
            </a:srgbClr>
          </a:solidFill>
        </p:spPr>
        <p:txBody>
          <a:bodyPr lIns="566928" tIns="822960" rIns="182880" bIns="182880" anchor="t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B2D2B8-9FB8-4A09-A965-EDE29B294B69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6667712" y="2103120"/>
            <a:ext cx="4115872" cy="3154680"/>
          </a:xfrm>
        </p:spPr>
        <p:txBody>
          <a:bodyPr/>
          <a:lstStyle>
            <a:lvl1pPr>
              <a:defRPr sz="1500" cap="none" baseline="0">
                <a:solidFill>
                  <a:schemeClr val="bg1"/>
                </a:solidFill>
              </a:defRPr>
            </a:lvl1pPr>
            <a:lvl2pPr marL="171450" indent="-171450">
              <a:defRPr sz="1500">
                <a:solidFill>
                  <a:schemeClr val="bg1"/>
                </a:solidFill>
              </a:defRPr>
            </a:lvl2pPr>
            <a:lvl3pPr marL="347663" indent="-176213">
              <a:spcBef>
                <a:spcPts val="600"/>
              </a:spcBef>
              <a:buFont typeface="Arial" panose="020B0604020202020204" pitchFamily="34" charset="0"/>
              <a:buChar char="–"/>
              <a:defRPr sz="1500">
                <a:solidFill>
                  <a:schemeClr val="bg1"/>
                </a:solidFill>
              </a:defRPr>
            </a:lvl3pPr>
            <a:lvl4pPr marL="509588" indent="-161925">
              <a:spcBef>
                <a:spcPts val="600"/>
              </a:spcBef>
              <a:defRPr sz="1500">
                <a:solidFill>
                  <a:schemeClr val="bg1"/>
                </a:solidFill>
              </a:defRPr>
            </a:lvl4pPr>
            <a:lvl5pPr marL="682625" indent="-173038">
              <a:spcBef>
                <a:spcPts val="600"/>
              </a:spcBef>
              <a:defRPr sz="1500">
                <a:solidFill>
                  <a:schemeClr val="bg1"/>
                </a:solidFill>
              </a:defRPr>
            </a:lvl5pPr>
            <a:lvl6pPr marL="857250" indent="-174625">
              <a:defRPr sz="1500">
                <a:solidFill>
                  <a:schemeClr val="bg1"/>
                </a:solidFill>
              </a:defRPr>
            </a:lvl6pPr>
            <a:lvl7pPr marL="1030288" indent="-173038">
              <a:spcBef>
                <a:spcPts val="600"/>
              </a:spcBef>
              <a:buFont typeface="Arial" panose="020B0604020202020204" pitchFamily="34" charset="0"/>
              <a:buChar char="–"/>
              <a:defRPr sz="1500" baseline="0">
                <a:solidFill>
                  <a:schemeClr val="bg1"/>
                </a:solidFill>
              </a:defRPr>
            </a:lvl7pPr>
            <a:lvl8pPr marL="1203325" indent="-174625">
              <a:spcBef>
                <a:spcPts val="600"/>
              </a:spcBef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</a:defRPr>
            </a:lvl8pPr>
            <a:lvl9pPr marL="1377950" indent="-174625">
              <a:spcBef>
                <a:spcPts val="600"/>
              </a:spcBef>
              <a:buFont typeface="Arial" panose="020B0604020202020204" pitchFamily="34" charset="0"/>
              <a:buChar char="–"/>
              <a:defRPr sz="1500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7271481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left whit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5">
            <a:extLst>
              <a:ext uri="{FF2B5EF4-FFF2-40B4-BE49-F238E27FC236}">
                <a16:creationId xmlns:a16="http://schemas.microsoft.com/office/drawing/2014/main" id="{3D055086-58AC-42CE-888E-C815208128D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4148" y="384048"/>
            <a:ext cx="11432977" cy="5724144"/>
          </a:xfrm>
          <a:solidFill>
            <a:schemeClr val="bg1">
              <a:lumMod val="75000"/>
            </a:schemeClr>
          </a:solidFill>
        </p:spPr>
        <p:txBody>
          <a:bodyPr rIns="228600"/>
          <a:lstStyle>
            <a:lvl1pPr algn="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FE6573A-5FD6-4334-99D2-D89E563A34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442" y="0"/>
            <a:ext cx="5318557" cy="5724144"/>
          </a:xfrm>
          <a:solidFill>
            <a:srgbClr val="FFFFFF">
              <a:alpha val="89804"/>
            </a:srgbClr>
          </a:solidFill>
        </p:spPr>
        <p:txBody>
          <a:bodyPr lIns="566928" tIns="822960" rIns="182880" bIns="182880" anchor="t">
            <a:no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C96A496-EE5B-40C6-8F1E-8D08A089A294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1344518" y="2103120"/>
            <a:ext cx="4115872" cy="3154680"/>
          </a:xfrm>
        </p:spPr>
        <p:txBody>
          <a:bodyPr/>
          <a:lstStyle>
            <a:lvl1pPr>
              <a:defRPr sz="1500" cap="none" baseline="0">
                <a:solidFill>
                  <a:schemeClr val="tx2"/>
                </a:solidFill>
              </a:defRPr>
            </a:lvl1pPr>
            <a:lvl2pPr marL="171450" indent="-171450">
              <a:defRPr sz="1500">
                <a:solidFill>
                  <a:schemeClr val="tx2"/>
                </a:solidFill>
              </a:defRPr>
            </a:lvl2pPr>
            <a:lvl3pPr marL="347663" indent="-176213">
              <a:spcBef>
                <a:spcPts val="600"/>
              </a:spcBef>
              <a:buFont typeface="Arial" panose="020B0604020202020204" pitchFamily="34" charset="0"/>
              <a:buChar char="–"/>
              <a:defRPr sz="1500">
                <a:solidFill>
                  <a:schemeClr val="tx2"/>
                </a:solidFill>
              </a:defRPr>
            </a:lvl3pPr>
            <a:lvl4pPr marL="509588" indent="-161925">
              <a:spcBef>
                <a:spcPts val="600"/>
              </a:spcBef>
              <a:defRPr sz="1500">
                <a:solidFill>
                  <a:schemeClr val="tx2"/>
                </a:solidFill>
              </a:defRPr>
            </a:lvl4pPr>
            <a:lvl5pPr marL="682625" indent="-173038">
              <a:spcBef>
                <a:spcPts val="600"/>
              </a:spcBef>
              <a:defRPr sz="1500">
                <a:solidFill>
                  <a:schemeClr val="tx2"/>
                </a:solidFill>
              </a:defRPr>
            </a:lvl5pPr>
            <a:lvl6pPr marL="857250" indent="-174625">
              <a:defRPr sz="1500">
                <a:solidFill>
                  <a:schemeClr val="tx2"/>
                </a:solidFill>
              </a:defRPr>
            </a:lvl6pPr>
            <a:lvl7pPr marL="1030288" indent="-173038">
              <a:spcBef>
                <a:spcPts val="600"/>
              </a:spcBef>
              <a:buFont typeface="Arial" panose="020B0604020202020204" pitchFamily="34" charset="0"/>
              <a:buChar char="–"/>
              <a:defRPr sz="1500" baseline="0">
                <a:solidFill>
                  <a:schemeClr val="tx2"/>
                </a:solidFill>
              </a:defRPr>
            </a:lvl7pPr>
            <a:lvl8pPr marL="1203325" indent="-174625">
              <a:spcBef>
                <a:spcPts val="600"/>
              </a:spcBef>
              <a:buFont typeface="Arial" panose="020B0604020202020204" pitchFamily="34" charset="0"/>
              <a:buChar char="•"/>
              <a:defRPr sz="1500">
                <a:solidFill>
                  <a:schemeClr val="tx2"/>
                </a:solidFill>
              </a:defRPr>
            </a:lvl8pPr>
            <a:lvl9pPr marL="1377950" indent="-174625">
              <a:spcBef>
                <a:spcPts val="600"/>
              </a:spcBef>
              <a:buFont typeface="Arial" panose="020B0604020202020204" pitchFamily="34" charset="0"/>
              <a:buChar char="–"/>
              <a:defRPr sz="1500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76132952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right whit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5">
            <a:extLst>
              <a:ext uri="{FF2B5EF4-FFF2-40B4-BE49-F238E27FC236}">
                <a16:creationId xmlns:a16="http://schemas.microsoft.com/office/drawing/2014/main" id="{54CB2024-EDB7-4027-B7B3-F640F2EC12E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4148" y="384048"/>
            <a:ext cx="11432977" cy="57241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231775" indent="0" algn="l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866DF86-B4A3-42B6-8919-C55C8B1577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0" y="0"/>
            <a:ext cx="5323194" cy="5724144"/>
          </a:xfrm>
          <a:solidFill>
            <a:srgbClr val="FFFFFF">
              <a:alpha val="89804"/>
            </a:srgbClr>
          </a:solidFill>
        </p:spPr>
        <p:txBody>
          <a:bodyPr lIns="566928" tIns="822960" rIns="182880" bIns="182880" anchor="t">
            <a:no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B60552F6-0A47-41DD-9EA5-4D6D279BD2A6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6667712" y="2103120"/>
            <a:ext cx="4115872" cy="3154680"/>
          </a:xfrm>
        </p:spPr>
        <p:txBody>
          <a:bodyPr/>
          <a:lstStyle>
            <a:lvl1pPr>
              <a:defRPr sz="1500" cap="none" baseline="0">
                <a:solidFill>
                  <a:schemeClr val="tx2"/>
                </a:solidFill>
              </a:defRPr>
            </a:lvl1pPr>
            <a:lvl2pPr marL="171450" indent="-171450">
              <a:defRPr sz="1500">
                <a:solidFill>
                  <a:schemeClr val="tx2"/>
                </a:solidFill>
              </a:defRPr>
            </a:lvl2pPr>
            <a:lvl3pPr marL="347663" indent="-176213">
              <a:spcBef>
                <a:spcPts val="600"/>
              </a:spcBef>
              <a:buFont typeface="Arial" panose="020B0604020202020204" pitchFamily="34" charset="0"/>
              <a:buChar char="–"/>
              <a:defRPr sz="1500">
                <a:solidFill>
                  <a:schemeClr val="tx2"/>
                </a:solidFill>
              </a:defRPr>
            </a:lvl3pPr>
            <a:lvl4pPr marL="509588" indent="-161925">
              <a:spcBef>
                <a:spcPts val="600"/>
              </a:spcBef>
              <a:defRPr sz="1500">
                <a:solidFill>
                  <a:schemeClr val="tx2"/>
                </a:solidFill>
              </a:defRPr>
            </a:lvl4pPr>
            <a:lvl5pPr marL="682625" indent="-173038">
              <a:spcBef>
                <a:spcPts val="600"/>
              </a:spcBef>
              <a:defRPr sz="1500">
                <a:solidFill>
                  <a:schemeClr val="tx2"/>
                </a:solidFill>
              </a:defRPr>
            </a:lvl5pPr>
            <a:lvl6pPr marL="857250" indent="-174625">
              <a:defRPr sz="1500">
                <a:solidFill>
                  <a:schemeClr val="tx2"/>
                </a:solidFill>
              </a:defRPr>
            </a:lvl6pPr>
            <a:lvl7pPr marL="1030288" indent="-173038">
              <a:spcBef>
                <a:spcPts val="600"/>
              </a:spcBef>
              <a:buFont typeface="Arial" panose="020B0604020202020204" pitchFamily="34" charset="0"/>
              <a:buChar char="–"/>
              <a:defRPr sz="1500" baseline="0">
                <a:solidFill>
                  <a:schemeClr val="tx2"/>
                </a:solidFill>
              </a:defRPr>
            </a:lvl7pPr>
            <a:lvl8pPr marL="1203325" indent="-174625">
              <a:spcBef>
                <a:spcPts val="600"/>
              </a:spcBef>
              <a:buFont typeface="Arial" panose="020B0604020202020204" pitchFamily="34" charset="0"/>
              <a:buChar char="•"/>
              <a:defRPr sz="1500">
                <a:solidFill>
                  <a:schemeClr val="tx2"/>
                </a:solidFill>
              </a:defRPr>
            </a:lvl8pPr>
            <a:lvl9pPr marL="1377950" indent="-174625">
              <a:spcBef>
                <a:spcPts val="600"/>
              </a:spcBef>
              <a:buFont typeface="Arial" panose="020B0604020202020204" pitchFamily="34" charset="0"/>
              <a:buChar char="–"/>
              <a:defRPr sz="1500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25153163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left blu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384148" y="384048"/>
            <a:ext cx="11432977" cy="5724144"/>
          </a:xfrm>
          <a:solidFill>
            <a:schemeClr val="bg1">
              <a:lumMod val="75000"/>
            </a:schemeClr>
          </a:solidFill>
        </p:spPr>
        <p:txBody>
          <a:bodyPr rIns="228600"/>
          <a:lstStyle>
            <a:lvl1pPr algn="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EB3AA7B-BFA1-4F3B-8433-5B996FE110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442" y="0"/>
            <a:ext cx="5318557" cy="5724144"/>
          </a:xfrm>
          <a:solidFill>
            <a:srgbClr val="0B315E">
              <a:alpha val="85098"/>
            </a:srgbClr>
          </a:solidFill>
        </p:spPr>
        <p:txBody>
          <a:bodyPr lIns="566928" tIns="822960" rIns="182880" bIns="182880" anchor="t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7D4864B-4462-4B16-A8C6-1DC8862069AA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1344518" y="2103120"/>
            <a:ext cx="4115872" cy="3154680"/>
          </a:xfrm>
        </p:spPr>
        <p:txBody>
          <a:bodyPr/>
          <a:lstStyle>
            <a:lvl1pPr>
              <a:defRPr sz="1500" cap="none" baseline="0">
                <a:solidFill>
                  <a:schemeClr val="bg1"/>
                </a:solidFill>
              </a:defRPr>
            </a:lvl1pPr>
            <a:lvl2pPr marL="171450" indent="-171450">
              <a:defRPr sz="1500">
                <a:solidFill>
                  <a:schemeClr val="bg1"/>
                </a:solidFill>
              </a:defRPr>
            </a:lvl2pPr>
            <a:lvl3pPr marL="347663" indent="-176213">
              <a:spcBef>
                <a:spcPts val="600"/>
              </a:spcBef>
              <a:buFont typeface="Arial" panose="020B0604020202020204" pitchFamily="34" charset="0"/>
              <a:buChar char="–"/>
              <a:defRPr sz="1500">
                <a:solidFill>
                  <a:schemeClr val="bg1"/>
                </a:solidFill>
              </a:defRPr>
            </a:lvl3pPr>
            <a:lvl4pPr marL="509588" indent="-161925">
              <a:spcBef>
                <a:spcPts val="600"/>
              </a:spcBef>
              <a:defRPr sz="1500">
                <a:solidFill>
                  <a:schemeClr val="bg1"/>
                </a:solidFill>
              </a:defRPr>
            </a:lvl4pPr>
            <a:lvl5pPr marL="682625" indent="-173038">
              <a:spcBef>
                <a:spcPts val="600"/>
              </a:spcBef>
              <a:defRPr sz="1500">
                <a:solidFill>
                  <a:schemeClr val="bg1"/>
                </a:solidFill>
              </a:defRPr>
            </a:lvl5pPr>
            <a:lvl6pPr marL="857250" indent="-174625">
              <a:defRPr sz="1500">
                <a:solidFill>
                  <a:schemeClr val="bg1"/>
                </a:solidFill>
              </a:defRPr>
            </a:lvl6pPr>
            <a:lvl7pPr marL="1030288" indent="-173038">
              <a:spcBef>
                <a:spcPts val="600"/>
              </a:spcBef>
              <a:buFont typeface="Arial" panose="020B0604020202020204" pitchFamily="34" charset="0"/>
              <a:buChar char="–"/>
              <a:defRPr sz="1500" baseline="0">
                <a:solidFill>
                  <a:schemeClr val="bg1"/>
                </a:solidFill>
              </a:defRPr>
            </a:lvl7pPr>
            <a:lvl8pPr marL="1203325" indent="-174625">
              <a:spcBef>
                <a:spcPts val="600"/>
              </a:spcBef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</a:defRPr>
            </a:lvl8pPr>
            <a:lvl9pPr marL="1377950" indent="-174625">
              <a:spcBef>
                <a:spcPts val="600"/>
              </a:spcBef>
              <a:buFont typeface="Arial" panose="020B0604020202020204" pitchFamily="34" charset="0"/>
              <a:buChar char="–"/>
              <a:defRPr sz="1500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999662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right blu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384148" y="384048"/>
            <a:ext cx="11432977" cy="57241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231775" indent="0" algn="l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3148CBB-91E1-498A-B884-AECB778C00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0" y="0"/>
            <a:ext cx="5323194" cy="5724144"/>
          </a:xfrm>
          <a:solidFill>
            <a:srgbClr val="0B315E">
              <a:alpha val="85098"/>
            </a:srgbClr>
          </a:solidFill>
        </p:spPr>
        <p:txBody>
          <a:bodyPr lIns="566928" tIns="822960" rIns="182880" bIns="182880" anchor="t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F62E717-3D00-4196-812F-72CF9487567D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6667712" y="2103120"/>
            <a:ext cx="4115872" cy="3154680"/>
          </a:xfrm>
        </p:spPr>
        <p:txBody>
          <a:bodyPr/>
          <a:lstStyle>
            <a:lvl1pPr>
              <a:defRPr sz="1500" cap="none" baseline="0">
                <a:solidFill>
                  <a:schemeClr val="bg1"/>
                </a:solidFill>
              </a:defRPr>
            </a:lvl1pPr>
            <a:lvl2pPr marL="171450" indent="-171450">
              <a:defRPr sz="1500">
                <a:solidFill>
                  <a:schemeClr val="bg1"/>
                </a:solidFill>
              </a:defRPr>
            </a:lvl2pPr>
            <a:lvl3pPr marL="347663" indent="-176213">
              <a:spcBef>
                <a:spcPts val="600"/>
              </a:spcBef>
              <a:buFont typeface="Arial" panose="020B0604020202020204" pitchFamily="34" charset="0"/>
              <a:buChar char="–"/>
              <a:defRPr sz="1500">
                <a:solidFill>
                  <a:schemeClr val="bg1"/>
                </a:solidFill>
              </a:defRPr>
            </a:lvl3pPr>
            <a:lvl4pPr marL="509588" indent="-161925">
              <a:spcBef>
                <a:spcPts val="600"/>
              </a:spcBef>
              <a:defRPr sz="1500">
                <a:solidFill>
                  <a:schemeClr val="bg1"/>
                </a:solidFill>
              </a:defRPr>
            </a:lvl4pPr>
            <a:lvl5pPr marL="682625" indent="-173038">
              <a:spcBef>
                <a:spcPts val="600"/>
              </a:spcBef>
              <a:defRPr sz="1500">
                <a:solidFill>
                  <a:schemeClr val="bg1"/>
                </a:solidFill>
              </a:defRPr>
            </a:lvl5pPr>
            <a:lvl6pPr marL="857250" indent="-174625">
              <a:defRPr sz="1500">
                <a:solidFill>
                  <a:schemeClr val="bg1"/>
                </a:solidFill>
              </a:defRPr>
            </a:lvl6pPr>
            <a:lvl7pPr marL="1030288" indent="-173038">
              <a:spcBef>
                <a:spcPts val="600"/>
              </a:spcBef>
              <a:buFont typeface="Arial" panose="020B0604020202020204" pitchFamily="34" charset="0"/>
              <a:buChar char="–"/>
              <a:defRPr sz="1500" baseline="0">
                <a:solidFill>
                  <a:schemeClr val="bg1"/>
                </a:solidFill>
              </a:defRPr>
            </a:lvl7pPr>
            <a:lvl8pPr marL="1203325" indent="-174625">
              <a:spcBef>
                <a:spcPts val="600"/>
              </a:spcBef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</a:defRPr>
            </a:lvl8pPr>
            <a:lvl9pPr marL="1377950" indent="-174625">
              <a:spcBef>
                <a:spcPts val="600"/>
              </a:spcBef>
              <a:buFont typeface="Arial" panose="020B0604020202020204" pitchFamily="34" charset="0"/>
              <a:buChar char="–"/>
              <a:defRPr sz="1500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1101123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with white box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5">
            <a:extLst>
              <a:ext uri="{FF2B5EF4-FFF2-40B4-BE49-F238E27FC236}">
                <a16:creationId xmlns:a16="http://schemas.microsoft.com/office/drawing/2014/main" id="{18986E69-701C-42B3-B14B-5B9A1444F1A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1001" y="384048"/>
            <a:ext cx="11430000" cy="57241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28BE8D4-0273-4958-B950-4410BF4CC9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96346" y="3081528"/>
            <a:ext cx="4774411" cy="2551176"/>
          </a:xfrm>
          <a:solidFill>
            <a:srgbClr val="FFFFFF"/>
          </a:solidFill>
        </p:spPr>
        <p:txBody>
          <a:bodyPr lIns="182880" tIns="457200" rIns="182880" anchor="t">
            <a:noAutofit/>
          </a:bodyPr>
          <a:lstStyle>
            <a:lvl1pPr algn="ctr"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Main key point here</a:t>
            </a:r>
          </a:p>
        </p:txBody>
      </p:sp>
      <p:sp>
        <p:nvSpPr>
          <p:cNvPr id="5" name="Text Placeholder 26">
            <a:extLst>
              <a:ext uri="{FF2B5EF4-FFF2-40B4-BE49-F238E27FC236}">
                <a16:creationId xmlns:a16="http://schemas.microsoft.com/office/drawing/2014/main" id="{B6FFC798-0A25-41EF-9946-E74888704EB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82294" y="4332244"/>
            <a:ext cx="4200808" cy="663575"/>
          </a:xfrm>
        </p:spPr>
        <p:txBody>
          <a:bodyPr>
            <a:noAutofit/>
          </a:bodyPr>
          <a:lstStyle>
            <a:lvl1pPr algn="ctr"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Descriptor text</a:t>
            </a:r>
          </a:p>
        </p:txBody>
      </p:sp>
    </p:spTree>
    <p:extLst>
      <p:ext uri="{BB962C8B-B14F-4D97-AF65-F5344CB8AC3E}">
        <p14:creationId xmlns:p14="http://schemas.microsoft.com/office/powerpoint/2010/main" val="395412671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31A63108-01D5-41AB-9EF7-B337048006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48952" y="2500845"/>
            <a:ext cx="4187136" cy="1208557"/>
          </a:xfrm>
        </p:spPr>
        <p:txBody>
          <a:bodyPr anchor="ctr">
            <a:noAutofit/>
          </a:bodyPr>
          <a:lstStyle>
            <a:lvl1pPr algn="r">
              <a:defRPr sz="32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Data slide title</a:t>
            </a:r>
          </a:p>
        </p:txBody>
      </p:sp>
    </p:spTree>
    <p:extLst>
      <p:ext uri="{BB962C8B-B14F-4D97-AF65-F5344CB8AC3E}">
        <p14:creationId xmlns:p14="http://schemas.microsoft.com/office/powerpoint/2010/main" val="118201244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61B6C6D-6E09-4A4A-87F6-71A60159D434}"/>
              </a:ext>
            </a:extLst>
          </p:cNvPr>
          <p:cNvSpPr/>
          <p:nvPr userDrawn="1"/>
        </p:nvSpPr>
        <p:spPr>
          <a:xfrm>
            <a:off x="393294" y="384048"/>
            <a:ext cx="3639312" cy="5724144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latin typeface="CVS Health Sans" panose="020B05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FE4E4F8-96F1-4D2B-863D-97E49EAB43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1246" y="841248"/>
            <a:ext cx="2734859" cy="2651760"/>
          </a:xfrm>
        </p:spPr>
        <p:txBody>
          <a:bodyPr anchor="b"/>
          <a:lstStyle>
            <a:lvl1pPr marL="120650" indent="-120650">
              <a:lnSpc>
                <a:spcPct val="100000"/>
              </a:lnSpc>
              <a:tabLst>
                <a:tab pos="47625" algn="l"/>
              </a:tabLst>
              <a:defRPr sz="2000" b="0"/>
            </a:lvl1pPr>
          </a:lstStyle>
          <a:p>
            <a:pPr>
              <a:buFontTx/>
            </a:pPr>
            <a:r>
              <a:rPr lang="en-US"/>
              <a:t>“	Add a quote here. Make sure to include closing quote mark.”</a:t>
            </a:r>
          </a:p>
        </p:txBody>
      </p:sp>
      <p:sp>
        <p:nvSpPr>
          <p:cNvPr id="4" name="Picture Placeholder 15">
            <a:extLst>
              <a:ext uri="{FF2B5EF4-FFF2-40B4-BE49-F238E27FC236}">
                <a16:creationId xmlns:a16="http://schemas.microsoft.com/office/drawing/2014/main" id="{4C72446B-EB37-460E-868F-B75A8E7FC24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265293" y="384048"/>
            <a:ext cx="7545765" cy="57241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3DDEBB04-243C-4F43-B38D-50010FBA527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1247" y="3611880"/>
            <a:ext cx="2734859" cy="606582"/>
          </a:xfrm>
        </p:spPr>
        <p:txBody>
          <a:bodyPr anchor="t"/>
          <a:lstStyle>
            <a:lvl1pPr marL="117475" indent="-117475">
              <a:spcBef>
                <a:spcPts val="1200"/>
              </a:spcBef>
              <a:tabLst>
                <a:tab pos="117475" algn="l"/>
              </a:tabLst>
              <a:defRPr sz="2000"/>
            </a:lvl1pPr>
            <a:lvl2pPr marL="117475" indent="0">
              <a:buFontTx/>
              <a:buNone/>
              <a:defRPr/>
            </a:lvl2pPr>
            <a:lvl3pPr marL="117475" indent="0">
              <a:defRPr/>
            </a:lvl3pPr>
          </a:lstStyle>
          <a:p>
            <a:pPr lvl="1"/>
            <a:r>
              <a:rPr lang="en-US"/>
              <a:t>Author here</a:t>
            </a:r>
          </a:p>
        </p:txBody>
      </p:sp>
    </p:spTree>
    <p:extLst>
      <p:ext uri="{BB962C8B-B14F-4D97-AF65-F5344CB8AC3E}">
        <p14:creationId xmlns:p14="http://schemas.microsoft.com/office/powerpoint/2010/main" val="112059706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left with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08A2E02-6B8B-4430-B250-6345E11A1473}"/>
              </a:ext>
            </a:extLst>
          </p:cNvPr>
          <p:cNvSpPr/>
          <p:nvPr userDrawn="1"/>
        </p:nvSpPr>
        <p:spPr>
          <a:xfrm>
            <a:off x="393294" y="384048"/>
            <a:ext cx="3639312" cy="5724144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latin typeface="CVS Health Sans" panose="020B05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BB89135-88FF-47DE-B897-FDE27D91C2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6057" y="2353322"/>
            <a:ext cx="2864494" cy="1690242"/>
          </a:xfrm>
        </p:spPr>
        <p:txBody>
          <a:bodyPr anchor="ctr"/>
          <a:lstStyle>
            <a:lvl1pPr algn="ctr"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en-US"/>
              <a:t>Main key point here</a:t>
            </a:r>
          </a:p>
        </p:txBody>
      </p:sp>
      <p:sp>
        <p:nvSpPr>
          <p:cNvPr id="5" name="Picture Placeholder 15">
            <a:extLst>
              <a:ext uri="{FF2B5EF4-FFF2-40B4-BE49-F238E27FC236}">
                <a16:creationId xmlns:a16="http://schemas.microsoft.com/office/drawing/2014/main" id="{C1B76834-A44A-4A4B-B57A-8D041A600A3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265293" y="384048"/>
            <a:ext cx="7545765" cy="57241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221121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right with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5">
            <a:extLst>
              <a:ext uri="{FF2B5EF4-FFF2-40B4-BE49-F238E27FC236}">
                <a16:creationId xmlns:a16="http://schemas.microsoft.com/office/drawing/2014/main" id="{FCC6671F-C7F4-4670-B18C-6C0DEC86BD8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93294" y="384048"/>
            <a:ext cx="7545765" cy="57241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99F17DB-23BC-4547-8F26-EF60DE5F906A}"/>
              </a:ext>
            </a:extLst>
          </p:cNvPr>
          <p:cNvSpPr/>
          <p:nvPr userDrawn="1"/>
        </p:nvSpPr>
        <p:spPr>
          <a:xfrm>
            <a:off x="8167719" y="384048"/>
            <a:ext cx="3639312" cy="5724144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latin typeface="CVS Health Sans" panose="020B05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398F8E1-81C5-43DF-9E44-7560787FBD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68986" y="2353322"/>
            <a:ext cx="2864494" cy="1690242"/>
          </a:xfrm>
        </p:spPr>
        <p:txBody>
          <a:bodyPr anchor="ctr"/>
          <a:lstStyle>
            <a:lvl1pPr algn="ctr"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en-US"/>
              <a:t>Main key point here</a:t>
            </a:r>
          </a:p>
        </p:txBody>
      </p:sp>
    </p:spTree>
    <p:extLst>
      <p:ext uri="{BB962C8B-B14F-4D97-AF65-F5344CB8AC3E}">
        <p14:creationId xmlns:p14="http://schemas.microsoft.com/office/powerpoint/2010/main" val="34780805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A0954D-8301-4061-8A93-10AC08E20F91}" type="datetime1">
              <a:rPr lang="en-US" smtClean="0"/>
              <a:t>6/2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lef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7E96B7D-96F7-4EF1-83A2-1101BEEF3887}"/>
              </a:ext>
            </a:extLst>
          </p:cNvPr>
          <p:cNvSpPr/>
          <p:nvPr userDrawn="1"/>
        </p:nvSpPr>
        <p:spPr>
          <a:xfrm>
            <a:off x="393294" y="384048"/>
            <a:ext cx="3639312" cy="57241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latin typeface="CVS Health Sans" panose="020B05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D13D1E-7E64-42B7-8EA6-D800640A3B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6057" y="2353322"/>
            <a:ext cx="2864494" cy="1690242"/>
          </a:xfrm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Main key point here</a:t>
            </a:r>
          </a:p>
        </p:txBody>
      </p:sp>
      <p:sp>
        <p:nvSpPr>
          <p:cNvPr id="3" name="Picture Placeholder 15">
            <a:extLst>
              <a:ext uri="{FF2B5EF4-FFF2-40B4-BE49-F238E27FC236}">
                <a16:creationId xmlns:a16="http://schemas.microsoft.com/office/drawing/2014/main" id="{E1E31FCE-7759-4235-8803-6826C9DCEC7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265293" y="384048"/>
            <a:ext cx="7545765" cy="57241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7113701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righ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5"/>
          <p:cNvSpPr>
            <a:spLocks noGrp="1"/>
          </p:cNvSpPr>
          <p:nvPr>
            <p:ph type="pic" sz="quarter" idx="18"/>
          </p:nvPr>
        </p:nvSpPr>
        <p:spPr>
          <a:xfrm>
            <a:off x="393294" y="384048"/>
            <a:ext cx="7545765" cy="57241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1FF0497-F9C8-4016-899B-3B35773D1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68986" y="2353322"/>
            <a:ext cx="2864494" cy="1690242"/>
          </a:xfrm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Main key point here</a:t>
            </a:r>
          </a:p>
        </p:txBody>
      </p:sp>
    </p:spTree>
    <p:extLst>
      <p:ext uri="{BB962C8B-B14F-4D97-AF65-F5344CB8AC3E}">
        <p14:creationId xmlns:p14="http://schemas.microsoft.com/office/powerpoint/2010/main" val="23903279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E75D67C-2BF7-49B0-848A-B3B00A9D33BF}"/>
              </a:ext>
            </a:extLst>
          </p:cNvPr>
          <p:cNvSpPr/>
          <p:nvPr userDrawn="1"/>
        </p:nvSpPr>
        <p:spPr>
          <a:xfrm>
            <a:off x="393294" y="384048"/>
            <a:ext cx="3639312" cy="57241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latin typeface="CVS Health Sans" panose="020B05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FFA46B7-5841-498B-82BA-189426FD5A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6057" y="2353322"/>
            <a:ext cx="2864494" cy="1690242"/>
          </a:xfrm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Main key point her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A6F1E52-8E2E-4152-9F15-10C9CCB20146}"/>
              </a:ext>
            </a:extLst>
          </p:cNvPr>
          <p:cNvSpPr/>
          <p:nvPr userDrawn="1"/>
        </p:nvSpPr>
        <p:spPr>
          <a:xfrm>
            <a:off x="4265293" y="384048"/>
            <a:ext cx="7545707" cy="5724144"/>
          </a:xfrm>
          <a:prstGeom prst="rect">
            <a:avLst/>
          </a:prstGeom>
          <a:solidFill>
            <a:srgbClr val="E9E9E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182880" rIns="2743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069055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AA90D6A-6A50-4593-8B6E-4ED03D36A1ED}"/>
              </a:ext>
            </a:extLst>
          </p:cNvPr>
          <p:cNvSpPr/>
          <p:nvPr userDrawn="1"/>
        </p:nvSpPr>
        <p:spPr>
          <a:xfrm>
            <a:off x="395726" y="384048"/>
            <a:ext cx="7545707" cy="5724144"/>
          </a:xfrm>
          <a:prstGeom prst="rect">
            <a:avLst/>
          </a:prstGeom>
          <a:solidFill>
            <a:srgbClr val="E9E9E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182880" rIns="2743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>
              <a:solidFill>
                <a:schemeClr val="accent5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6AA8204-C754-4229-95F2-FEC283A55893}"/>
              </a:ext>
            </a:extLst>
          </p:cNvPr>
          <p:cNvSpPr/>
          <p:nvPr userDrawn="1"/>
        </p:nvSpPr>
        <p:spPr>
          <a:xfrm>
            <a:off x="8167719" y="384048"/>
            <a:ext cx="3639312" cy="57241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latin typeface="CVS Health Sans" panose="020B05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226EF1E-6A37-420A-83BE-9C74A6B91F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68986" y="2353322"/>
            <a:ext cx="2864494" cy="1690242"/>
          </a:xfrm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Main key point here</a:t>
            </a:r>
          </a:p>
        </p:txBody>
      </p:sp>
    </p:spTree>
    <p:extLst>
      <p:ext uri="{BB962C8B-B14F-4D97-AF65-F5344CB8AC3E}">
        <p14:creationId xmlns:p14="http://schemas.microsoft.com/office/powerpoint/2010/main" val="110207971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lef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2A5CA1F-4240-4602-9BCE-C5A4DD7D03C9}"/>
              </a:ext>
            </a:extLst>
          </p:cNvPr>
          <p:cNvSpPr/>
          <p:nvPr userDrawn="1"/>
        </p:nvSpPr>
        <p:spPr>
          <a:xfrm>
            <a:off x="393294" y="384048"/>
            <a:ext cx="3639312" cy="5724144"/>
          </a:xfrm>
          <a:prstGeom prst="rect">
            <a:avLst/>
          </a:prstGeom>
          <a:solidFill>
            <a:srgbClr val="0B31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latin typeface="CVS Health Sans" panose="020B05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2B703BF-57D7-44B0-A2A6-42286624F9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6057" y="2353322"/>
            <a:ext cx="2864494" cy="1690242"/>
          </a:xfrm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Main key point her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DB03DA0-A7BD-4BF3-A74D-74FF41083AA4}"/>
              </a:ext>
            </a:extLst>
          </p:cNvPr>
          <p:cNvSpPr/>
          <p:nvPr userDrawn="1"/>
        </p:nvSpPr>
        <p:spPr>
          <a:xfrm>
            <a:off x="4265293" y="384048"/>
            <a:ext cx="7545707" cy="5724144"/>
          </a:xfrm>
          <a:prstGeom prst="rect">
            <a:avLst/>
          </a:prstGeom>
          <a:solidFill>
            <a:srgbClr val="E9E9E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182880" rIns="2743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7335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r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B1FB4BA-A881-4FB8-B5F5-BEEFA3B9F224}"/>
              </a:ext>
            </a:extLst>
          </p:cNvPr>
          <p:cNvSpPr/>
          <p:nvPr userDrawn="1"/>
        </p:nvSpPr>
        <p:spPr>
          <a:xfrm>
            <a:off x="395726" y="384048"/>
            <a:ext cx="7545707" cy="5724144"/>
          </a:xfrm>
          <a:prstGeom prst="rect">
            <a:avLst/>
          </a:prstGeom>
          <a:solidFill>
            <a:srgbClr val="E9E9E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182880" rIns="2743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>
              <a:solidFill>
                <a:schemeClr val="accent5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7F9A6E9-8835-407E-8593-D94CF68FBE74}"/>
              </a:ext>
            </a:extLst>
          </p:cNvPr>
          <p:cNvSpPr/>
          <p:nvPr userDrawn="1"/>
        </p:nvSpPr>
        <p:spPr>
          <a:xfrm>
            <a:off x="8167719" y="384048"/>
            <a:ext cx="3639312" cy="5724144"/>
          </a:xfrm>
          <a:prstGeom prst="rect">
            <a:avLst/>
          </a:prstGeom>
          <a:solidFill>
            <a:srgbClr val="0B31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latin typeface="CVS Health Sans" panose="020B05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36A0EE8-EA4B-4F6E-B898-FA5FC677E8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68986" y="2353322"/>
            <a:ext cx="2864494" cy="1690242"/>
          </a:xfrm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Main key point here</a:t>
            </a:r>
          </a:p>
        </p:txBody>
      </p:sp>
    </p:spTree>
    <p:extLst>
      <p:ext uri="{BB962C8B-B14F-4D97-AF65-F5344CB8AC3E}">
        <p14:creationId xmlns:p14="http://schemas.microsoft.com/office/powerpoint/2010/main" val="45254406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165B92E-6E75-4AE3-9A66-2BE7D7974FA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" y="0"/>
            <a:ext cx="12191999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9A83F15B-6875-4795-A8F5-FC92953B665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69335" y="1207606"/>
            <a:ext cx="3395987" cy="3538233"/>
          </a:xfrm>
        </p:spPr>
        <p:txBody>
          <a:bodyPr anchor="ctr">
            <a:noAutofit/>
          </a:bodyPr>
          <a:lstStyle>
            <a:lvl1pPr algn="l">
              <a:lnSpc>
                <a:spcPct val="90000"/>
              </a:lnSpc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osing text</a:t>
            </a:r>
          </a:p>
        </p:txBody>
      </p:sp>
      <p:pic>
        <p:nvPicPr>
          <p:cNvPr id="12" name="Graphic 11" descr="CVS Health logo in white.">
            <a:extLst>
              <a:ext uri="{FF2B5EF4-FFF2-40B4-BE49-F238E27FC236}">
                <a16:creationId xmlns:a16="http://schemas.microsoft.com/office/drawing/2014/main" id="{74D3A37F-E0DA-446E-B173-2DDBFF7349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53705" y="6373368"/>
            <a:ext cx="1274145" cy="155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387803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VS logo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6253777D-5108-48F4-BAF8-16EF5CA96A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929" y="-347472"/>
            <a:ext cx="9667726" cy="262719"/>
          </a:xfrm>
        </p:spPr>
        <p:txBody>
          <a:bodyPr anchor="b"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VS Health logo on white background</a:t>
            </a:r>
          </a:p>
        </p:txBody>
      </p:sp>
      <p:pic>
        <p:nvPicPr>
          <p:cNvPr id="11" name="Graphic 10" descr="CVS Health logo.">
            <a:extLst>
              <a:ext uri="{FF2B5EF4-FFF2-40B4-BE49-F238E27FC236}">
                <a16:creationId xmlns:a16="http://schemas.microsoft.com/office/drawing/2014/main" id="{46110AA6-C52C-424B-900D-B5FA490F053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26232" y="3026665"/>
            <a:ext cx="6539663" cy="797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520589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 Partner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F8DD78F-7E8A-4FB6-9566-AA665232661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5175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rIns="457200"/>
          <a:lstStyle>
            <a:lvl1pPr algn="r">
              <a:defRPr sz="2000" b="1" baseline="0">
                <a:solidFill>
                  <a:schemeClr val="bg1"/>
                </a:solidFill>
              </a:defRPr>
            </a:lvl1pPr>
          </a:lstStyle>
          <a:p>
            <a:br>
              <a:rPr lang="en-US"/>
            </a:br>
            <a:br>
              <a:rPr lang="en-US"/>
            </a:br>
            <a:br>
              <a:rPr lang="en-US"/>
            </a:br>
            <a:r>
              <a:rPr lang="en-US"/>
              <a:t>Click icon to add pictu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9478C5D-E668-4B43-BC14-946FDEE4687E}"/>
              </a:ext>
            </a:extLst>
          </p:cNvPr>
          <p:cNvSpPr/>
          <p:nvPr userDrawn="1"/>
        </p:nvSpPr>
        <p:spPr bwMode="gray">
          <a:xfrm flipH="1">
            <a:off x="-1" y="0"/>
            <a:ext cx="5821403" cy="6858000"/>
          </a:xfrm>
          <a:prstGeom prst="rect">
            <a:avLst/>
          </a:prstGeom>
          <a:gradFill flip="none" rotWithShape="1">
            <a:gsLst>
              <a:gs pos="56000">
                <a:schemeClr val="bg1">
                  <a:alpha val="76000"/>
                </a:schemeClr>
              </a:gs>
              <a:gs pos="32000">
                <a:schemeClr val="bg1">
                  <a:alpha val="0"/>
                </a:schemeClr>
              </a:gs>
              <a:gs pos="95000">
                <a:schemeClr val="bg1">
                  <a:alpha val="40000"/>
                </a:schemeClr>
              </a:gs>
            </a:gsLst>
            <a:lin ang="0" scaled="0"/>
            <a:tileRect/>
          </a:gra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solidFill>
                <a:schemeClr val="bg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65C54BB-9758-44BF-8214-16345E8EF78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731710" y="1771650"/>
            <a:ext cx="4179897" cy="1796027"/>
          </a:xfrm>
          <a:noFill/>
        </p:spPr>
        <p:txBody>
          <a:bodyPr lIns="0" tIns="0" rIns="0" bIns="0" anchor="b" anchorCtr="0">
            <a:noAutofit/>
          </a:bodyPr>
          <a:lstStyle>
            <a:lvl1pPr algn="l"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Presentation title her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A4EA3DDD-BDA1-4F1A-ACD6-B103CA1EA8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1711" y="4246621"/>
            <a:ext cx="3475625" cy="115665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20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8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  <a:p>
            <a:pPr lvl="1"/>
            <a:r>
              <a:rPr lang="en-US"/>
              <a:t>Presenter title</a:t>
            </a:r>
          </a:p>
          <a:p>
            <a:pPr lvl="2"/>
            <a:r>
              <a:rPr lang="en-US"/>
              <a:t>Dat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F755953-F8C2-4282-B6A3-25C4891E5FBB}"/>
              </a:ext>
            </a:extLst>
          </p:cNvPr>
          <p:cNvCxnSpPr/>
          <p:nvPr userDrawn="1"/>
        </p:nvCxnSpPr>
        <p:spPr>
          <a:xfrm>
            <a:off x="754499" y="3886200"/>
            <a:ext cx="393699" cy="0"/>
          </a:xfrm>
          <a:prstGeom prst="line">
            <a:avLst/>
          </a:prstGeom>
          <a:ln w="25400" cmpd="sng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Graphic 17" descr="CVS Health logo.">
            <a:extLst>
              <a:ext uri="{FF2B5EF4-FFF2-40B4-BE49-F238E27FC236}">
                <a16:creationId xmlns:a16="http://schemas.microsoft.com/office/drawing/2014/main" id="{8D1E728B-8FC8-0F49-9C71-9869AC7BD8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3355" y="5897881"/>
            <a:ext cx="2560987" cy="31244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6A551CE-B3A4-6065-E709-DCDDB0B5F2EA}"/>
              </a:ext>
            </a:extLst>
          </p:cNvPr>
          <p:cNvSpPr txBox="1"/>
          <p:nvPr userDrawn="1"/>
        </p:nvSpPr>
        <p:spPr>
          <a:xfrm>
            <a:off x="731711" y="6428233"/>
            <a:ext cx="8048816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800" b="0">
                <a:solidFill>
                  <a:schemeClr val="tx2"/>
                </a:solidFill>
              </a:rPr>
              <a:t>©2023 CVS </a:t>
            </a:r>
            <a:r>
              <a:rPr lang="en-US" sz="800" b="0">
                <a:solidFill>
                  <a:schemeClr val="tx2"/>
                </a:solidFill>
                <a:latin typeface="+mn-lt"/>
              </a:rPr>
              <a:t>Health</a:t>
            </a:r>
            <a:r>
              <a:rPr lang="en-US" sz="800" b="0">
                <a:solidFill>
                  <a:schemeClr val="tx2"/>
                </a:solidFill>
              </a:rPr>
              <a:t> and/or one of its affiliates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106375001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 Partner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F41A9B1E-4430-4ACF-B102-9493885AA97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5175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rIns="457200"/>
          <a:lstStyle>
            <a:lvl1pPr algn="r">
              <a:defRPr sz="2000" b="1" baseline="0">
                <a:solidFill>
                  <a:schemeClr val="bg1"/>
                </a:solidFill>
              </a:defRPr>
            </a:lvl1pPr>
          </a:lstStyle>
          <a:p>
            <a:br>
              <a:rPr lang="en-US"/>
            </a:br>
            <a:br>
              <a:rPr lang="en-US"/>
            </a:br>
            <a:br>
              <a:rPr lang="en-US"/>
            </a:br>
            <a:r>
              <a:rPr lang="en-US"/>
              <a:t>Click icon to add pictur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D9D011B-5D23-45CE-B3CA-A5450834D3A7}"/>
              </a:ext>
            </a:extLst>
          </p:cNvPr>
          <p:cNvSpPr/>
          <p:nvPr userDrawn="1"/>
        </p:nvSpPr>
        <p:spPr bwMode="gray">
          <a:xfrm flipH="1">
            <a:off x="-1" y="0"/>
            <a:ext cx="5821403" cy="6858000"/>
          </a:xfrm>
          <a:prstGeom prst="rect">
            <a:avLst/>
          </a:prstGeom>
          <a:gradFill flip="none" rotWithShape="1">
            <a:gsLst>
              <a:gs pos="78000">
                <a:schemeClr val="tx1">
                  <a:alpha val="55000"/>
                </a:schemeClr>
              </a:gs>
              <a:gs pos="32000">
                <a:schemeClr val="tx1">
                  <a:alpha val="0"/>
                </a:schemeClr>
              </a:gs>
              <a:gs pos="100000">
                <a:schemeClr val="tx1">
                  <a:alpha val="40000"/>
                </a:schemeClr>
              </a:gs>
            </a:gsLst>
            <a:lin ang="0" scaled="0"/>
            <a:tileRect/>
          </a:gra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solidFill>
                <a:schemeClr val="bg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65D55A9-1B17-4652-AF8E-8FF6D963CB3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731710" y="1771650"/>
            <a:ext cx="4179897" cy="1796027"/>
          </a:xfrm>
          <a:noFill/>
        </p:spPr>
        <p:txBody>
          <a:bodyPr lIns="0" tIns="0" rIns="0" bIns="0" anchor="b" anchorCtr="0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 her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B99A854-AB1C-4D30-953B-00E7F1BE6F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1711" y="4246621"/>
            <a:ext cx="3475625" cy="115665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2000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  <a:p>
            <a:pPr lvl="1"/>
            <a:r>
              <a:rPr lang="en-US"/>
              <a:t>Presenter title</a:t>
            </a:r>
          </a:p>
          <a:p>
            <a:pPr lvl="2"/>
            <a:r>
              <a:rPr lang="en-US"/>
              <a:t>Dat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C1DB603-CD59-429C-948A-D16D51A51B4B}"/>
              </a:ext>
            </a:extLst>
          </p:cNvPr>
          <p:cNvCxnSpPr/>
          <p:nvPr userDrawn="1"/>
        </p:nvCxnSpPr>
        <p:spPr>
          <a:xfrm>
            <a:off x="754499" y="3886200"/>
            <a:ext cx="393699" cy="0"/>
          </a:xfrm>
          <a:prstGeom prst="line">
            <a:avLst/>
          </a:prstGeom>
          <a:ln w="25400" cmpd="sng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 descr="CVS Health logo in white.">
            <a:extLst>
              <a:ext uri="{FF2B5EF4-FFF2-40B4-BE49-F238E27FC236}">
                <a16:creationId xmlns:a16="http://schemas.microsoft.com/office/drawing/2014/main" id="{6DFB0720-7793-9007-1EE9-E7051D1417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3355" y="5897881"/>
            <a:ext cx="2560987" cy="31244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2C8629C-3E16-4264-88A9-DCBD0C174D44}"/>
              </a:ext>
            </a:extLst>
          </p:cNvPr>
          <p:cNvSpPr txBox="1"/>
          <p:nvPr userDrawn="1"/>
        </p:nvSpPr>
        <p:spPr>
          <a:xfrm>
            <a:off x="731711" y="6428233"/>
            <a:ext cx="8048816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800" b="0">
                <a:solidFill>
                  <a:schemeClr val="bg1"/>
                </a:solidFill>
              </a:rPr>
              <a:t>©2023 CVS </a:t>
            </a:r>
            <a:r>
              <a:rPr lang="en-US" sz="800" b="0">
                <a:solidFill>
                  <a:schemeClr val="bg1"/>
                </a:solidFill>
                <a:latin typeface="+mn-lt"/>
              </a:rPr>
              <a:t>Health</a:t>
            </a:r>
            <a:r>
              <a:rPr lang="en-US" sz="800" b="0">
                <a:solidFill>
                  <a:schemeClr val="bg1"/>
                </a:solidFill>
              </a:rPr>
              <a:t> and/or one of its affiliates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20009348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Page 1">
  <p:cSld name="Title Page 1">
    <p:bg>
      <p:bgPr>
        <a:solidFill>
          <a:schemeClr val="lt2"/>
        </a:solidFill>
        <a:effectLst/>
      </p:bgPr>
    </p:bg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2"/>
          <p:cNvSpPr/>
          <p:nvPr/>
        </p:nvSpPr>
        <p:spPr>
          <a:xfrm>
            <a:off x="100" y="-9167"/>
            <a:ext cx="12192000" cy="6189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" name="Google Shape;15;p2"/>
          <p:cNvSpPr txBox="1">
            <a:spLocks noGrp="1"/>
          </p:cNvSpPr>
          <p:nvPr>
            <p:ph type="ctrTitle"/>
          </p:nvPr>
        </p:nvSpPr>
        <p:spPr>
          <a:xfrm>
            <a:off x="609600" y="3183240"/>
            <a:ext cx="10972800" cy="1499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B3351"/>
              </a:buClr>
              <a:buSzPts val="3500"/>
              <a:buNone/>
              <a:defRPr sz="3500" b="1">
                <a:solidFill>
                  <a:srgbClr val="1B3351"/>
                </a:solidFill>
              </a:defRPr>
            </a:lvl1pPr>
            <a:lvl2pPr lvl="1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B3351"/>
              </a:buClr>
              <a:buSzPts val="5900"/>
              <a:buNone/>
              <a:defRPr sz="5900">
                <a:solidFill>
                  <a:srgbClr val="1B3351"/>
                </a:solidFill>
              </a:defRPr>
            </a:lvl2pPr>
            <a:lvl3pPr lvl="2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B3351"/>
              </a:buClr>
              <a:buSzPts val="5900"/>
              <a:buNone/>
              <a:defRPr sz="5900">
                <a:solidFill>
                  <a:srgbClr val="1B3351"/>
                </a:solidFill>
              </a:defRPr>
            </a:lvl3pPr>
            <a:lvl4pPr lvl="3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B3351"/>
              </a:buClr>
              <a:buSzPts val="5900"/>
              <a:buNone/>
              <a:defRPr sz="5900">
                <a:solidFill>
                  <a:srgbClr val="1B3351"/>
                </a:solidFill>
              </a:defRPr>
            </a:lvl4pPr>
            <a:lvl5pPr lvl="4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B3351"/>
              </a:buClr>
              <a:buSzPts val="5900"/>
              <a:buNone/>
              <a:defRPr sz="5900">
                <a:solidFill>
                  <a:srgbClr val="1B3351"/>
                </a:solidFill>
              </a:defRPr>
            </a:lvl5pPr>
            <a:lvl6pPr lvl="5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B3351"/>
              </a:buClr>
              <a:buSzPts val="5900"/>
              <a:buNone/>
              <a:defRPr sz="5900">
                <a:solidFill>
                  <a:srgbClr val="1B3351"/>
                </a:solidFill>
              </a:defRPr>
            </a:lvl6pPr>
            <a:lvl7pPr lvl="6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B3351"/>
              </a:buClr>
              <a:buSzPts val="5900"/>
              <a:buNone/>
              <a:defRPr sz="5900">
                <a:solidFill>
                  <a:srgbClr val="1B3351"/>
                </a:solidFill>
              </a:defRPr>
            </a:lvl7pPr>
            <a:lvl8pPr lvl="7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B3351"/>
              </a:buClr>
              <a:buSzPts val="5900"/>
              <a:buNone/>
              <a:defRPr sz="5900">
                <a:solidFill>
                  <a:srgbClr val="1B3351"/>
                </a:solidFill>
              </a:defRPr>
            </a:lvl8pPr>
            <a:lvl9pPr lvl="8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B3351"/>
              </a:buClr>
              <a:buSzPts val="5900"/>
              <a:buNone/>
              <a:defRPr sz="5900">
                <a:solidFill>
                  <a:srgbClr val="1B3351"/>
                </a:solidFill>
              </a:defRPr>
            </a:lvl9pPr>
          </a:lstStyle>
          <a:p>
            <a:endParaRPr/>
          </a:p>
        </p:txBody>
      </p:sp>
      <p:sp>
        <p:nvSpPr>
          <p:cNvPr id="16" name="Google Shape;16;p2"/>
          <p:cNvSpPr txBox="1">
            <a:spLocks noGrp="1"/>
          </p:cNvSpPr>
          <p:nvPr>
            <p:ph type="subTitle" idx="1"/>
          </p:nvPr>
        </p:nvSpPr>
        <p:spPr>
          <a:xfrm>
            <a:off x="609600" y="4838750"/>
            <a:ext cx="10972800" cy="1011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9pPr>
          </a:lstStyle>
          <a:p>
            <a:endParaRPr/>
          </a:p>
        </p:txBody>
      </p:sp>
      <p:grpSp>
        <p:nvGrpSpPr>
          <p:cNvPr id="17" name="Google Shape;17;p2"/>
          <p:cNvGrpSpPr/>
          <p:nvPr/>
        </p:nvGrpSpPr>
        <p:grpSpPr>
          <a:xfrm>
            <a:off x="3439110" y="2903958"/>
            <a:ext cx="5313513" cy="755625"/>
            <a:chOff x="237650" y="2349675"/>
            <a:chExt cx="7144700" cy="1015625"/>
          </a:xfrm>
        </p:grpSpPr>
        <p:sp>
          <p:nvSpPr>
            <p:cNvPr id="18" name="Google Shape;18;p2"/>
            <p:cNvSpPr/>
            <p:nvPr/>
          </p:nvSpPr>
          <p:spPr>
            <a:xfrm>
              <a:off x="3096625" y="2466575"/>
              <a:ext cx="156400" cy="841200"/>
            </a:xfrm>
            <a:custGeom>
              <a:avLst/>
              <a:gdLst/>
              <a:ahLst/>
              <a:cxnLst/>
              <a:rect l="l" t="t" r="r" b="b"/>
              <a:pathLst>
                <a:path w="6256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2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1" y="1448"/>
                  </a:lnTo>
                  <a:lnTo>
                    <a:pt x="1" y="32182"/>
                  </a:lnTo>
                  <a:lnTo>
                    <a:pt x="19" y="32479"/>
                  </a:lnTo>
                  <a:lnTo>
                    <a:pt x="242" y="33017"/>
                  </a:lnTo>
                  <a:lnTo>
                    <a:pt x="632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08" y="33648"/>
                  </a:lnTo>
                  <a:lnTo>
                    <a:pt x="5105" y="33629"/>
                  </a:lnTo>
                  <a:lnTo>
                    <a:pt x="5624" y="33406"/>
                  </a:lnTo>
                  <a:lnTo>
                    <a:pt x="6014" y="33017"/>
                  </a:lnTo>
                  <a:lnTo>
                    <a:pt x="6237" y="32479"/>
                  </a:lnTo>
                  <a:lnTo>
                    <a:pt x="6255" y="32182"/>
                  </a:lnTo>
                  <a:lnTo>
                    <a:pt x="6255" y="1448"/>
                  </a:lnTo>
                  <a:lnTo>
                    <a:pt x="6237" y="1151"/>
                  </a:lnTo>
                  <a:lnTo>
                    <a:pt x="6014" y="632"/>
                  </a:lnTo>
                  <a:lnTo>
                    <a:pt x="5624" y="242"/>
                  </a:lnTo>
                  <a:lnTo>
                    <a:pt x="5105" y="19"/>
                  </a:lnTo>
                  <a:lnTo>
                    <a:pt x="4808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9;p2"/>
            <p:cNvSpPr/>
            <p:nvPr/>
          </p:nvSpPr>
          <p:spPr>
            <a:xfrm>
              <a:off x="1673175" y="2466575"/>
              <a:ext cx="655150" cy="841200"/>
            </a:xfrm>
            <a:custGeom>
              <a:avLst/>
              <a:gdLst/>
              <a:ahLst/>
              <a:cxnLst/>
              <a:rect l="l" t="t" r="r" b="b"/>
              <a:pathLst>
                <a:path w="26206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1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0" y="1448"/>
                  </a:lnTo>
                  <a:lnTo>
                    <a:pt x="0" y="32200"/>
                  </a:lnTo>
                  <a:lnTo>
                    <a:pt x="19" y="32497"/>
                  </a:lnTo>
                  <a:lnTo>
                    <a:pt x="242" y="33017"/>
                  </a:lnTo>
                  <a:lnTo>
                    <a:pt x="631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26" y="33648"/>
                  </a:lnTo>
                  <a:lnTo>
                    <a:pt x="5104" y="33629"/>
                  </a:lnTo>
                  <a:lnTo>
                    <a:pt x="5624" y="33406"/>
                  </a:lnTo>
                  <a:lnTo>
                    <a:pt x="6032" y="33017"/>
                  </a:lnTo>
                  <a:lnTo>
                    <a:pt x="6255" y="32497"/>
                  </a:lnTo>
                  <a:lnTo>
                    <a:pt x="6273" y="32200"/>
                  </a:lnTo>
                  <a:lnTo>
                    <a:pt x="6273" y="18133"/>
                  </a:lnTo>
                  <a:lnTo>
                    <a:pt x="19933" y="18133"/>
                  </a:lnTo>
                  <a:lnTo>
                    <a:pt x="19933" y="32200"/>
                  </a:lnTo>
                  <a:lnTo>
                    <a:pt x="19951" y="32497"/>
                  </a:lnTo>
                  <a:lnTo>
                    <a:pt x="20174" y="33017"/>
                  </a:lnTo>
                  <a:lnTo>
                    <a:pt x="20564" y="33406"/>
                  </a:lnTo>
                  <a:lnTo>
                    <a:pt x="21083" y="33629"/>
                  </a:lnTo>
                  <a:lnTo>
                    <a:pt x="21380" y="33648"/>
                  </a:lnTo>
                  <a:lnTo>
                    <a:pt x="24739" y="33648"/>
                  </a:lnTo>
                  <a:lnTo>
                    <a:pt x="25036" y="33629"/>
                  </a:lnTo>
                  <a:lnTo>
                    <a:pt x="25556" y="33406"/>
                  </a:lnTo>
                  <a:lnTo>
                    <a:pt x="25964" y="33017"/>
                  </a:lnTo>
                  <a:lnTo>
                    <a:pt x="26168" y="32497"/>
                  </a:lnTo>
                  <a:lnTo>
                    <a:pt x="26205" y="32200"/>
                  </a:lnTo>
                  <a:lnTo>
                    <a:pt x="26205" y="1448"/>
                  </a:lnTo>
                  <a:lnTo>
                    <a:pt x="26168" y="1151"/>
                  </a:lnTo>
                  <a:lnTo>
                    <a:pt x="25964" y="632"/>
                  </a:lnTo>
                  <a:lnTo>
                    <a:pt x="25556" y="242"/>
                  </a:lnTo>
                  <a:lnTo>
                    <a:pt x="25036" y="19"/>
                  </a:lnTo>
                  <a:lnTo>
                    <a:pt x="24739" y="1"/>
                  </a:lnTo>
                  <a:lnTo>
                    <a:pt x="21380" y="1"/>
                  </a:lnTo>
                  <a:lnTo>
                    <a:pt x="21083" y="19"/>
                  </a:lnTo>
                  <a:lnTo>
                    <a:pt x="20564" y="242"/>
                  </a:lnTo>
                  <a:lnTo>
                    <a:pt x="20174" y="632"/>
                  </a:lnTo>
                  <a:lnTo>
                    <a:pt x="19951" y="1151"/>
                  </a:lnTo>
                  <a:lnTo>
                    <a:pt x="19933" y="1448"/>
                  </a:lnTo>
                  <a:lnTo>
                    <a:pt x="19933" y="13641"/>
                  </a:lnTo>
                  <a:lnTo>
                    <a:pt x="6273" y="13641"/>
                  </a:lnTo>
                  <a:lnTo>
                    <a:pt x="6273" y="1448"/>
                  </a:lnTo>
                  <a:lnTo>
                    <a:pt x="6255" y="1151"/>
                  </a:lnTo>
                  <a:lnTo>
                    <a:pt x="6032" y="632"/>
                  </a:lnTo>
                  <a:lnTo>
                    <a:pt x="5624" y="242"/>
                  </a:lnTo>
                  <a:lnTo>
                    <a:pt x="5104" y="19"/>
                  </a:lnTo>
                  <a:lnTo>
                    <a:pt x="4826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20;p2"/>
            <p:cNvSpPr/>
            <p:nvPr/>
          </p:nvSpPr>
          <p:spPr>
            <a:xfrm>
              <a:off x="3382900" y="2466575"/>
              <a:ext cx="156375" cy="841200"/>
            </a:xfrm>
            <a:custGeom>
              <a:avLst/>
              <a:gdLst/>
              <a:ahLst/>
              <a:cxnLst/>
              <a:rect l="l" t="t" r="r" b="b"/>
              <a:pathLst>
                <a:path w="6255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2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1" y="1448"/>
                  </a:lnTo>
                  <a:lnTo>
                    <a:pt x="1" y="32182"/>
                  </a:lnTo>
                  <a:lnTo>
                    <a:pt x="19" y="32479"/>
                  </a:lnTo>
                  <a:lnTo>
                    <a:pt x="242" y="33017"/>
                  </a:lnTo>
                  <a:lnTo>
                    <a:pt x="632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07" y="33648"/>
                  </a:lnTo>
                  <a:lnTo>
                    <a:pt x="5104" y="33629"/>
                  </a:lnTo>
                  <a:lnTo>
                    <a:pt x="5624" y="33406"/>
                  </a:lnTo>
                  <a:lnTo>
                    <a:pt x="6014" y="33017"/>
                  </a:lnTo>
                  <a:lnTo>
                    <a:pt x="6236" y="32479"/>
                  </a:lnTo>
                  <a:lnTo>
                    <a:pt x="6255" y="32182"/>
                  </a:lnTo>
                  <a:lnTo>
                    <a:pt x="6255" y="1448"/>
                  </a:lnTo>
                  <a:lnTo>
                    <a:pt x="6236" y="1151"/>
                  </a:lnTo>
                  <a:lnTo>
                    <a:pt x="6014" y="632"/>
                  </a:lnTo>
                  <a:lnTo>
                    <a:pt x="5624" y="242"/>
                  </a:lnTo>
                  <a:lnTo>
                    <a:pt x="5104" y="19"/>
                  </a:lnTo>
                  <a:lnTo>
                    <a:pt x="4807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21;p2"/>
            <p:cNvSpPr/>
            <p:nvPr/>
          </p:nvSpPr>
          <p:spPr>
            <a:xfrm>
              <a:off x="3610700" y="2663300"/>
              <a:ext cx="680675" cy="662575"/>
            </a:xfrm>
            <a:custGeom>
              <a:avLst/>
              <a:gdLst/>
              <a:ahLst/>
              <a:cxnLst/>
              <a:rect l="l" t="t" r="r" b="b"/>
              <a:pathLst>
                <a:path w="27227" h="26503" extrusionOk="0">
                  <a:moveTo>
                    <a:pt x="14087" y="5123"/>
                  </a:moveTo>
                  <a:lnTo>
                    <a:pt x="14959" y="5216"/>
                  </a:lnTo>
                  <a:lnTo>
                    <a:pt x="15757" y="5383"/>
                  </a:lnTo>
                  <a:lnTo>
                    <a:pt x="16500" y="5661"/>
                  </a:lnTo>
                  <a:lnTo>
                    <a:pt x="16852" y="5828"/>
                  </a:lnTo>
                  <a:lnTo>
                    <a:pt x="17521" y="6199"/>
                  </a:lnTo>
                  <a:lnTo>
                    <a:pt x="18634" y="7127"/>
                  </a:lnTo>
                  <a:lnTo>
                    <a:pt x="19098" y="7665"/>
                  </a:lnTo>
                  <a:lnTo>
                    <a:pt x="19525" y="8259"/>
                  </a:lnTo>
                  <a:lnTo>
                    <a:pt x="20193" y="9558"/>
                  </a:lnTo>
                  <a:lnTo>
                    <a:pt x="20434" y="10264"/>
                  </a:lnTo>
                  <a:lnTo>
                    <a:pt x="20638" y="10969"/>
                  </a:lnTo>
                  <a:lnTo>
                    <a:pt x="20861" y="12416"/>
                  </a:lnTo>
                  <a:lnTo>
                    <a:pt x="20880" y="13159"/>
                  </a:lnTo>
                  <a:lnTo>
                    <a:pt x="20861" y="13883"/>
                  </a:lnTo>
                  <a:lnTo>
                    <a:pt x="20638" y="15349"/>
                  </a:lnTo>
                  <a:lnTo>
                    <a:pt x="20434" y="16073"/>
                  </a:lnTo>
                  <a:lnTo>
                    <a:pt x="20193" y="16796"/>
                  </a:lnTo>
                  <a:lnTo>
                    <a:pt x="19525" y="18095"/>
                  </a:lnTo>
                  <a:lnTo>
                    <a:pt x="19098" y="18671"/>
                  </a:lnTo>
                  <a:lnTo>
                    <a:pt x="18634" y="19228"/>
                  </a:lnTo>
                  <a:lnTo>
                    <a:pt x="17521" y="20174"/>
                  </a:lnTo>
                  <a:lnTo>
                    <a:pt x="16852" y="20564"/>
                  </a:lnTo>
                  <a:lnTo>
                    <a:pt x="16500" y="20731"/>
                  </a:lnTo>
                  <a:lnTo>
                    <a:pt x="15757" y="21009"/>
                  </a:lnTo>
                  <a:lnTo>
                    <a:pt x="14959" y="21195"/>
                  </a:lnTo>
                  <a:lnTo>
                    <a:pt x="14087" y="21269"/>
                  </a:lnTo>
                  <a:lnTo>
                    <a:pt x="13623" y="21288"/>
                  </a:lnTo>
                  <a:lnTo>
                    <a:pt x="13159" y="21269"/>
                  </a:lnTo>
                  <a:lnTo>
                    <a:pt x="12287" y="21195"/>
                  </a:lnTo>
                  <a:lnTo>
                    <a:pt x="11470" y="21009"/>
                  </a:lnTo>
                  <a:lnTo>
                    <a:pt x="10728" y="20731"/>
                  </a:lnTo>
                  <a:lnTo>
                    <a:pt x="10394" y="20564"/>
                  </a:lnTo>
                  <a:lnTo>
                    <a:pt x="9726" y="20174"/>
                  </a:lnTo>
                  <a:lnTo>
                    <a:pt x="8612" y="19228"/>
                  </a:lnTo>
                  <a:lnTo>
                    <a:pt x="8148" y="18671"/>
                  </a:lnTo>
                  <a:lnTo>
                    <a:pt x="7721" y="18095"/>
                  </a:lnTo>
                  <a:lnTo>
                    <a:pt x="7053" y="16778"/>
                  </a:lnTo>
                  <a:lnTo>
                    <a:pt x="6812" y="16073"/>
                  </a:lnTo>
                  <a:lnTo>
                    <a:pt x="6608" y="15349"/>
                  </a:lnTo>
                  <a:lnTo>
                    <a:pt x="6385" y="13883"/>
                  </a:lnTo>
                  <a:lnTo>
                    <a:pt x="6367" y="13159"/>
                  </a:lnTo>
                  <a:lnTo>
                    <a:pt x="6385" y="12416"/>
                  </a:lnTo>
                  <a:lnTo>
                    <a:pt x="6608" y="10969"/>
                  </a:lnTo>
                  <a:lnTo>
                    <a:pt x="6812" y="10264"/>
                  </a:lnTo>
                  <a:lnTo>
                    <a:pt x="7053" y="9558"/>
                  </a:lnTo>
                  <a:lnTo>
                    <a:pt x="7721" y="8259"/>
                  </a:lnTo>
                  <a:lnTo>
                    <a:pt x="8148" y="7665"/>
                  </a:lnTo>
                  <a:lnTo>
                    <a:pt x="8612" y="7127"/>
                  </a:lnTo>
                  <a:lnTo>
                    <a:pt x="9726" y="6199"/>
                  </a:lnTo>
                  <a:lnTo>
                    <a:pt x="10394" y="5828"/>
                  </a:lnTo>
                  <a:lnTo>
                    <a:pt x="10728" y="5661"/>
                  </a:lnTo>
                  <a:lnTo>
                    <a:pt x="11470" y="5383"/>
                  </a:lnTo>
                  <a:lnTo>
                    <a:pt x="12287" y="5216"/>
                  </a:lnTo>
                  <a:lnTo>
                    <a:pt x="13159" y="5123"/>
                  </a:lnTo>
                  <a:close/>
                  <a:moveTo>
                    <a:pt x="13623" y="1"/>
                  </a:moveTo>
                  <a:lnTo>
                    <a:pt x="12918" y="19"/>
                  </a:lnTo>
                  <a:lnTo>
                    <a:pt x="11545" y="131"/>
                  </a:lnTo>
                  <a:lnTo>
                    <a:pt x="10227" y="372"/>
                  </a:lnTo>
                  <a:lnTo>
                    <a:pt x="8928" y="724"/>
                  </a:lnTo>
                  <a:lnTo>
                    <a:pt x="8297" y="947"/>
                  </a:lnTo>
                  <a:lnTo>
                    <a:pt x="7684" y="1188"/>
                  </a:lnTo>
                  <a:lnTo>
                    <a:pt x="6515" y="1745"/>
                  </a:lnTo>
                  <a:lnTo>
                    <a:pt x="5439" y="2413"/>
                  </a:lnTo>
                  <a:lnTo>
                    <a:pt x="4437" y="3174"/>
                  </a:lnTo>
                  <a:lnTo>
                    <a:pt x="3973" y="3601"/>
                  </a:lnTo>
                  <a:lnTo>
                    <a:pt x="3527" y="4046"/>
                  </a:lnTo>
                  <a:lnTo>
                    <a:pt x="2692" y="4993"/>
                  </a:lnTo>
                  <a:lnTo>
                    <a:pt x="1968" y="6032"/>
                  </a:lnTo>
                  <a:lnTo>
                    <a:pt x="1356" y="7146"/>
                  </a:lnTo>
                  <a:lnTo>
                    <a:pt x="1077" y="7758"/>
                  </a:lnTo>
                  <a:lnTo>
                    <a:pt x="818" y="8371"/>
                  </a:lnTo>
                  <a:lnTo>
                    <a:pt x="409" y="9651"/>
                  </a:lnTo>
                  <a:lnTo>
                    <a:pt x="149" y="10987"/>
                  </a:lnTo>
                  <a:lnTo>
                    <a:pt x="20" y="12416"/>
                  </a:lnTo>
                  <a:lnTo>
                    <a:pt x="1" y="13159"/>
                  </a:lnTo>
                  <a:lnTo>
                    <a:pt x="20" y="13883"/>
                  </a:lnTo>
                  <a:lnTo>
                    <a:pt x="149" y="15312"/>
                  </a:lnTo>
                  <a:lnTo>
                    <a:pt x="409" y="16666"/>
                  </a:lnTo>
                  <a:lnTo>
                    <a:pt x="818" y="17947"/>
                  </a:lnTo>
                  <a:lnTo>
                    <a:pt x="1077" y="18578"/>
                  </a:lnTo>
                  <a:lnTo>
                    <a:pt x="1356" y="19172"/>
                  </a:lnTo>
                  <a:lnTo>
                    <a:pt x="1968" y="20322"/>
                  </a:lnTo>
                  <a:lnTo>
                    <a:pt x="2692" y="21362"/>
                  </a:lnTo>
                  <a:lnTo>
                    <a:pt x="3527" y="22327"/>
                  </a:lnTo>
                  <a:lnTo>
                    <a:pt x="3973" y="22772"/>
                  </a:lnTo>
                  <a:lnTo>
                    <a:pt x="4437" y="23199"/>
                  </a:lnTo>
                  <a:lnTo>
                    <a:pt x="5439" y="23979"/>
                  </a:lnTo>
                  <a:lnTo>
                    <a:pt x="6515" y="24665"/>
                  </a:lnTo>
                  <a:lnTo>
                    <a:pt x="7684" y="25259"/>
                  </a:lnTo>
                  <a:lnTo>
                    <a:pt x="8297" y="25519"/>
                  </a:lnTo>
                  <a:lnTo>
                    <a:pt x="8928" y="25742"/>
                  </a:lnTo>
                  <a:lnTo>
                    <a:pt x="10227" y="26113"/>
                  </a:lnTo>
                  <a:lnTo>
                    <a:pt x="11545" y="26373"/>
                  </a:lnTo>
                  <a:lnTo>
                    <a:pt x="12918" y="26484"/>
                  </a:lnTo>
                  <a:lnTo>
                    <a:pt x="13623" y="26503"/>
                  </a:lnTo>
                  <a:lnTo>
                    <a:pt x="14328" y="26484"/>
                  </a:lnTo>
                  <a:lnTo>
                    <a:pt x="15683" y="26373"/>
                  </a:lnTo>
                  <a:lnTo>
                    <a:pt x="17019" y="26113"/>
                  </a:lnTo>
                  <a:lnTo>
                    <a:pt x="18300" y="25742"/>
                  </a:lnTo>
                  <a:lnTo>
                    <a:pt x="18931" y="25519"/>
                  </a:lnTo>
                  <a:lnTo>
                    <a:pt x="19562" y="25259"/>
                  </a:lnTo>
                  <a:lnTo>
                    <a:pt x="20731" y="24665"/>
                  </a:lnTo>
                  <a:lnTo>
                    <a:pt x="21808" y="23979"/>
                  </a:lnTo>
                  <a:lnTo>
                    <a:pt x="22810" y="23199"/>
                  </a:lnTo>
                  <a:lnTo>
                    <a:pt x="23274" y="22772"/>
                  </a:lnTo>
                  <a:lnTo>
                    <a:pt x="23719" y="22327"/>
                  </a:lnTo>
                  <a:lnTo>
                    <a:pt x="24536" y="21362"/>
                  </a:lnTo>
                  <a:lnTo>
                    <a:pt x="25260" y="20322"/>
                  </a:lnTo>
                  <a:lnTo>
                    <a:pt x="25891" y="19172"/>
                  </a:lnTo>
                  <a:lnTo>
                    <a:pt x="26169" y="18578"/>
                  </a:lnTo>
                  <a:lnTo>
                    <a:pt x="26429" y="17947"/>
                  </a:lnTo>
                  <a:lnTo>
                    <a:pt x="26818" y="16666"/>
                  </a:lnTo>
                  <a:lnTo>
                    <a:pt x="27097" y="15312"/>
                  </a:lnTo>
                  <a:lnTo>
                    <a:pt x="27227" y="13883"/>
                  </a:lnTo>
                  <a:lnTo>
                    <a:pt x="27227" y="13159"/>
                  </a:lnTo>
                  <a:lnTo>
                    <a:pt x="27227" y="12416"/>
                  </a:lnTo>
                  <a:lnTo>
                    <a:pt x="27097" y="10987"/>
                  </a:lnTo>
                  <a:lnTo>
                    <a:pt x="26818" y="9651"/>
                  </a:lnTo>
                  <a:lnTo>
                    <a:pt x="26429" y="8371"/>
                  </a:lnTo>
                  <a:lnTo>
                    <a:pt x="26169" y="7758"/>
                  </a:lnTo>
                  <a:lnTo>
                    <a:pt x="25891" y="7146"/>
                  </a:lnTo>
                  <a:lnTo>
                    <a:pt x="25260" y="6032"/>
                  </a:lnTo>
                  <a:lnTo>
                    <a:pt x="24536" y="4993"/>
                  </a:lnTo>
                  <a:lnTo>
                    <a:pt x="23719" y="4046"/>
                  </a:lnTo>
                  <a:lnTo>
                    <a:pt x="23274" y="3601"/>
                  </a:lnTo>
                  <a:lnTo>
                    <a:pt x="22810" y="3174"/>
                  </a:lnTo>
                  <a:lnTo>
                    <a:pt x="21808" y="2413"/>
                  </a:lnTo>
                  <a:lnTo>
                    <a:pt x="20731" y="1745"/>
                  </a:lnTo>
                  <a:lnTo>
                    <a:pt x="19562" y="1188"/>
                  </a:lnTo>
                  <a:lnTo>
                    <a:pt x="18931" y="947"/>
                  </a:lnTo>
                  <a:lnTo>
                    <a:pt x="18300" y="724"/>
                  </a:lnTo>
                  <a:lnTo>
                    <a:pt x="17019" y="372"/>
                  </a:lnTo>
                  <a:lnTo>
                    <a:pt x="15683" y="131"/>
                  </a:lnTo>
                  <a:lnTo>
                    <a:pt x="14328" y="19"/>
                  </a:lnTo>
                  <a:lnTo>
                    <a:pt x="13623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22;p2"/>
            <p:cNvSpPr/>
            <p:nvPr/>
          </p:nvSpPr>
          <p:spPr>
            <a:xfrm>
              <a:off x="5231350" y="2663300"/>
              <a:ext cx="633825" cy="662575"/>
            </a:xfrm>
            <a:custGeom>
              <a:avLst/>
              <a:gdLst/>
              <a:ahLst/>
              <a:cxnLst/>
              <a:rect l="l" t="t" r="r" b="b"/>
              <a:pathLst>
                <a:path w="25353" h="26503" extrusionOk="0">
                  <a:moveTo>
                    <a:pt x="13196" y="4696"/>
                  </a:moveTo>
                  <a:lnTo>
                    <a:pt x="13939" y="4715"/>
                  </a:lnTo>
                  <a:lnTo>
                    <a:pt x="15256" y="4974"/>
                  </a:lnTo>
                  <a:lnTo>
                    <a:pt x="15832" y="5197"/>
                  </a:lnTo>
                  <a:lnTo>
                    <a:pt x="16388" y="5457"/>
                  </a:lnTo>
                  <a:lnTo>
                    <a:pt x="17298" y="6125"/>
                  </a:lnTo>
                  <a:lnTo>
                    <a:pt x="17687" y="6515"/>
                  </a:lnTo>
                  <a:lnTo>
                    <a:pt x="18040" y="6942"/>
                  </a:lnTo>
                  <a:lnTo>
                    <a:pt x="18578" y="7907"/>
                  </a:lnTo>
                  <a:lnTo>
                    <a:pt x="18764" y="8445"/>
                  </a:lnTo>
                  <a:lnTo>
                    <a:pt x="18912" y="9002"/>
                  </a:lnTo>
                  <a:lnTo>
                    <a:pt x="19079" y="10152"/>
                  </a:lnTo>
                  <a:lnTo>
                    <a:pt x="19098" y="10746"/>
                  </a:lnTo>
                  <a:lnTo>
                    <a:pt x="6274" y="10746"/>
                  </a:lnTo>
                  <a:lnTo>
                    <a:pt x="6329" y="10097"/>
                  </a:lnTo>
                  <a:lnTo>
                    <a:pt x="6664" y="8890"/>
                  </a:lnTo>
                  <a:lnTo>
                    <a:pt x="7202" y="7795"/>
                  </a:lnTo>
                  <a:lnTo>
                    <a:pt x="7963" y="6830"/>
                  </a:lnTo>
                  <a:lnTo>
                    <a:pt x="8427" y="6403"/>
                  </a:lnTo>
                  <a:lnTo>
                    <a:pt x="8928" y="5995"/>
                  </a:lnTo>
                  <a:lnTo>
                    <a:pt x="10023" y="5346"/>
                  </a:lnTo>
                  <a:lnTo>
                    <a:pt x="11210" y="4937"/>
                  </a:lnTo>
                  <a:lnTo>
                    <a:pt x="12510" y="4715"/>
                  </a:lnTo>
                  <a:lnTo>
                    <a:pt x="13196" y="4696"/>
                  </a:lnTo>
                  <a:close/>
                  <a:moveTo>
                    <a:pt x="13252" y="1"/>
                  </a:moveTo>
                  <a:lnTo>
                    <a:pt x="12565" y="19"/>
                  </a:lnTo>
                  <a:lnTo>
                    <a:pt x="11192" y="131"/>
                  </a:lnTo>
                  <a:lnTo>
                    <a:pt x="9893" y="372"/>
                  </a:lnTo>
                  <a:lnTo>
                    <a:pt x="8631" y="743"/>
                  </a:lnTo>
                  <a:lnTo>
                    <a:pt x="8018" y="966"/>
                  </a:lnTo>
                  <a:lnTo>
                    <a:pt x="7406" y="1226"/>
                  </a:lnTo>
                  <a:lnTo>
                    <a:pt x="6292" y="1801"/>
                  </a:lnTo>
                  <a:lnTo>
                    <a:pt x="5235" y="2469"/>
                  </a:lnTo>
                  <a:lnTo>
                    <a:pt x="4269" y="3248"/>
                  </a:lnTo>
                  <a:lnTo>
                    <a:pt x="3824" y="3675"/>
                  </a:lnTo>
                  <a:lnTo>
                    <a:pt x="3379" y="4121"/>
                  </a:lnTo>
                  <a:lnTo>
                    <a:pt x="2581" y="5086"/>
                  </a:lnTo>
                  <a:lnTo>
                    <a:pt x="1894" y="6144"/>
                  </a:lnTo>
                  <a:lnTo>
                    <a:pt x="1281" y="7294"/>
                  </a:lnTo>
                  <a:lnTo>
                    <a:pt x="1022" y="7907"/>
                  </a:lnTo>
                  <a:lnTo>
                    <a:pt x="780" y="8538"/>
                  </a:lnTo>
                  <a:lnTo>
                    <a:pt x="391" y="9837"/>
                  </a:lnTo>
                  <a:lnTo>
                    <a:pt x="149" y="11210"/>
                  </a:lnTo>
                  <a:lnTo>
                    <a:pt x="19" y="12658"/>
                  </a:lnTo>
                  <a:lnTo>
                    <a:pt x="1" y="13400"/>
                  </a:lnTo>
                  <a:lnTo>
                    <a:pt x="19" y="14161"/>
                  </a:lnTo>
                  <a:lnTo>
                    <a:pt x="149" y="15609"/>
                  </a:lnTo>
                  <a:lnTo>
                    <a:pt x="391" y="17000"/>
                  </a:lnTo>
                  <a:lnTo>
                    <a:pt x="780" y="18300"/>
                  </a:lnTo>
                  <a:lnTo>
                    <a:pt x="1022" y="18912"/>
                  </a:lnTo>
                  <a:lnTo>
                    <a:pt x="1281" y="19506"/>
                  </a:lnTo>
                  <a:lnTo>
                    <a:pt x="1894" y="20619"/>
                  </a:lnTo>
                  <a:lnTo>
                    <a:pt x="2599" y="21659"/>
                  </a:lnTo>
                  <a:lnTo>
                    <a:pt x="3397" y="22587"/>
                  </a:lnTo>
                  <a:lnTo>
                    <a:pt x="3843" y="23013"/>
                  </a:lnTo>
                  <a:lnTo>
                    <a:pt x="4288" y="23422"/>
                  </a:lnTo>
                  <a:lnTo>
                    <a:pt x="5272" y="24146"/>
                  </a:lnTo>
                  <a:lnTo>
                    <a:pt x="6348" y="24795"/>
                  </a:lnTo>
                  <a:lnTo>
                    <a:pt x="7480" y="25352"/>
                  </a:lnTo>
                  <a:lnTo>
                    <a:pt x="8093" y="25593"/>
                  </a:lnTo>
                  <a:lnTo>
                    <a:pt x="8705" y="25797"/>
                  </a:lnTo>
                  <a:lnTo>
                    <a:pt x="10004" y="26150"/>
                  </a:lnTo>
                  <a:lnTo>
                    <a:pt x="11340" y="26373"/>
                  </a:lnTo>
                  <a:lnTo>
                    <a:pt x="12732" y="26484"/>
                  </a:lnTo>
                  <a:lnTo>
                    <a:pt x="13475" y="26503"/>
                  </a:lnTo>
                  <a:lnTo>
                    <a:pt x="14236" y="26484"/>
                  </a:lnTo>
                  <a:lnTo>
                    <a:pt x="15683" y="26373"/>
                  </a:lnTo>
                  <a:lnTo>
                    <a:pt x="17075" y="26131"/>
                  </a:lnTo>
                  <a:lnTo>
                    <a:pt x="18374" y="25760"/>
                  </a:lnTo>
                  <a:lnTo>
                    <a:pt x="19599" y="25296"/>
                  </a:lnTo>
                  <a:lnTo>
                    <a:pt x="20731" y="24684"/>
                  </a:lnTo>
                  <a:lnTo>
                    <a:pt x="21789" y="23960"/>
                  </a:lnTo>
                  <a:lnTo>
                    <a:pt x="22773" y="23125"/>
                  </a:lnTo>
                  <a:lnTo>
                    <a:pt x="23237" y="22661"/>
                  </a:lnTo>
                  <a:lnTo>
                    <a:pt x="23422" y="22420"/>
                  </a:lnTo>
                  <a:lnTo>
                    <a:pt x="23608" y="21863"/>
                  </a:lnTo>
                  <a:lnTo>
                    <a:pt x="23552" y="21288"/>
                  </a:lnTo>
                  <a:lnTo>
                    <a:pt x="23274" y="20768"/>
                  </a:lnTo>
                  <a:lnTo>
                    <a:pt x="23051" y="20564"/>
                  </a:lnTo>
                  <a:lnTo>
                    <a:pt x="21158" y="19042"/>
                  </a:lnTo>
                  <a:lnTo>
                    <a:pt x="20935" y="18875"/>
                  </a:lnTo>
                  <a:lnTo>
                    <a:pt x="20434" y="18726"/>
                  </a:lnTo>
                  <a:lnTo>
                    <a:pt x="19915" y="18745"/>
                  </a:lnTo>
                  <a:lnTo>
                    <a:pt x="19432" y="18949"/>
                  </a:lnTo>
                  <a:lnTo>
                    <a:pt x="19246" y="19135"/>
                  </a:lnTo>
                  <a:lnTo>
                    <a:pt x="18820" y="19543"/>
                  </a:lnTo>
                  <a:lnTo>
                    <a:pt x="17892" y="20230"/>
                  </a:lnTo>
                  <a:lnTo>
                    <a:pt x="17372" y="20527"/>
                  </a:lnTo>
                  <a:lnTo>
                    <a:pt x="16964" y="20731"/>
                  </a:lnTo>
                  <a:lnTo>
                    <a:pt x="16073" y="21046"/>
                  </a:lnTo>
                  <a:lnTo>
                    <a:pt x="15071" y="21269"/>
                  </a:lnTo>
                  <a:lnTo>
                    <a:pt x="13994" y="21380"/>
                  </a:lnTo>
                  <a:lnTo>
                    <a:pt x="13419" y="21380"/>
                  </a:lnTo>
                  <a:lnTo>
                    <a:pt x="12732" y="21362"/>
                  </a:lnTo>
                  <a:lnTo>
                    <a:pt x="11433" y="21120"/>
                  </a:lnTo>
                  <a:lnTo>
                    <a:pt x="10802" y="20916"/>
                  </a:lnTo>
                  <a:lnTo>
                    <a:pt x="10190" y="20657"/>
                  </a:lnTo>
                  <a:lnTo>
                    <a:pt x="9076" y="20026"/>
                  </a:lnTo>
                  <a:lnTo>
                    <a:pt x="8557" y="19636"/>
                  </a:lnTo>
                  <a:lnTo>
                    <a:pt x="8074" y="19209"/>
                  </a:lnTo>
                  <a:lnTo>
                    <a:pt x="7295" y="18244"/>
                  </a:lnTo>
                  <a:lnTo>
                    <a:pt x="6979" y="17706"/>
                  </a:lnTo>
                  <a:lnTo>
                    <a:pt x="6682" y="17130"/>
                  </a:lnTo>
                  <a:lnTo>
                    <a:pt x="6329" y="15905"/>
                  </a:lnTo>
                  <a:lnTo>
                    <a:pt x="6274" y="15237"/>
                  </a:lnTo>
                  <a:lnTo>
                    <a:pt x="23905" y="15237"/>
                  </a:lnTo>
                  <a:lnTo>
                    <a:pt x="24202" y="15200"/>
                  </a:lnTo>
                  <a:lnTo>
                    <a:pt x="24721" y="14996"/>
                  </a:lnTo>
                  <a:lnTo>
                    <a:pt x="25111" y="14606"/>
                  </a:lnTo>
                  <a:lnTo>
                    <a:pt x="25334" y="14087"/>
                  </a:lnTo>
                  <a:lnTo>
                    <a:pt x="25352" y="13790"/>
                  </a:lnTo>
                  <a:lnTo>
                    <a:pt x="25352" y="13567"/>
                  </a:lnTo>
                  <a:lnTo>
                    <a:pt x="25352" y="12713"/>
                  </a:lnTo>
                  <a:lnTo>
                    <a:pt x="25222" y="11136"/>
                  </a:lnTo>
                  <a:lnTo>
                    <a:pt x="25000" y="9651"/>
                  </a:lnTo>
                  <a:lnTo>
                    <a:pt x="24666" y="8278"/>
                  </a:lnTo>
                  <a:lnTo>
                    <a:pt x="24443" y="7647"/>
                  </a:lnTo>
                  <a:lnTo>
                    <a:pt x="24202" y="7016"/>
                  </a:lnTo>
                  <a:lnTo>
                    <a:pt x="23663" y="5847"/>
                  </a:lnTo>
                  <a:lnTo>
                    <a:pt x="23032" y="4807"/>
                  </a:lnTo>
                  <a:lnTo>
                    <a:pt x="22309" y="3842"/>
                  </a:lnTo>
                  <a:lnTo>
                    <a:pt x="21919" y="3415"/>
                  </a:lnTo>
                  <a:lnTo>
                    <a:pt x="21511" y="3007"/>
                  </a:lnTo>
                  <a:lnTo>
                    <a:pt x="20620" y="2265"/>
                  </a:lnTo>
                  <a:lnTo>
                    <a:pt x="19655" y="1615"/>
                  </a:lnTo>
                  <a:lnTo>
                    <a:pt x="18634" y="1096"/>
                  </a:lnTo>
                  <a:lnTo>
                    <a:pt x="18077" y="873"/>
                  </a:lnTo>
                  <a:lnTo>
                    <a:pt x="17520" y="650"/>
                  </a:lnTo>
                  <a:lnTo>
                    <a:pt x="16370" y="335"/>
                  </a:lnTo>
                  <a:lnTo>
                    <a:pt x="15163" y="112"/>
                  </a:lnTo>
                  <a:lnTo>
                    <a:pt x="13901" y="19"/>
                  </a:lnTo>
                  <a:lnTo>
                    <a:pt x="13252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23;p2"/>
            <p:cNvSpPr/>
            <p:nvPr/>
          </p:nvSpPr>
          <p:spPr>
            <a:xfrm>
              <a:off x="5884625" y="2663300"/>
              <a:ext cx="579075" cy="659800"/>
            </a:xfrm>
            <a:custGeom>
              <a:avLst/>
              <a:gdLst/>
              <a:ahLst/>
              <a:cxnLst/>
              <a:rect l="l" t="t" r="r" b="b"/>
              <a:pathLst>
                <a:path w="23163" h="26392" extrusionOk="0">
                  <a:moveTo>
                    <a:pt x="17223" y="14347"/>
                  </a:moveTo>
                  <a:lnTo>
                    <a:pt x="17223" y="15237"/>
                  </a:lnTo>
                  <a:lnTo>
                    <a:pt x="17205" y="15961"/>
                  </a:lnTo>
                  <a:lnTo>
                    <a:pt x="17001" y="17297"/>
                  </a:lnTo>
                  <a:lnTo>
                    <a:pt x="16574" y="18467"/>
                  </a:lnTo>
                  <a:lnTo>
                    <a:pt x="15943" y="19487"/>
                  </a:lnTo>
                  <a:lnTo>
                    <a:pt x="15553" y="19933"/>
                  </a:lnTo>
                  <a:lnTo>
                    <a:pt x="15108" y="20341"/>
                  </a:lnTo>
                  <a:lnTo>
                    <a:pt x="14087" y="20991"/>
                  </a:lnTo>
                  <a:lnTo>
                    <a:pt x="12862" y="21417"/>
                  </a:lnTo>
                  <a:lnTo>
                    <a:pt x="11433" y="21640"/>
                  </a:lnTo>
                  <a:lnTo>
                    <a:pt x="10653" y="21659"/>
                  </a:lnTo>
                  <a:lnTo>
                    <a:pt x="9855" y="21622"/>
                  </a:lnTo>
                  <a:lnTo>
                    <a:pt x="9076" y="21492"/>
                  </a:lnTo>
                  <a:lnTo>
                    <a:pt x="8705" y="21417"/>
                  </a:lnTo>
                  <a:lnTo>
                    <a:pt x="8000" y="21158"/>
                  </a:lnTo>
                  <a:lnTo>
                    <a:pt x="7666" y="20972"/>
                  </a:lnTo>
                  <a:lnTo>
                    <a:pt x="7369" y="20786"/>
                  </a:lnTo>
                  <a:lnTo>
                    <a:pt x="6867" y="20304"/>
                  </a:lnTo>
                  <a:lnTo>
                    <a:pt x="6645" y="20007"/>
                  </a:lnTo>
                  <a:lnTo>
                    <a:pt x="6478" y="19691"/>
                  </a:lnTo>
                  <a:lnTo>
                    <a:pt x="6274" y="18949"/>
                  </a:lnTo>
                  <a:lnTo>
                    <a:pt x="6255" y="18522"/>
                  </a:lnTo>
                  <a:lnTo>
                    <a:pt x="6274" y="18170"/>
                  </a:lnTo>
                  <a:lnTo>
                    <a:pt x="6385" y="17557"/>
                  </a:lnTo>
                  <a:lnTo>
                    <a:pt x="6626" y="17000"/>
                  </a:lnTo>
                  <a:lnTo>
                    <a:pt x="6979" y="16518"/>
                  </a:lnTo>
                  <a:lnTo>
                    <a:pt x="7202" y="16314"/>
                  </a:lnTo>
                  <a:lnTo>
                    <a:pt x="7684" y="15924"/>
                  </a:lnTo>
                  <a:lnTo>
                    <a:pt x="8872" y="15293"/>
                  </a:lnTo>
                  <a:lnTo>
                    <a:pt x="9540" y="15052"/>
                  </a:lnTo>
                  <a:lnTo>
                    <a:pt x="10264" y="14848"/>
                  </a:lnTo>
                  <a:lnTo>
                    <a:pt x="11804" y="14551"/>
                  </a:lnTo>
                  <a:lnTo>
                    <a:pt x="12621" y="14476"/>
                  </a:lnTo>
                  <a:lnTo>
                    <a:pt x="14272" y="14365"/>
                  </a:lnTo>
                  <a:lnTo>
                    <a:pt x="15813" y="14347"/>
                  </a:lnTo>
                  <a:close/>
                  <a:moveTo>
                    <a:pt x="12008" y="1"/>
                  </a:moveTo>
                  <a:lnTo>
                    <a:pt x="11284" y="19"/>
                  </a:lnTo>
                  <a:lnTo>
                    <a:pt x="9855" y="131"/>
                  </a:lnTo>
                  <a:lnTo>
                    <a:pt x="8445" y="390"/>
                  </a:lnTo>
                  <a:lnTo>
                    <a:pt x="7035" y="762"/>
                  </a:lnTo>
                  <a:lnTo>
                    <a:pt x="6348" y="1003"/>
                  </a:lnTo>
                  <a:lnTo>
                    <a:pt x="5327" y="1374"/>
                  </a:lnTo>
                  <a:lnTo>
                    <a:pt x="3434" y="2376"/>
                  </a:lnTo>
                  <a:lnTo>
                    <a:pt x="2580" y="3007"/>
                  </a:lnTo>
                  <a:lnTo>
                    <a:pt x="2339" y="3193"/>
                  </a:lnTo>
                  <a:lnTo>
                    <a:pt x="2061" y="3712"/>
                  </a:lnTo>
                  <a:lnTo>
                    <a:pt x="2005" y="4269"/>
                  </a:lnTo>
                  <a:lnTo>
                    <a:pt x="2191" y="4845"/>
                  </a:lnTo>
                  <a:lnTo>
                    <a:pt x="2358" y="5086"/>
                  </a:lnTo>
                  <a:lnTo>
                    <a:pt x="3712" y="6663"/>
                  </a:lnTo>
                  <a:lnTo>
                    <a:pt x="3898" y="6867"/>
                  </a:lnTo>
                  <a:lnTo>
                    <a:pt x="4381" y="7127"/>
                  </a:lnTo>
                  <a:lnTo>
                    <a:pt x="4900" y="7183"/>
                  </a:lnTo>
                  <a:lnTo>
                    <a:pt x="5420" y="7053"/>
                  </a:lnTo>
                  <a:lnTo>
                    <a:pt x="5661" y="6905"/>
                  </a:lnTo>
                  <a:lnTo>
                    <a:pt x="6107" y="6589"/>
                  </a:lnTo>
                  <a:lnTo>
                    <a:pt x="7127" y="5995"/>
                  </a:lnTo>
                  <a:lnTo>
                    <a:pt x="7684" y="5735"/>
                  </a:lnTo>
                  <a:lnTo>
                    <a:pt x="8129" y="5550"/>
                  </a:lnTo>
                  <a:lnTo>
                    <a:pt x="9057" y="5234"/>
                  </a:lnTo>
                  <a:lnTo>
                    <a:pt x="10022" y="5012"/>
                  </a:lnTo>
                  <a:lnTo>
                    <a:pt x="10988" y="4919"/>
                  </a:lnTo>
                  <a:lnTo>
                    <a:pt x="11489" y="4900"/>
                  </a:lnTo>
                  <a:lnTo>
                    <a:pt x="12064" y="4919"/>
                  </a:lnTo>
                  <a:lnTo>
                    <a:pt x="13159" y="5049"/>
                  </a:lnTo>
                  <a:lnTo>
                    <a:pt x="14161" y="5346"/>
                  </a:lnTo>
                  <a:lnTo>
                    <a:pt x="15089" y="5754"/>
                  </a:lnTo>
                  <a:lnTo>
                    <a:pt x="15534" y="6032"/>
                  </a:lnTo>
                  <a:lnTo>
                    <a:pt x="15924" y="6311"/>
                  </a:lnTo>
                  <a:lnTo>
                    <a:pt x="16574" y="7034"/>
                  </a:lnTo>
                  <a:lnTo>
                    <a:pt x="16982" y="7907"/>
                  </a:lnTo>
                  <a:lnTo>
                    <a:pt x="17205" y="8927"/>
                  </a:lnTo>
                  <a:lnTo>
                    <a:pt x="17223" y="9484"/>
                  </a:lnTo>
                  <a:lnTo>
                    <a:pt x="17223" y="10115"/>
                  </a:lnTo>
                  <a:lnTo>
                    <a:pt x="15757" y="10134"/>
                  </a:lnTo>
                  <a:lnTo>
                    <a:pt x="12769" y="10282"/>
                  </a:lnTo>
                  <a:lnTo>
                    <a:pt x="11247" y="10412"/>
                  </a:lnTo>
                  <a:lnTo>
                    <a:pt x="9744" y="10579"/>
                  </a:lnTo>
                  <a:lnTo>
                    <a:pt x="7647" y="11006"/>
                  </a:lnTo>
                  <a:lnTo>
                    <a:pt x="6329" y="11359"/>
                  </a:lnTo>
                  <a:lnTo>
                    <a:pt x="5698" y="11581"/>
                  </a:lnTo>
                  <a:lnTo>
                    <a:pt x="5067" y="11804"/>
                  </a:lnTo>
                  <a:lnTo>
                    <a:pt x="3935" y="12361"/>
                  </a:lnTo>
                  <a:lnTo>
                    <a:pt x="2914" y="12992"/>
                  </a:lnTo>
                  <a:lnTo>
                    <a:pt x="2005" y="13734"/>
                  </a:lnTo>
                  <a:lnTo>
                    <a:pt x="1597" y="14142"/>
                  </a:lnTo>
                  <a:lnTo>
                    <a:pt x="1207" y="14569"/>
                  </a:lnTo>
                  <a:lnTo>
                    <a:pt x="613" y="15553"/>
                  </a:lnTo>
                  <a:lnTo>
                    <a:pt x="223" y="16666"/>
                  </a:lnTo>
                  <a:lnTo>
                    <a:pt x="19" y="17928"/>
                  </a:lnTo>
                  <a:lnTo>
                    <a:pt x="1" y="18615"/>
                  </a:lnTo>
                  <a:lnTo>
                    <a:pt x="19" y="19172"/>
                  </a:lnTo>
                  <a:lnTo>
                    <a:pt x="131" y="20174"/>
                  </a:lnTo>
                  <a:lnTo>
                    <a:pt x="353" y="21083"/>
                  </a:lnTo>
                  <a:lnTo>
                    <a:pt x="706" y="21919"/>
                  </a:lnTo>
                  <a:lnTo>
                    <a:pt x="910" y="22308"/>
                  </a:lnTo>
                  <a:lnTo>
                    <a:pt x="1151" y="22661"/>
                  </a:lnTo>
                  <a:lnTo>
                    <a:pt x="1671" y="23348"/>
                  </a:lnTo>
                  <a:lnTo>
                    <a:pt x="2246" y="23941"/>
                  </a:lnTo>
                  <a:lnTo>
                    <a:pt x="2877" y="24461"/>
                  </a:lnTo>
                  <a:lnTo>
                    <a:pt x="3211" y="24702"/>
                  </a:lnTo>
                  <a:lnTo>
                    <a:pt x="3917" y="25129"/>
                  </a:lnTo>
                  <a:lnTo>
                    <a:pt x="5420" y="25779"/>
                  </a:lnTo>
                  <a:lnTo>
                    <a:pt x="6236" y="26001"/>
                  </a:lnTo>
                  <a:lnTo>
                    <a:pt x="7053" y="26187"/>
                  </a:lnTo>
                  <a:lnTo>
                    <a:pt x="8631" y="26373"/>
                  </a:lnTo>
                  <a:lnTo>
                    <a:pt x="9391" y="26391"/>
                  </a:lnTo>
                  <a:lnTo>
                    <a:pt x="10060" y="26391"/>
                  </a:lnTo>
                  <a:lnTo>
                    <a:pt x="11303" y="26243"/>
                  </a:lnTo>
                  <a:lnTo>
                    <a:pt x="12491" y="25983"/>
                  </a:lnTo>
                  <a:lnTo>
                    <a:pt x="13604" y="25575"/>
                  </a:lnTo>
                  <a:lnTo>
                    <a:pt x="14143" y="25315"/>
                  </a:lnTo>
                  <a:lnTo>
                    <a:pt x="14644" y="25055"/>
                  </a:lnTo>
                  <a:lnTo>
                    <a:pt x="15553" y="24442"/>
                  </a:lnTo>
                  <a:lnTo>
                    <a:pt x="16314" y="23756"/>
                  </a:lnTo>
                  <a:lnTo>
                    <a:pt x="16926" y="22995"/>
                  </a:lnTo>
                  <a:lnTo>
                    <a:pt x="17168" y="22587"/>
                  </a:lnTo>
                  <a:lnTo>
                    <a:pt x="17316" y="22587"/>
                  </a:lnTo>
                  <a:lnTo>
                    <a:pt x="17316" y="24313"/>
                  </a:lnTo>
                  <a:lnTo>
                    <a:pt x="17335" y="24610"/>
                  </a:lnTo>
                  <a:lnTo>
                    <a:pt x="17557" y="25129"/>
                  </a:lnTo>
                  <a:lnTo>
                    <a:pt x="17947" y="25519"/>
                  </a:lnTo>
                  <a:lnTo>
                    <a:pt x="18467" y="25742"/>
                  </a:lnTo>
                  <a:lnTo>
                    <a:pt x="18764" y="25760"/>
                  </a:lnTo>
                  <a:lnTo>
                    <a:pt x="21715" y="25760"/>
                  </a:lnTo>
                  <a:lnTo>
                    <a:pt x="22011" y="25742"/>
                  </a:lnTo>
                  <a:lnTo>
                    <a:pt x="22531" y="25519"/>
                  </a:lnTo>
                  <a:lnTo>
                    <a:pt x="22921" y="25129"/>
                  </a:lnTo>
                  <a:lnTo>
                    <a:pt x="23144" y="24610"/>
                  </a:lnTo>
                  <a:lnTo>
                    <a:pt x="23162" y="24313"/>
                  </a:lnTo>
                  <a:lnTo>
                    <a:pt x="23162" y="10542"/>
                  </a:lnTo>
                  <a:lnTo>
                    <a:pt x="23144" y="9596"/>
                  </a:lnTo>
                  <a:lnTo>
                    <a:pt x="22902" y="7721"/>
                  </a:lnTo>
                  <a:lnTo>
                    <a:pt x="22661" y="6775"/>
                  </a:lnTo>
                  <a:lnTo>
                    <a:pt x="22531" y="6311"/>
                  </a:lnTo>
                  <a:lnTo>
                    <a:pt x="22197" y="5420"/>
                  </a:lnTo>
                  <a:lnTo>
                    <a:pt x="21752" y="4566"/>
                  </a:lnTo>
                  <a:lnTo>
                    <a:pt x="21232" y="3768"/>
                  </a:lnTo>
                  <a:lnTo>
                    <a:pt x="20917" y="3378"/>
                  </a:lnTo>
                  <a:lnTo>
                    <a:pt x="20917" y="3397"/>
                  </a:lnTo>
                  <a:lnTo>
                    <a:pt x="20601" y="3026"/>
                  </a:lnTo>
                  <a:lnTo>
                    <a:pt x="19859" y="2339"/>
                  </a:lnTo>
                  <a:lnTo>
                    <a:pt x="19005" y="1727"/>
                  </a:lnTo>
                  <a:lnTo>
                    <a:pt x="18040" y="1188"/>
                  </a:lnTo>
                  <a:lnTo>
                    <a:pt x="17502" y="947"/>
                  </a:lnTo>
                  <a:lnTo>
                    <a:pt x="16945" y="724"/>
                  </a:lnTo>
                  <a:lnTo>
                    <a:pt x="15720" y="372"/>
                  </a:lnTo>
                  <a:lnTo>
                    <a:pt x="14347" y="131"/>
                  </a:lnTo>
                  <a:lnTo>
                    <a:pt x="12825" y="19"/>
                  </a:lnTo>
                  <a:lnTo>
                    <a:pt x="12008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24;p2"/>
            <p:cNvSpPr/>
            <p:nvPr/>
          </p:nvSpPr>
          <p:spPr>
            <a:xfrm>
              <a:off x="6545800" y="2664225"/>
              <a:ext cx="373975" cy="643550"/>
            </a:xfrm>
            <a:custGeom>
              <a:avLst/>
              <a:gdLst/>
              <a:ahLst/>
              <a:cxnLst/>
              <a:rect l="l" t="t" r="r" b="b"/>
              <a:pathLst>
                <a:path w="14959" h="25742" extrusionOk="0">
                  <a:moveTo>
                    <a:pt x="13400" y="1"/>
                  </a:moveTo>
                  <a:lnTo>
                    <a:pt x="13400" y="19"/>
                  </a:lnTo>
                  <a:lnTo>
                    <a:pt x="12639" y="75"/>
                  </a:lnTo>
                  <a:lnTo>
                    <a:pt x="11339" y="279"/>
                  </a:lnTo>
                  <a:lnTo>
                    <a:pt x="10300" y="613"/>
                  </a:lnTo>
                  <a:lnTo>
                    <a:pt x="9409" y="1059"/>
                  </a:lnTo>
                  <a:lnTo>
                    <a:pt x="9020" y="1318"/>
                  </a:lnTo>
                  <a:lnTo>
                    <a:pt x="8556" y="1671"/>
                  </a:lnTo>
                  <a:lnTo>
                    <a:pt x="7721" y="2451"/>
                  </a:lnTo>
                  <a:lnTo>
                    <a:pt x="6997" y="3341"/>
                  </a:lnTo>
                  <a:lnTo>
                    <a:pt x="6366" y="4325"/>
                  </a:lnTo>
                  <a:lnTo>
                    <a:pt x="6106" y="4863"/>
                  </a:lnTo>
                  <a:lnTo>
                    <a:pt x="5995" y="4863"/>
                  </a:lnTo>
                  <a:lnTo>
                    <a:pt x="5995" y="2135"/>
                  </a:lnTo>
                  <a:lnTo>
                    <a:pt x="5976" y="1838"/>
                  </a:lnTo>
                  <a:lnTo>
                    <a:pt x="5753" y="1318"/>
                  </a:lnTo>
                  <a:lnTo>
                    <a:pt x="5364" y="929"/>
                  </a:lnTo>
                  <a:lnTo>
                    <a:pt x="4844" y="706"/>
                  </a:lnTo>
                  <a:lnTo>
                    <a:pt x="4547" y="687"/>
                  </a:lnTo>
                  <a:lnTo>
                    <a:pt x="1448" y="687"/>
                  </a:lnTo>
                  <a:lnTo>
                    <a:pt x="1151" y="706"/>
                  </a:lnTo>
                  <a:lnTo>
                    <a:pt x="631" y="929"/>
                  </a:lnTo>
                  <a:lnTo>
                    <a:pt x="241" y="1318"/>
                  </a:lnTo>
                  <a:lnTo>
                    <a:pt x="19" y="1838"/>
                  </a:lnTo>
                  <a:lnTo>
                    <a:pt x="0" y="2135"/>
                  </a:lnTo>
                  <a:lnTo>
                    <a:pt x="0" y="24276"/>
                  </a:lnTo>
                  <a:lnTo>
                    <a:pt x="19" y="24573"/>
                  </a:lnTo>
                  <a:lnTo>
                    <a:pt x="241" y="25092"/>
                  </a:lnTo>
                  <a:lnTo>
                    <a:pt x="631" y="25500"/>
                  </a:lnTo>
                  <a:lnTo>
                    <a:pt x="1151" y="25705"/>
                  </a:lnTo>
                  <a:lnTo>
                    <a:pt x="1448" y="25742"/>
                  </a:lnTo>
                  <a:lnTo>
                    <a:pt x="4807" y="25742"/>
                  </a:lnTo>
                  <a:lnTo>
                    <a:pt x="5104" y="25705"/>
                  </a:lnTo>
                  <a:lnTo>
                    <a:pt x="5623" y="25500"/>
                  </a:lnTo>
                  <a:lnTo>
                    <a:pt x="6013" y="25092"/>
                  </a:lnTo>
                  <a:lnTo>
                    <a:pt x="6236" y="24573"/>
                  </a:lnTo>
                  <a:lnTo>
                    <a:pt x="6254" y="24276"/>
                  </a:lnTo>
                  <a:lnTo>
                    <a:pt x="6254" y="12324"/>
                  </a:lnTo>
                  <a:lnTo>
                    <a:pt x="6273" y="11971"/>
                  </a:lnTo>
                  <a:lnTo>
                    <a:pt x="6403" y="11062"/>
                  </a:lnTo>
                  <a:lnTo>
                    <a:pt x="6514" y="10505"/>
                  </a:lnTo>
                  <a:lnTo>
                    <a:pt x="6663" y="9930"/>
                  </a:lnTo>
                  <a:lnTo>
                    <a:pt x="7164" y="8816"/>
                  </a:lnTo>
                  <a:lnTo>
                    <a:pt x="7516" y="8259"/>
                  </a:lnTo>
                  <a:lnTo>
                    <a:pt x="7906" y="7721"/>
                  </a:lnTo>
                  <a:lnTo>
                    <a:pt x="8908" y="6775"/>
                  </a:lnTo>
                  <a:lnTo>
                    <a:pt x="9539" y="6385"/>
                  </a:lnTo>
                  <a:lnTo>
                    <a:pt x="10170" y="6014"/>
                  </a:lnTo>
                  <a:lnTo>
                    <a:pt x="11636" y="5439"/>
                  </a:lnTo>
                  <a:lnTo>
                    <a:pt x="12917" y="5142"/>
                  </a:lnTo>
                  <a:lnTo>
                    <a:pt x="13678" y="5030"/>
                  </a:lnTo>
                  <a:lnTo>
                    <a:pt x="13938" y="4993"/>
                  </a:lnTo>
                  <a:lnTo>
                    <a:pt x="14420" y="4752"/>
                  </a:lnTo>
                  <a:lnTo>
                    <a:pt x="14754" y="4344"/>
                  </a:lnTo>
                  <a:lnTo>
                    <a:pt x="14940" y="3861"/>
                  </a:lnTo>
                  <a:lnTo>
                    <a:pt x="14958" y="3583"/>
                  </a:lnTo>
                  <a:lnTo>
                    <a:pt x="14940" y="1430"/>
                  </a:lnTo>
                  <a:lnTo>
                    <a:pt x="14903" y="1133"/>
                  </a:lnTo>
                  <a:lnTo>
                    <a:pt x="14661" y="595"/>
                  </a:lnTo>
                  <a:lnTo>
                    <a:pt x="14253" y="205"/>
                  </a:lnTo>
                  <a:lnTo>
                    <a:pt x="13696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25;p2"/>
            <p:cNvSpPr/>
            <p:nvPr/>
          </p:nvSpPr>
          <p:spPr>
            <a:xfrm>
              <a:off x="6961975" y="2500450"/>
              <a:ext cx="420375" cy="820325"/>
            </a:xfrm>
            <a:custGeom>
              <a:avLst/>
              <a:gdLst/>
              <a:ahLst/>
              <a:cxnLst/>
              <a:rect l="l" t="t" r="r" b="b"/>
              <a:pathLst>
                <a:path w="16815" h="32813" extrusionOk="0">
                  <a:moveTo>
                    <a:pt x="5846" y="1"/>
                  </a:moveTo>
                  <a:lnTo>
                    <a:pt x="5549" y="19"/>
                  </a:lnTo>
                  <a:lnTo>
                    <a:pt x="5030" y="242"/>
                  </a:lnTo>
                  <a:lnTo>
                    <a:pt x="4621" y="632"/>
                  </a:lnTo>
                  <a:lnTo>
                    <a:pt x="4417" y="1151"/>
                  </a:lnTo>
                  <a:lnTo>
                    <a:pt x="4399" y="1448"/>
                  </a:lnTo>
                  <a:lnTo>
                    <a:pt x="4399" y="6515"/>
                  </a:lnTo>
                  <a:lnTo>
                    <a:pt x="1448" y="6515"/>
                  </a:lnTo>
                  <a:lnTo>
                    <a:pt x="1169" y="6533"/>
                  </a:lnTo>
                  <a:lnTo>
                    <a:pt x="650" y="6756"/>
                  </a:lnTo>
                  <a:lnTo>
                    <a:pt x="242" y="7146"/>
                  </a:lnTo>
                  <a:lnTo>
                    <a:pt x="19" y="7665"/>
                  </a:lnTo>
                  <a:lnTo>
                    <a:pt x="0" y="7962"/>
                  </a:lnTo>
                  <a:lnTo>
                    <a:pt x="0" y="10078"/>
                  </a:lnTo>
                  <a:lnTo>
                    <a:pt x="19" y="10375"/>
                  </a:lnTo>
                  <a:lnTo>
                    <a:pt x="242" y="10895"/>
                  </a:lnTo>
                  <a:lnTo>
                    <a:pt x="650" y="11284"/>
                  </a:lnTo>
                  <a:lnTo>
                    <a:pt x="1169" y="11507"/>
                  </a:lnTo>
                  <a:lnTo>
                    <a:pt x="1448" y="11526"/>
                  </a:lnTo>
                  <a:lnTo>
                    <a:pt x="4399" y="11526"/>
                  </a:lnTo>
                  <a:lnTo>
                    <a:pt x="4399" y="23941"/>
                  </a:lnTo>
                  <a:lnTo>
                    <a:pt x="4399" y="24851"/>
                  </a:lnTo>
                  <a:lnTo>
                    <a:pt x="4566" y="26558"/>
                  </a:lnTo>
                  <a:lnTo>
                    <a:pt x="4733" y="27356"/>
                  </a:lnTo>
                  <a:lnTo>
                    <a:pt x="4918" y="28136"/>
                  </a:lnTo>
                  <a:lnTo>
                    <a:pt x="5549" y="29546"/>
                  </a:lnTo>
                  <a:lnTo>
                    <a:pt x="5976" y="30177"/>
                  </a:lnTo>
                  <a:lnTo>
                    <a:pt x="6217" y="30474"/>
                  </a:lnTo>
                  <a:lnTo>
                    <a:pt x="6756" y="31031"/>
                  </a:lnTo>
                  <a:lnTo>
                    <a:pt x="7368" y="31513"/>
                  </a:lnTo>
                  <a:lnTo>
                    <a:pt x="8073" y="31922"/>
                  </a:lnTo>
                  <a:lnTo>
                    <a:pt x="8463" y="32107"/>
                  </a:lnTo>
                  <a:lnTo>
                    <a:pt x="8853" y="32274"/>
                  </a:lnTo>
                  <a:lnTo>
                    <a:pt x="9762" y="32534"/>
                  </a:lnTo>
                  <a:lnTo>
                    <a:pt x="10783" y="32720"/>
                  </a:lnTo>
                  <a:lnTo>
                    <a:pt x="11915" y="32794"/>
                  </a:lnTo>
                  <a:lnTo>
                    <a:pt x="12527" y="32812"/>
                  </a:lnTo>
                  <a:lnTo>
                    <a:pt x="13047" y="32794"/>
                  </a:lnTo>
                  <a:lnTo>
                    <a:pt x="14142" y="32701"/>
                  </a:lnTo>
                  <a:lnTo>
                    <a:pt x="14717" y="32627"/>
                  </a:lnTo>
                  <a:lnTo>
                    <a:pt x="15274" y="32534"/>
                  </a:lnTo>
                  <a:lnTo>
                    <a:pt x="16276" y="32274"/>
                  </a:lnTo>
                  <a:lnTo>
                    <a:pt x="16703" y="32126"/>
                  </a:lnTo>
                  <a:lnTo>
                    <a:pt x="16499" y="27226"/>
                  </a:lnTo>
                  <a:lnTo>
                    <a:pt x="15887" y="27467"/>
                  </a:lnTo>
                  <a:lnTo>
                    <a:pt x="15181" y="27616"/>
                  </a:lnTo>
                  <a:lnTo>
                    <a:pt x="14476" y="27727"/>
                  </a:lnTo>
                  <a:lnTo>
                    <a:pt x="13827" y="27746"/>
                  </a:lnTo>
                  <a:lnTo>
                    <a:pt x="13326" y="27746"/>
                  </a:lnTo>
                  <a:lnTo>
                    <a:pt x="12472" y="27597"/>
                  </a:lnTo>
                  <a:lnTo>
                    <a:pt x="11804" y="27319"/>
                  </a:lnTo>
                  <a:lnTo>
                    <a:pt x="11303" y="26911"/>
                  </a:lnTo>
                  <a:lnTo>
                    <a:pt x="11154" y="26651"/>
                  </a:lnTo>
                  <a:lnTo>
                    <a:pt x="11006" y="26372"/>
                  </a:lnTo>
                  <a:lnTo>
                    <a:pt x="10783" y="25760"/>
                  </a:lnTo>
                  <a:lnTo>
                    <a:pt x="10560" y="24702"/>
                  </a:lnTo>
                  <a:lnTo>
                    <a:pt x="10542" y="23886"/>
                  </a:lnTo>
                  <a:lnTo>
                    <a:pt x="10542" y="11526"/>
                  </a:lnTo>
                  <a:lnTo>
                    <a:pt x="15367" y="11526"/>
                  </a:lnTo>
                  <a:lnTo>
                    <a:pt x="15645" y="11507"/>
                  </a:lnTo>
                  <a:lnTo>
                    <a:pt x="16165" y="11284"/>
                  </a:lnTo>
                  <a:lnTo>
                    <a:pt x="16573" y="10895"/>
                  </a:lnTo>
                  <a:lnTo>
                    <a:pt x="16796" y="10375"/>
                  </a:lnTo>
                  <a:lnTo>
                    <a:pt x="16815" y="10078"/>
                  </a:lnTo>
                  <a:lnTo>
                    <a:pt x="16815" y="7962"/>
                  </a:lnTo>
                  <a:lnTo>
                    <a:pt x="16796" y="7665"/>
                  </a:lnTo>
                  <a:lnTo>
                    <a:pt x="16573" y="7146"/>
                  </a:lnTo>
                  <a:lnTo>
                    <a:pt x="16165" y="6756"/>
                  </a:lnTo>
                  <a:lnTo>
                    <a:pt x="15645" y="6533"/>
                  </a:lnTo>
                  <a:lnTo>
                    <a:pt x="15367" y="6515"/>
                  </a:lnTo>
                  <a:lnTo>
                    <a:pt x="10542" y="6515"/>
                  </a:lnTo>
                  <a:lnTo>
                    <a:pt x="10542" y="1448"/>
                  </a:lnTo>
                  <a:lnTo>
                    <a:pt x="10523" y="1151"/>
                  </a:lnTo>
                  <a:lnTo>
                    <a:pt x="10300" y="632"/>
                  </a:lnTo>
                  <a:lnTo>
                    <a:pt x="9911" y="242"/>
                  </a:lnTo>
                  <a:lnTo>
                    <a:pt x="9391" y="19"/>
                  </a:lnTo>
                  <a:lnTo>
                    <a:pt x="9094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26;p2"/>
            <p:cNvSpPr/>
            <p:nvPr/>
          </p:nvSpPr>
          <p:spPr>
            <a:xfrm>
              <a:off x="4511750" y="2466575"/>
              <a:ext cx="655150" cy="841200"/>
            </a:xfrm>
            <a:custGeom>
              <a:avLst/>
              <a:gdLst/>
              <a:ahLst/>
              <a:cxnLst/>
              <a:rect l="l" t="t" r="r" b="b"/>
              <a:pathLst>
                <a:path w="26206" h="33648" extrusionOk="0">
                  <a:moveTo>
                    <a:pt x="1466" y="1"/>
                  </a:moveTo>
                  <a:lnTo>
                    <a:pt x="1169" y="19"/>
                  </a:lnTo>
                  <a:lnTo>
                    <a:pt x="650" y="242"/>
                  </a:lnTo>
                  <a:lnTo>
                    <a:pt x="241" y="632"/>
                  </a:lnTo>
                  <a:lnTo>
                    <a:pt x="19" y="1151"/>
                  </a:lnTo>
                  <a:lnTo>
                    <a:pt x="0" y="1448"/>
                  </a:lnTo>
                  <a:lnTo>
                    <a:pt x="0" y="32200"/>
                  </a:lnTo>
                  <a:lnTo>
                    <a:pt x="19" y="32497"/>
                  </a:lnTo>
                  <a:lnTo>
                    <a:pt x="241" y="33017"/>
                  </a:lnTo>
                  <a:lnTo>
                    <a:pt x="650" y="33406"/>
                  </a:lnTo>
                  <a:lnTo>
                    <a:pt x="1169" y="33629"/>
                  </a:lnTo>
                  <a:lnTo>
                    <a:pt x="1466" y="33648"/>
                  </a:lnTo>
                  <a:lnTo>
                    <a:pt x="4825" y="33648"/>
                  </a:lnTo>
                  <a:lnTo>
                    <a:pt x="5122" y="33629"/>
                  </a:lnTo>
                  <a:lnTo>
                    <a:pt x="5642" y="33406"/>
                  </a:lnTo>
                  <a:lnTo>
                    <a:pt x="6032" y="33017"/>
                  </a:lnTo>
                  <a:lnTo>
                    <a:pt x="6255" y="32497"/>
                  </a:lnTo>
                  <a:lnTo>
                    <a:pt x="6273" y="32200"/>
                  </a:lnTo>
                  <a:lnTo>
                    <a:pt x="6273" y="18133"/>
                  </a:lnTo>
                  <a:lnTo>
                    <a:pt x="19932" y="18133"/>
                  </a:lnTo>
                  <a:lnTo>
                    <a:pt x="19932" y="32200"/>
                  </a:lnTo>
                  <a:lnTo>
                    <a:pt x="19951" y="32497"/>
                  </a:lnTo>
                  <a:lnTo>
                    <a:pt x="20174" y="33017"/>
                  </a:lnTo>
                  <a:lnTo>
                    <a:pt x="20563" y="33406"/>
                  </a:lnTo>
                  <a:lnTo>
                    <a:pt x="21083" y="33629"/>
                  </a:lnTo>
                  <a:lnTo>
                    <a:pt x="21380" y="33648"/>
                  </a:lnTo>
                  <a:lnTo>
                    <a:pt x="24758" y="33648"/>
                  </a:lnTo>
                  <a:lnTo>
                    <a:pt x="25036" y="33629"/>
                  </a:lnTo>
                  <a:lnTo>
                    <a:pt x="25556" y="33406"/>
                  </a:lnTo>
                  <a:lnTo>
                    <a:pt x="25964" y="33017"/>
                  </a:lnTo>
                  <a:lnTo>
                    <a:pt x="26187" y="32497"/>
                  </a:lnTo>
                  <a:lnTo>
                    <a:pt x="26205" y="32200"/>
                  </a:lnTo>
                  <a:lnTo>
                    <a:pt x="26205" y="1448"/>
                  </a:lnTo>
                  <a:lnTo>
                    <a:pt x="26187" y="1151"/>
                  </a:lnTo>
                  <a:lnTo>
                    <a:pt x="25964" y="632"/>
                  </a:lnTo>
                  <a:lnTo>
                    <a:pt x="25556" y="242"/>
                  </a:lnTo>
                  <a:lnTo>
                    <a:pt x="25036" y="19"/>
                  </a:lnTo>
                  <a:lnTo>
                    <a:pt x="24758" y="1"/>
                  </a:lnTo>
                  <a:lnTo>
                    <a:pt x="21380" y="1"/>
                  </a:lnTo>
                  <a:lnTo>
                    <a:pt x="21083" y="19"/>
                  </a:lnTo>
                  <a:lnTo>
                    <a:pt x="20563" y="242"/>
                  </a:lnTo>
                  <a:lnTo>
                    <a:pt x="20174" y="632"/>
                  </a:lnTo>
                  <a:lnTo>
                    <a:pt x="19951" y="1151"/>
                  </a:lnTo>
                  <a:lnTo>
                    <a:pt x="19932" y="1448"/>
                  </a:lnTo>
                  <a:lnTo>
                    <a:pt x="19932" y="13641"/>
                  </a:lnTo>
                  <a:lnTo>
                    <a:pt x="6273" y="13641"/>
                  </a:lnTo>
                  <a:lnTo>
                    <a:pt x="6273" y="1448"/>
                  </a:lnTo>
                  <a:lnTo>
                    <a:pt x="6255" y="1151"/>
                  </a:lnTo>
                  <a:lnTo>
                    <a:pt x="6032" y="632"/>
                  </a:lnTo>
                  <a:lnTo>
                    <a:pt x="5642" y="242"/>
                  </a:lnTo>
                  <a:lnTo>
                    <a:pt x="5122" y="19"/>
                  </a:lnTo>
                  <a:lnTo>
                    <a:pt x="4825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27;p2"/>
            <p:cNvSpPr/>
            <p:nvPr/>
          </p:nvSpPr>
          <p:spPr>
            <a:xfrm>
              <a:off x="2392800" y="2663300"/>
              <a:ext cx="633800" cy="662575"/>
            </a:xfrm>
            <a:custGeom>
              <a:avLst/>
              <a:gdLst/>
              <a:ahLst/>
              <a:cxnLst/>
              <a:rect l="l" t="t" r="r" b="b"/>
              <a:pathLst>
                <a:path w="25352" h="26503" extrusionOk="0">
                  <a:moveTo>
                    <a:pt x="13195" y="4696"/>
                  </a:moveTo>
                  <a:lnTo>
                    <a:pt x="13938" y="4715"/>
                  </a:lnTo>
                  <a:lnTo>
                    <a:pt x="15255" y="4974"/>
                  </a:lnTo>
                  <a:lnTo>
                    <a:pt x="15831" y="5197"/>
                  </a:lnTo>
                  <a:lnTo>
                    <a:pt x="16369" y="5457"/>
                  </a:lnTo>
                  <a:lnTo>
                    <a:pt x="17297" y="6125"/>
                  </a:lnTo>
                  <a:lnTo>
                    <a:pt x="17687" y="6515"/>
                  </a:lnTo>
                  <a:lnTo>
                    <a:pt x="18039" y="6942"/>
                  </a:lnTo>
                  <a:lnTo>
                    <a:pt x="18559" y="7907"/>
                  </a:lnTo>
                  <a:lnTo>
                    <a:pt x="18745" y="8445"/>
                  </a:lnTo>
                  <a:lnTo>
                    <a:pt x="18912" y="9002"/>
                  </a:lnTo>
                  <a:lnTo>
                    <a:pt x="19079" y="10152"/>
                  </a:lnTo>
                  <a:lnTo>
                    <a:pt x="19097" y="10746"/>
                  </a:lnTo>
                  <a:lnTo>
                    <a:pt x="6254" y="10746"/>
                  </a:lnTo>
                  <a:lnTo>
                    <a:pt x="6329" y="10097"/>
                  </a:lnTo>
                  <a:lnTo>
                    <a:pt x="6663" y="8890"/>
                  </a:lnTo>
                  <a:lnTo>
                    <a:pt x="7201" y="7795"/>
                  </a:lnTo>
                  <a:lnTo>
                    <a:pt x="7962" y="6830"/>
                  </a:lnTo>
                  <a:lnTo>
                    <a:pt x="8426" y="6403"/>
                  </a:lnTo>
                  <a:lnTo>
                    <a:pt x="8927" y="5995"/>
                  </a:lnTo>
                  <a:lnTo>
                    <a:pt x="10003" y="5346"/>
                  </a:lnTo>
                  <a:lnTo>
                    <a:pt x="11210" y="4937"/>
                  </a:lnTo>
                  <a:lnTo>
                    <a:pt x="12509" y="4715"/>
                  </a:lnTo>
                  <a:lnTo>
                    <a:pt x="13195" y="4696"/>
                  </a:lnTo>
                  <a:close/>
                  <a:moveTo>
                    <a:pt x="13251" y="1"/>
                  </a:moveTo>
                  <a:lnTo>
                    <a:pt x="12546" y="19"/>
                  </a:lnTo>
                  <a:lnTo>
                    <a:pt x="11191" y="131"/>
                  </a:lnTo>
                  <a:lnTo>
                    <a:pt x="9873" y="372"/>
                  </a:lnTo>
                  <a:lnTo>
                    <a:pt x="8611" y="743"/>
                  </a:lnTo>
                  <a:lnTo>
                    <a:pt x="8018" y="966"/>
                  </a:lnTo>
                  <a:lnTo>
                    <a:pt x="7405" y="1226"/>
                  </a:lnTo>
                  <a:lnTo>
                    <a:pt x="6273" y="1801"/>
                  </a:lnTo>
                  <a:lnTo>
                    <a:pt x="5234" y="2469"/>
                  </a:lnTo>
                  <a:lnTo>
                    <a:pt x="4269" y="3248"/>
                  </a:lnTo>
                  <a:lnTo>
                    <a:pt x="3805" y="3675"/>
                  </a:lnTo>
                  <a:lnTo>
                    <a:pt x="3378" y="4121"/>
                  </a:lnTo>
                  <a:lnTo>
                    <a:pt x="2580" y="5086"/>
                  </a:lnTo>
                  <a:lnTo>
                    <a:pt x="1875" y="6144"/>
                  </a:lnTo>
                  <a:lnTo>
                    <a:pt x="1281" y="7294"/>
                  </a:lnTo>
                  <a:lnTo>
                    <a:pt x="1021" y="7907"/>
                  </a:lnTo>
                  <a:lnTo>
                    <a:pt x="780" y="8538"/>
                  </a:lnTo>
                  <a:lnTo>
                    <a:pt x="390" y="9837"/>
                  </a:lnTo>
                  <a:lnTo>
                    <a:pt x="130" y="11210"/>
                  </a:lnTo>
                  <a:lnTo>
                    <a:pt x="19" y="12658"/>
                  </a:lnTo>
                  <a:lnTo>
                    <a:pt x="0" y="13400"/>
                  </a:lnTo>
                  <a:lnTo>
                    <a:pt x="19" y="14161"/>
                  </a:lnTo>
                  <a:lnTo>
                    <a:pt x="130" y="15609"/>
                  </a:lnTo>
                  <a:lnTo>
                    <a:pt x="390" y="17000"/>
                  </a:lnTo>
                  <a:lnTo>
                    <a:pt x="780" y="18300"/>
                  </a:lnTo>
                  <a:lnTo>
                    <a:pt x="1021" y="18912"/>
                  </a:lnTo>
                  <a:lnTo>
                    <a:pt x="1281" y="19506"/>
                  </a:lnTo>
                  <a:lnTo>
                    <a:pt x="1893" y="20619"/>
                  </a:lnTo>
                  <a:lnTo>
                    <a:pt x="2598" y="21659"/>
                  </a:lnTo>
                  <a:lnTo>
                    <a:pt x="3396" y="22587"/>
                  </a:lnTo>
                  <a:lnTo>
                    <a:pt x="3842" y="23013"/>
                  </a:lnTo>
                  <a:lnTo>
                    <a:pt x="4287" y="23422"/>
                  </a:lnTo>
                  <a:lnTo>
                    <a:pt x="5271" y="24146"/>
                  </a:lnTo>
                  <a:lnTo>
                    <a:pt x="6329" y="24795"/>
                  </a:lnTo>
                  <a:lnTo>
                    <a:pt x="7479" y="25352"/>
                  </a:lnTo>
                  <a:lnTo>
                    <a:pt x="8092" y="25593"/>
                  </a:lnTo>
                  <a:lnTo>
                    <a:pt x="8704" y="25797"/>
                  </a:lnTo>
                  <a:lnTo>
                    <a:pt x="9985" y="26150"/>
                  </a:lnTo>
                  <a:lnTo>
                    <a:pt x="11340" y="26373"/>
                  </a:lnTo>
                  <a:lnTo>
                    <a:pt x="12731" y="26484"/>
                  </a:lnTo>
                  <a:lnTo>
                    <a:pt x="13455" y="26503"/>
                  </a:lnTo>
                  <a:lnTo>
                    <a:pt x="14216" y="26484"/>
                  </a:lnTo>
                  <a:lnTo>
                    <a:pt x="15682" y="26373"/>
                  </a:lnTo>
                  <a:lnTo>
                    <a:pt x="17074" y="26131"/>
                  </a:lnTo>
                  <a:lnTo>
                    <a:pt x="18373" y="25760"/>
                  </a:lnTo>
                  <a:lnTo>
                    <a:pt x="19598" y="25296"/>
                  </a:lnTo>
                  <a:lnTo>
                    <a:pt x="20730" y="24684"/>
                  </a:lnTo>
                  <a:lnTo>
                    <a:pt x="21788" y="23960"/>
                  </a:lnTo>
                  <a:lnTo>
                    <a:pt x="22772" y="23125"/>
                  </a:lnTo>
                  <a:lnTo>
                    <a:pt x="23236" y="22661"/>
                  </a:lnTo>
                  <a:lnTo>
                    <a:pt x="23421" y="22420"/>
                  </a:lnTo>
                  <a:lnTo>
                    <a:pt x="23607" y="21863"/>
                  </a:lnTo>
                  <a:lnTo>
                    <a:pt x="23551" y="21288"/>
                  </a:lnTo>
                  <a:lnTo>
                    <a:pt x="23273" y="20768"/>
                  </a:lnTo>
                  <a:lnTo>
                    <a:pt x="23050" y="20564"/>
                  </a:lnTo>
                  <a:lnTo>
                    <a:pt x="21139" y="19042"/>
                  </a:lnTo>
                  <a:lnTo>
                    <a:pt x="20916" y="18875"/>
                  </a:lnTo>
                  <a:lnTo>
                    <a:pt x="20415" y="18726"/>
                  </a:lnTo>
                  <a:lnTo>
                    <a:pt x="19914" y="18745"/>
                  </a:lnTo>
                  <a:lnTo>
                    <a:pt x="19431" y="18949"/>
                  </a:lnTo>
                  <a:lnTo>
                    <a:pt x="19227" y="19135"/>
                  </a:lnTo>
                  <a:lnTo>
                    <a:pt x="18819" y="19543"/>
                  </a:lnTo>
                  <a:lnTo>
                    <a:pt x="17891" y="20230"/>
                  </a:lnTo>
                  <a:lnTo>
                    <a:pt x="17371" y="20527"/>
                  </a:lnTo>
                  <a:lnTo>
                    <a:pt x="16963" y="20731"/>
                  </a:lnTo>
                  <a:lnTo>
                    <a:pt x="16053" y="21046"/>
                  </a:lnTo>
                  <a:lnTo>
                    <a:pt x="15070" y="21269"/>
                  </a:lnTo>
                  <a:lnTo>
                    <a:pt x="13993" y="21380"/>
                  </a:lnTo>
                  <a:lnTo>
                    <a:pt x="13400" y="21380"/>
                  </a:lnTo>
                  <a:lnTo>
                    <a:pt x="12731" y="21362"/>
                  </a:lnTo>
                  <a:lnTo>
                    <a:pt x="11432" y="21120"/>
                  </a:lnTo>
                  <a:lnTo>
                    <a:pt x="10801" y="20916"/>
                  </a:lnTo>
                  <a:lnTo>
                    <a:pt x="10189" y="20657"/>
                  </a:lnTo>
                  <a:lnTo>
                    <a:pt x="9057" y="20026"/>
                  </a:lnTo>
                  <a:lnTo>
                    <a:pt x="8556" y="19636"/>
                  </a:lnTo>
                  <a:lnTo>
                    <a:pt x="8073" y="19209"/>
                  </a:lnTo>
                  <a:lnTo>
                    <a:pt x="7275" y="18244"/>
                  </a:lnTo>
                  <a:lnTo>
                    <a:pt x="6960" y="17706"/>
                  </a:lnTo>
                  <a:lnTo>
                    <a:pt x="6681" y="17130"/>
                  </a:lnTo>
                  <a:lnTo>
                    <a:pt x="6329" y="15905"/>
                  </a:lnTo>
                  <a:lnTo>
                    <a:pt x="6254" y="15237"/>
                  </a:lnTo>
                  <a:lnTo>
                    <a:pt x="23904" y="15237"/>
                  </a:lnTo>
                  <a:lnTo>
                    <a:pt x="24201" y="15200"/>
                  </a:lnTo>
                  <a:lnTo>
                    <a:pt x="24702" y="14996"/>
                  </a:lnTo>
                  <a:lnTo>
                    <a:pt x="25110" y="14606"/>
                  </a:lnTo>
                  <a:lnTo>
                    <a:pt x="25333" y="14087"/>
                  </a:lnTo>
                  <a:lnTo>
                    <a:pt x="25351" y="13790"/>
                  </a:lnTo>
                  <a:lnTo>
                    <a:pt x="25351" y="13567"/>
                  </a:lnTo>
                  <a:lnTo>
                    <a:pt x="25333" y="12713"/>
                  </a:lnTo>
                  <a:lnTo>
                    <a:pt x="25222" y="11136"/>
                  </a:lnTo>
                  <a:lnTo>
                    <a:pt x="24999" y="9651"/>
                  </a:lnTo>
                  <a:lnTo>
                    <a:pt x="24665" y="8278"/>
                  </a:lnTo>
                  <a:lnTo>
                    <a:pt x="24442" y="7647"/>
                  </a:lnTo>
                  <a:lnTo>
                    <a:pt x="24201" y="7016"/>
                  </a:lnTo>
                  <a:lnTo>
                    <a:pt x="23663" y="5847"/>
                  </a:lnTo>
                  <a:lnTo>
                    <a:pt x="23032" y="4807"/>
                  </a:lnTo>
                  <a:lnTo>
                    <a:pt x="22308" y="3842"/>
                  </a:lnTo>
                  <a:lnTo>
                    <a:pt x="21900" y="3415"/>
                  </a:lnTo>
                  <a:lnTo>
                    <a:pt x="21918" y="3415"/>
                  </a:lnTo>
                  <a:lnTo>
                    <a:pt x="21491" y="3007"/>
                  </a:lnTo>
                  <a:lnTo>
                    <a:pt x="20619" y="2265"/>
                  </a:lnTo>
                  <a:lnTo>
                    <a:pt x="19654" y="1615"/>
                  </a:lnTo>
                  <a:lnTo>
                    <a:pt x="18633" y="1096"/>
                  </a:lnTo>
                  <a:lnTo>
                    <a:pt x="18076" y="873"/>
                  </a:lnTo>
                  <a:lnTo>
                    <a:pt x="17520" y="650"/>
                  </a:lnTo>
                  <a:lnTo>
                    <a:pt x="16369" y="335"/>
                  </a:lnTo>
                  <a:lnTo>
                    <a:pt x="15163" y="112"/>
                  </a:lnTo>
                  <a:lnTo>
                    <a:pt x="13901" y="19"/>
                  </a:lnTo>
                  <a:lnTo>
                    <a:pt x="13251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28;p2"/>
            <p:cNvSpPr/>
            <p:nvPr/>
          </p:nvSpPr>
          <p:spPr>
            <a:xfrm>
              <a:off x="237650" y="2349675"/>
              <a:ext cx="1219800" cy="1015625"/>
            </a:xfrm>
            <a:custGeom>
              <a:avLst/>
              <a:gdLst/>
              <a:ahLst/>
              <a:cxnLst/>
              <a:rect l="l" t="t" r="r" b="b"/>
              <a:pathLst>
                <a:path w="48792" h="40625" extrusionOk="0">
                  <a:moveTo>
                    <a:pt x="11915" y="0"/>
                  </a:moveTo>
                  <a:lnTo>
                    <a:pt x="10746" y="93"/>
                  </a:lnTo>
                  <a:lnTo>
                    <a:pt x="9614" y="297"/>
                  </a:lnTo>
                  <a:lnTo>
                    <a:pt x="8500" y="612"/>
                  </a:lnTo>
                  <a:lnTo>
                    <a:pt x="7443" y="1039"/>
                  </a:lnTo>
                  <a:lnTo>
                    <a:pt x="6422" y="1559"/>
                  </a:lnTo>
                  <a:lnTo>
                    <a:pt x="5457" y="2171"/>
                  </a:lnTo>
                  <a:lnTo>
                    <a:pt x="4547" y="2858"/>
                  </a:lnTo>
                  <a:lnTo>
                    <a:pt x="3712" y="3638"/>
                  </a:lnTo>
                  <a:lnTo>
                    <a:pt x="2933" y="4491"/>
                  </a:lnTo>
                  <a:lnTo>
                    <a:pt x="2246" y="5419"/>
                  </a:lnTo>
                  <a:lnTo>
                    <a:pt x="1634" y="6403"/>
                  </a:lnTo>
                  <a:lnTo>
                    <a:pt x="1114" y="7442"/>
                  </a:lnTo>
                  <a:lnTo>
                    <a:pt x="687" y="8556"/>
                  </a:lnTo>
                  <a:lnTo>
                    <a:pt x="372" y="9688"/>
                  </a:lnTo>
                  <a:lnTo>
                    <a:pt x="149" y="10875"/>
                  </a:lnTo>
                  <a:lnTo>
                    <a:pt x="75" y="11488"/>
                  </a:lnTo>
                  <a:lnTo>
                    <a:pt x="0" y="12583"/>
                  </a:lnTo>
                  <a:lnTo>
                    <a:pt x="130" y="14736"/>
                  </a:lnTo>
                  <a:lnTo>
                    <a:pt x="539" y="16870"/>
                  </a:lnTo>
                  <a:lnTo>
                    <a:pt x="1225" y="18967"/>
                  </a:lnTo>
                  <a:lnTo>
                    <a:pt x="2116" y="21008"/>
                  </a:lnTo>
                  <a:lnTo>
                    <a:pt x="3230" y="23013"/>
                  </a:lnTo>
                  <a:lnTo>
                    <a:pt x="4510" y="24961"/>
                  </a:lnTo>
                  <a:lnTo>
                    <a:pt x="5921" y="26836"/>
                  </a:lnTo>
                  <a:lnTo>
                    <a:pt x="7461" y="28636"/>
                  </a:lnTo>
                  <a:lnTo>
                    <a:pt x="9076" y="30362"/>
                  </a:lnTo>
                  <a:lnTo>
                    <a:pt x="11600" y="32793"/>
                  </a:lnTo>
                  <a:lnTo>
                    <a:pt x="14996" y="35688"/>
                  </a:lnTo>
                  <a:lnTo>
                    <a:pt x="18188" y="38120"/>
                  </a:lnTo>
                  <a:lnTo>
                    <a:pt x="19617" y="39140"/>
                  </a:lnTo>
                  <a:lnTo>
                    <a:pt x="20155" y="39493"/>
                  </a:lnTo>
                  <a:lnTo>
                    <a:pt x="21325" y="40050"/>
                  </a:lnTo>
                  <a:lnTo>
                    <a:pt x="22531" y="40439"/>
                  </a:lnTo>
                  <a:lnTo>
                    <a:pt x="23774" y="40625"/>
                  </a:lnTo>
                  <a:lnTo>
                    <a:pt x="25036" y="40625"/>
                  </a:lnTo>
                  <a:lnTo>
                    <a:pt x="26280" y="40439"/>
                  </a:lnTo>
                  <a:lnTo>
                    <a:pt x="27486" y="40050"/>
                  </a:lnTo>
                  <a:lnTo>
                    <a:pt x="28637" y="39493"/>
                  </a:lnTo>
                  <a:lnTo>
                    <a:pt x="29193" y="39140"/>
                  </a:lnTo>
                  <a:lnTo>
                    <a:pt x="30567" y="38157"/>
                  </a:lnTo>
                  <a:lnTo>
                    <a:pt x="33648" y="35818"/>
                  </a:lnTo>
                  <a:lnTo>
                    <a:pt x="36914" y="33053"/>
                  </a:lnTo>
                  <a:lnTo>
                    <a:pt x="39364" y="30733"/>
                  </a:lnTo>
                  <a:lnTo>
                    <a:pt x="40941" y="29081"/>
                  </a:lnTo>
                  <a:lnTo>
                    <a:pt x="42444" y="27356"/>
                  </a:lnTo>
                  <a:lnTo>
                    <a:pt x="43855" y="25555"/>
                  </a:lnTo>
                  <a:lnTo>
                    <a:pt x="45135" y="23699"/>
                  </a:lnTo>
                  <a:lnTo>
                    <a:pt x="46268" y="21788"/>
                  </a:lnTo>
                  <a:lnTo>
                    <a:pt x="47233" y="19839"/>
                  </a:lnTo>
                  <a:lnTo>
                    <a:pt x="47994" y="17835"/>
                  </a:lnTo>
                  <a:lnTo>
                    <a:pt x="48513" y="15793"/>
                  </a:lnTo>
                  <a:lnTo>
                    <a:pt x="48773" y="13715"/>
                  </a:lnTo>
                  <a:lnTo>
                    <a:pt x="48792" y="12676"/>
                  </a:lnTo>
                  <a:lnTo>
                    <a:pt x="48773" y="12082"/>
                  </a:lnTo>
                  <a:lnTo>
                    <a:pt x="48736" y="11488"/>
                  </a:lnTo>
                  <a:lnTo>
                    <a:pt x="48662" y="10820"/>
                  </a:lnTo>
                  <a:lnTo>
                    <a:pt x="48272" y="9224"/>
                  </a:lnTo>
                  <a:lnTo>
                    <a:pt x="47845" y="8017"/>
                  </a:lnTo>
                  <a:lnTo>
                    <a:pt x="47270" y="6830"/>
                  </a:lnTo>
                  <a:lnTo>
                    <a:pt x="46509" y="5753"/>
                  </a:lnTo>
                  <a:lnTo>
                    <a:pt x="45785" y="5104"/>
                  </a:lnTo>
                  <a:lnTo>
                    <a:pt x="45247" y="4788"/>
                  </a:lnTo>
                  <a:lnTo>
                    <a:pt x="44653" y="4547"/>
                  </a:lnTo>
                  <a:lnTo>
                    <a:pt x="44003" y="4417"/>
                  </a:lnTo>
                  <a:lnTo>
                    <a:pt x="43242" y="4417"/>
                  </a:lnTo>
                  <a:lnTo>
                    <a:pt x="42444" y="4565"/>
                  </a:lnTo>
                  <a:lnTo>
                    <a:pt x="41684" y="4881"/>
                  </a:lnTo>
                  <a:lnTo>
                    <a:pt x="40997" y="5345"/>
                  </a:lnTo>
                  <a:lnTo>
                    <a:pt x="40681" y="5642"/>
                  </a:lnTo>
                  <a:lnTo>
                    <a:pt x="27616" y="18707"/>
                  </a:lnTo>
                  <a:lnTo>
                    <a:pt x="27393" y="18930"/>
                  </a:lnTo>
                  <a:lnTo>
                    <a:pt x="27059" y="19450"/>
                  </a:lnTo>
                  <a:lnTo>
                    <a:pt x="26836" y="20006"/>
                  </a:lnTo>
                  <a:lnTo>
                    <a:pt x="26725" y="20582"/>
                  </a:lnTo>
                  <a:lnTo>
                    <a:pt x="26725" y="21175"/>
                  </a:lnTo>
                  <a:lnTo>
                    <a:pt x="26836" y="21751"/>
                  </a:lnTo>
                  <a:lnTo>
                    <a:pt x="27059" y="22308"/>
                  </a:lnTo>
                  <a:lnTo>
                    <a:pt x="27393" y="22809"/>
                  </a:lnTo>
                  <a:lnTo>
                    <a:pt x="27616" y="23050"/>
                  </a:lnTo>
                  <a:lnTo>
                    <a:pt x="27839" y="23254"/>
                  </a:lnTo>
                  <a:lnTo>
                    <a:pt x="28358" y="23607"/>
                  </a:lnTo>
                  <a:lnTo>
                    <a:pt x="28915" y="23829"/>
                  </a:lnTo>
                  <a:lnTo>
                    <a:pt x="29490" y="23941"/>
                  </a:lnTo>
                  <a:lnTo>
                    <a:pt x="30084" y="23941"/>
                  </a:lnTo>
                  <a:lnTo>
                    <a:pt x="30660" y="23829"/>
                  </a:lnTo>
                  <a:lnTo>
                    <a:pt x="31216" y="23607"/>
                  </a:lnTo>
                  <a:lnTo>
                    <a:pt x="31717" y="23254"/>
                  </a:lnTo>
                  <a:lnTo>
                    <a:pt x="31959" y="23050"/>
                  </a:lnTo>
                  <a:lnTo>
                    <a:pt x="43075" y="11933"/>
                  </a:lnTo>
                  <a:lnTo>
                    <a:pt x="43168" y="11840"/>
                  </a:lnTo>
                  <a:lnTo>
                    <a:pt x="43410" y="11748"/>
                  </a:lnTo>
                  <a:lnTo>
                    <a:pt x="43651" y="11748"/>
                  </a:lnTo>
                  <a:lnTo>
                    <a:pt x="43873" y="11840"/>
                  </a:lnTo>
                  <a:lnTo>
                    <a:pt x="43966" y="11933"/>
                  </a:lnTo>
                  <a:lnTo>
                    <a:pt x="44727" y="12694"/>
                  </a:lnTo>
                  <a:lnTo>
                    <a:pt x="44820" y="12787"/>
                  </a:lnTo>
                  <a:lnTo>
                    <a:pt x="44913" y="13010"/>
                  </a:lnTo>
                  <a:lnTo>
                    <a:pt x="44913" y="13269"/>
                  </a:lnTo>
                  <a:lnTo>
                    <a:pt x="44820" y="13492"/>
                  </a:lnTo>
                  <a:lnTo>
                    <a:pt x="44727" y="13585"/>
                  </a:lnTo>
                  <a:lnTo>
                    <a:pt x="33703" y="24627"/>
                  </a:lnTo>
                  <a:lnTo>
                    <a:pt x="33314" y="24999"/>
                  </a:lnTo>
                  <a:lnTo>
                    <a:pt x="32441" y="25592"/>
                  </a:lnTo>
                  <a:lnTo>
                    <a:pt x="31476" y="26019"/>
                  </a:lnTo>
                  <a:lnTo>
                    <a:pt x="30455" y="26261"/>
                  </a:lnTo>
                  <a:lnTo>
                    <a:pt x="29936" y="26298"/>
                  </a:lnTo>
                  <a:lnTo>
                    <a:pt x="29360" y="26298"/>
                  </a:lnTo>
                  <a:lnTo>
                    <a:pt x="28247" y="26094"/>
                  </a:lnTo>
                  <a:lnTo>
                    <a:pt x="27208" y="25667"/>
                  </a:lnTo>
                  <a:lnTo>
                    <a:pt x="26280" y="25017"/>
                  </a:lnTo>
                  <a:lnTo>
                    <a:pt x="25871" y="24627"/>
                  </a:lnTo>
                  <a:lnTo>
                    <a:pt x="25500" y="24201"/>
                  </a:lnTo>
                  <a:lnTo>
                    <a:pt x="24925" y="23291"/>
                  </a:lnTo>
                  <a:lnTo>
                    <a:pt x="24572" y="22326"/>
                  </a:lnTo>
                  <a:lnTo>
                    <a:pt x="24405" y="21287"/>
                  </a:lnTo>
                  <a:lnTo>
                    <a:pt x="24424" y="20248"/>
                  </a:lnTo>
                  <a:lnTo>
                    <a:pt x="24647" y="19227"/>
                  </a:lnTo>
                  <a:lnTo>
                    <a:pt x="25055" y="18262"/>
                  </a:lnTo>
                  <a:lnTo>
                    <a:pt x="25649" y="17352"/>
                  </a:lnTo>
                  <a:lnTo>
                    <a:pt x="26038" y="16963"/>
                  </a:lnTo>
                  <a:lnTo>
                    <a:pt x="33351" y="9651"/>
                  </a:lnTo>
                  <a:lnTo>
                    <a:pt x="39011" y="3972"/>
                  </a:lnTo>
                  <a:lnTo>
                    <a:pt x="39456" y="3563"/>
                  </a:lnTo>
                  <a:lnTo>
                    <a:pt x="40422" y="2895"/>
                  </a:lnTo>
                  <a:lnTo>
                    <a:pt x="41479" y="2413"/>
                  </a:lnTo>
                  <a:lnTo>
                    <a:pt x="42611" y="2134"/>
                  </a:lnTo>
                  <a:lnTo>
                    <a:pt x="43205" y="2079"/>
                  </a:lnTo>
                  <a:lnTo>
                    <a:pt x="42444" y="1577"/>
                  </a:lnTo>
                  <a:lnTo>
                    <a:pt x="40811" y="798"/>
                  </a:lnTo>
                  <a:lnTo>
                    <a:pt x="39067" y="260"/>
                  </a:lnTo>
                  <a:lnTo>
                    <a:pt x="37229" y="0"/>
                  </a:lnTo>
                  <a:lnTo>
                    <a:pt x="36283" y="0"/>
                  </a:lnTo>
                  <a:lnTo>
                    <a:pt x="35299" y="56"/>
                  </a:lnTo>
                  <a:lnTo>
                    <a:pt x="33425" y="371"/>
                  </a:lnTo>
                  <a:lnTo>
                    <a:pt x="31643" y="965"/>
                  </a:lnTo>
                  <a:lnTo>
                    <a:pt x="29991" y="1819"/>
                  </a:lnTo>
                  <a:lnTo>
                    <a:pt x="28507" y="2877"/>
                  </a:lnTo>
                  <a:lnTo>
                    <a:pt x="27171" y="4157"/>
                  </a:lnTo>
                  <a:lnTo>
                    <a:pt x="26057" y="5623"/>
                  </a:lnTo>
                  <a:lnTo>
                    <a:pt x="25129" y="7256"/>
                  </a:lnTo>
                  <a:lnTo>
                    <a:pt x="24776" y="8147"/>
                  </a:lnTo>
                  <a:lnTo>
                    <a:pt x="24721" y="8259"/>
                  </a:lnTo>
                  <a:lnTo>
                    <a:pt x="24517" y="8389"/>
                  </a:lnTo>
                  <a:lnTo>
                    <a:pt x="24294" y="8389"/>
                  </a:lnTo>
                  <a:lnTo>
                    <a:pt x="24090" y="8259"/>
                  </a:lnTo>
                  <a:lnTo>
                    <a:pt x="24034" y="8147"/>
                  </a:lnTo>
                  <a:lnTo>
                    <a:pt x="23663" y="7256"/>
                  </a:lnTo>
                  <a:lnTo>
                    <a:pt x="22754" y="5623"/>
                  </a:lnTo>
                  <a:lnTo>
                    <a:pt x="21640" y="4157"/>
                  </a:lnTo>
                  <a:lnTo>
                    <a:pt x="20304" y="2877"/>
                  </a:lnTo>
                  <a:lnTo>
                    <a:pt x="18819" y="1819"/>
                  </a:lnTo>
                  <a:lnTo>
                    <a:pt x="17167" y="965"/>
                  </a:lnTo>
                  <a:lnTo>
                    <a:pt x="15386" y="371"/>
                  </a:lnTo>
                  <a:lnTo>
                    <a:pt x="13493" y="56"/>
                  </a:lnTo>
                  <a:lnTo>
                    <a:pt x="12528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9" name="Google Shape;29;p2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rtl="0">
              <a:buNone/>
              <a:defRPr sz="1700">
                <a:solidFill>
                  <a:schemeClr val="lt2"/>
                </a:solidFill>
              </a:defRPr>
            </a:lvl1pPr>
            <a:lvl2pPr lvl="1" rtl="0">
              <a:buNone/>
              <a:defRPr sz="1700">
                <a:solidFill>
                  <a:schemeClr val="lt2"/>
                </a:solidFill>
              </a:defRPr>
            </a:lvl2pPr>
            <a:lvl3pPr lvl="2" rtl="0">
              <a:buNone/>
              <a:defRPr sz="1700">
                <a:solidFill>
                  <a:schemeClr val="lt2"/>
                </a:solidFill>
              </a:defRPr>
            </a:lvl3pPr>
            <a:lvl4pPr lvl="3" rtl="0">
              <a:buNone/>
              <a:defRPr sz="1700">
                <a:solidFill>
                  <a:schemeClr val="lt2"/>
                </a:solidFill>
              </a:defRPr>
            </a:lvl4pPr>
            <a:lvl5pPr lvl="4" rtl="0">
              <a:buNone/>
              <a:defRPr sz="1700">
                <a:solidFill>
                  <a:schemeClr val="lt2"/>
                </a:solidFill>
              </a:defRPr>
            </a:lvl5pPr>
            <a:lvl6pPr lvl="5" rtl="0">
              <a:buNone/>
              <a:defRPr sz="1700">
                <a:solidFill>
                  <a:schemeClr val="lt2"/>
                </a:solidFill>
              </a:defRPr>
            </a:lvl6pPr>
            <a:lvl7pPr lvl="6" rtl="0">
              <a:buNone/>
              <a:defRPr sz="1700">
                <a:solidFill>
                  <a:schemeClr val="lt2"/>
                </a:solidFill>
              </a:defRPr>
            </a:lvl7pPr>
            <a:lvl8pPr lvl="7" rtl="0">
              <a:buNone/>
              <a:defRPr sz="1700">
                <a:solidFill>
                  <a:schemeClr val="lt2"/>
                </a:solidFill>
              </a:defRPr>
            </a:lvl8pPr>
            <a:lvl9pPr lvl="8" rtl="0">
              <a:buNone/>
              <a:defRPr sz="1700">
                <a:solidFill>
                  <a:schemeClr val="lt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8080419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alf p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A90747-B001-7899-F0B3-FF82754AC8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929" y="649224"/>
            <a:ext cx="4390263" cy="896112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A6D75969-0462-BA5F-F636-5CA4F0A7AC9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57929" y="1578732"/>
            <a:ext cx="4390263" cy="356308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1E48CAEE-AE8D-6267-023D-3AB60A9103AB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557929" y="2304288"/>
            <a:ext cx="4390263" cy="3154680"/>
          </a:xfrm>
        </p:spPr>
        <p:txBody>
          <a:bodyPr/>
          <a:lstStyle>
            <a:lvl1pPr>
              <a:defRPr sz="1500" cap="none" baseline="0">
                <a:solidFill>
                  <a:schemeClr val="tx2"/>
                </a:solidFill>
              </a:defRPr>
            </a:lvl1pPr>
            <a:lvl2pPr marL="171450" indent="-171450">
              <a:defRPr sz="1500">
                <a:solidFill>
                  <a:schemeClr val="tx2"/>
                </a:solidFill>
              </a:defRPr>
            </a:lvl2pPr>
            <a:lvl3pPr marL="347663" indent="-176213">
              <a:spcBef>
                <a:spcPts val="600"/>
              </a:spcBef>
              <a:buFont typeface="Arial" panose="020B0604020202020204" pitchFamily="34" charset="0"/>
              <a:buChar char="–"/>
              <a:defRPr sz="1500">
                <a:solidFill>
                  <a:schemeClr val="tx2"/>
                </a:solidFill>
              </a:defRPr>
            </a:lvl3pPr>
            <a:lvl4pPr marL="509588" indent="-161925">
              <a:spcBef>
                <a:spcPts val="600"/>
              </a:spcBef>
              <a:defRPr sz="1500">
                <a:solidFill>
                  <a:schemeClr val="tx2"/>
                </a:solidFill>
              </a:defRPr>
            </a:lvl4pPr>
            <a:lvl5pPr marL="682625" indent="-173038">
              <a:spcBef>
                <a:spcPts val="600"/>
              </a:spcBef>
              <a:defRPr sz="1500">
                <a:solidFill>
                  <a:schemeClr val="tx2"/>
                </a:solidFill>
              </a:defRPr>
            </a:lvl5pPr>
            <a:lvl6pPr marL="857250" indent="-174625">
              <a:defRPr sz="1500">
                <a:solidFill>
                  <a:schemeClr val="tx2"/>
                </a:solidFill>
              </a:defRPr>
            </a:lvl6pPr>
            <a:lvl7pPr marL="1030288" indent="-173038">
              <a:spcBef>
                <a:spcPts val="600"/>
              </a:spcBef>
              <a:buFont typeface="Arial" panose="020B0604020202020204" pitchFamily="34" charset="0"/>
              <a:buChar char="–"/>
              <a:defRPr sz="1500" baseline="0">
                <a:solidFill>
                  <a:schemeClr val="tx2"/>
                </a:solidFill>
              </a:defRPr>
            </a:lvl7pPr>
            <a:lvl8pPr marL="1203325" indent="-174625">
              <a:spcBef>
                <a:spcPts val="600"/>
              </a:spcBef>
              <a:buFont typeface="Arial" panose="020B0604020202020204" pitchFamily="34" charset="0"/>
              <a:buChar char="•"/>
              <a:defRPr sz="1500">
                <a:solidFill>
                  <a:schemeClr val="tx2"/>
                </a:solidFill>
              </a:defRPr>
            </a:lvl8pPr>
            <a:lvl9pPr marL="1377950" indent="-174625">
              <a:spcBef>
                <a:spcPts val="600"/>
              </a:spcBef>
              <a:buFont typeface="Arial" panose="020B0604020202020204" pitchFamily="34" charset="0"/>
              <a:buChar char="–"/>
              <a:defRPr sz="1500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97CDBA1-DFDA-40D9-6998-16283F1536B9}"/>
              </a:ext>
            </a:extLst>
          </p:cNvPr>
          <p:cNvSpPr/>
          <p:nvPr userDrawn="1"/>
        </p:nvSpPr>
        <p:spPr bwMode="gray">
          <a:xfrm>
            <a:off x="6091363" y="0"/>
            <a:ext cx="6100637" cy="6858000"/>
          </a:xfrm>
          <a:prstGeom prst="rect">
            <a:avLst/>
          </a:prstGeom>
          <a:solidFill>
            <a:srgbClr val="E9E9E9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 b="1">
              <a:solidFill>
                <a:schemeClr val="bg1"/>
              </a:solidFill>
            </a:endParaRPr>
          </a:p>
        </p:txBody>
      </p:sp>
      <p:pic>
        <p:nvPicPr>
          <p:cNvPr id="13" name="Graphic 12" descr="CVS Caremark logo.">
            <a:extLst>
              <a:ext uri="{FF2B5EF4-FFF2-40B4-BE49-F238E27FC236}">
                <a16:creationId xmlns:a16="http://schemas.microsoft.com/office/drawing/2014/main" id="{AD210D8D-CDBB-0BE7-99BC-CD331C695E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48331" y="6373368"/>
            <a:ext cx="1382548" cy="156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68197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FA8520E-8714-E76D-5AAC-6B349C308186}"/>
              </a:ext>
            </a:extLst>
          </p:cNvPr>
          <p:cNvSpPr/>
          <p:nvPr userDrawn="1"/>
        </p:nvSpPr>
        <p:spPr>
          <a:xfrm>
            <a:off x="1" y="1"/>
            <a:ext cx="12191999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28D465B-A861-C5CD-0A13-967A98C080EB}"/>
              </a:ext>
            </a:extLst>
          </p:cNvPr>
          <p:cNvSpPr/>
          <p:nvPr userDrawn="1"/>
        </p:nvSpPr>
        <p:spPr>
          <a:xfrm>
            <a:off x="1" y="0"/>
            <a:ext cx="8025319" cy="6858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9F251ADF-5B9A-C798-906B-13FB5B8F43C3}"/>
              </a:ext>
            </a:extLst>
          </p:cNvPr>
          <p:cNvPicPr/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2657508">
            <a:off x="10678627" y="-932212"/>
            <a:ext cx="2235025" cy="3627127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5C03C6FD-FD4D-26C2-50A0-A16F47680FC6}"/>
              </a:ext>
            </a:extLst>
          </p:cNvPr>
          <p:cNvPicPr/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2380258">
            <a:off x="9949946" y="2418017"/>
            <a:ext cx="3010952" cy="4886345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60FF6B7F-C5C0-685F-194B-C8DA03FCC8DE}"/>
              </a:ext>
            </a:extLst>
          </p:cNvPr>
          <p:cNvPicPr/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 rot="19505016">
            <a:off x="7155895" y="-1132756"/>
            <a:ext cx="3320331" cy="5388423"/>
          </a:xfrm>
          <a:custGeom>
            <a:avLst/>
            <a:gdLst>
              <a:gd name="connsiteX0" fmla="*/ 3320331 w 3320331"/>
              <a:gd name="connsiteY0" fmla="*/ 0 h 5388423"/>
              <a:gd name="connsiteX1" fmla="*/ 3320331 w 3320331"/>
              <a:gd name="connsiteY1" fmla="*/ 5388423 h 5388423"/>
              <a:gd name="connsiteX2" fmla="*/ 0 w 3320331"/>
              <a:gd name="connsiteY2" fmla="*/ 5388423 h 5388423"/>
              <a:gd name="connsiteX3" fmla="*/ 0 w 3320331"/>
              <a:gd name="connsiteY3" fmla="*/ 3691056 h 5388423"/>
              <a:gd name="connsiteX4" fmla="*/ 1905514 w 3320331"/>
              <a:gd name="connsiteY4" fmla="*/ 961232 h 5388423"/>
              <a:gd name="connsiteX5" fmla="*/ 528461 w 3320331"/>
              <a:gd name="connsiteY5" fmla="*/ 0 h 5388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0331" h="5388423">
                <a:moveTo>
                  <a:pt x="3320331" y="0"/>
                </a:moveTo>
                <a:lnTo>
                  <a:pt x="3320331" y="5388423"/>
                </a:lnTo>
                <a:lnTo>
                  <a:pt x="0" y="5388423"/>
                </a:lnTo>
                <a:lnTo>
                  <a:pt x="0" y="3691056"/>
                </a:lnTo>
                <a:lnTo>
                  <a:pt x="1905514" y="961232"/>
                </a:lnTo>
                <a:lnTo>
                  <a:pt x="528461" y="0"/>
                </a:lnTo>
                <a:close/>
              </a:path>
            </a:pathLst>
          </a:cu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B983E722-27D8-1580-A22A-094213227519}"/>
              </a:ext>
            </a:extLst>
          </p:cNvPr>
          <p:cNvPicPr/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b="9143"/>
          <a:stretch>
            <a:fillRect/>
          </a:stretch>
        </p:blipFill>
        <p:spPr>
          <a:xfrm rot="9000000">
            <a:off x="6479403" y="3151000"/>
            <a:ext cx="2739080" cy="4038721"/>
          </a:xfrm>
          <a:custGeom>
            <a:avLst/>
            <a:gdLst>
              <a:gd name="connsiteX0" fmla="*/ 0 w 2739080"/>
              <a:gd name="connsiteY0" fmla="*/ 4038721 h 4038721"/>
              <a:gd name="connsiteX1" fmla="*/ 0 w 2739080"/>
              <a:gd name="connsiteY1" fmla="*/ 0 h 4038721"/>
              <a:gd name="connsiteX2" fmla="*/ 2739080 w 2739080"/>
              <a:gd name="connsiteY2" fmla="*/ 0 h 4038721"/>
              <a:gd name="connsiteX3" fmla="*/ 2739080 w 2739080"/>
              <a:gd name="connsiteY3" fmla="*/ 861345 h 4038721"/>
              <a:gd name="connsiteX4" fmla="*/ 2060614 w 2739080"/>
              <a:gd name="connsiteY4" fmla="*/ 469632 h 4038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39080" h="4038721">
                <a:moveTo>
                  <a:pt x="0" y="4038721"/>
                </a:moveTo>
                <a:lnTo>
                  <a:pt x="0" y="0"/>
                </a:lnTo>
                <a:lnTo>
                  <a:pt x="2739080" y="0"/>
                </a:lnTo>
                <a:lnTo>
                  <a:pt x="2739080" y="861345"/>
                </a:lnTo>
                <a:lnTo>
                  <a:pt x="2060614" y="469632"/>
                </a:lnTo>
                <a:close/>
              </a:path>
            </a:pathLst>
          </a:cu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61810B89-C72F-EABA-BD85-C67AF364450C}"/>
              </a:ext>
            </a:extLst>
          </p:cNvPr>
          <p:cNvSpPr/>
          <p:nvPr userDrawn="1"/>
        </p:nvSpPr>
        <p:spPr>
          <a:xfrm>
            <a:off x="8013033" y="0"/>
            <a:ext cx="9625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5CFA075-E129-15FB-C58E-E1B15000CCD6}"/>
              </a:ext>
            </a:extLst>
          </p:cNvPr>
          <p:cNvSpPr txBox="1"/>
          <p:nvPr userDrawn="1"/>
        </p:nvSpPr>
        <p:spPr>
          <a:xfrm>
            <a:off x="11323163" y="6475512"/>
            <a:ext cx="518474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fld id="{5A1379A1-B780-4982-ABC7-5FF1142B21A2}" type="slidenum">
              <a:rPr lang="en-US" sz="1000" smtClean="0">
                <a:solidFill>
                  <a:schemeClr val="bg1"/>
                </a:solidFill>
              </a:rPr>
              <a:pPr algn="r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D45E2D-27A8-82D8-11DE-B2429D8667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9028" y="228600"/>
            <a:ext cx="6840552" cy="68326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48CE5C-339E-CADE-446F-4596B9E09E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9028" y="1561675"/>
            <a:ext cx="61346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F627E118-0B2C-B446-878B-1127FC74AA7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850064" y="1560469"/>
            <a:ext cx="4732337" cy="4352544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/>
          <a:p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E9942A17-703F-8575-2592-65E8A0BB4C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" y="6063523"/>
            <a:ext cx="1485900" cy="648035"/>
          </a:xfrm>
          <a:prstGeom prst="rect">
            <a:avLst/>
          </a:prstGeom>
          <a:effectLst/>
        </p:spPr>
      </p:pic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DF4DC93-8338-5983-5B5C-ACBA35408FD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611984" y="6186488"/>
            <a:ext cx="6221690" cy="442912"/>
          </a:xfrm>
        </p:spPr>
        <p:txBody>
          <a:bodyPr anchor="b">
            <a:noAutofit/>
          </a:bodyPr>
          <a:lstStyle>
            <a:lvl1pPr>
              <a:defRPr sz="700">
                <a:latin typeface="CVS Health Sans Cd" panose="020B0504020202020204" pitchFamily="34" charset="0"/>
                <a:ea typeface="Roboto Light" panose="02000000000000000000" pitchFamily="2" charset="0"/>
              </a:defRPr>
            </a:lvl1pPr>
            <a:lvl2pPr>
              <a:defRPr sz="700"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>
              <a:defRPr sz="700"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>
              <a:defRPr sz="70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>
              <a:defRPr sz="700"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32046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Page B2B">
  <p:cSld name="Title Page B2B">
    <p:bg>
      <p:bgPr>
        <a:solidFill>
          <a:schemeClr val="lt1"/>
        </a:solidFill>
        <a:effectLst/>
      </p:bgPr>
    </p:bg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3"/>
          <p:cNvSpPr/>
          <p:nvPr/>
        </p:nvSpPr>
        <p:spPr>
          <a:xfrm>
            <a:off x="9742033" y="0"/>
            <a:ext cx="2467500" cy="10329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" name="Google Shape;32;p3"/>
          <p:cNvSpPr/>
          <p:nvPr/>
        </p:nvSpPr>
        <p:spPr>
          <a:xfrm rot="10800000">
            <a:off x="513800" y="67"/>
            <a:ext cx="11147700" cy="10329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" name="Google Shape;33;p3"/>
          <p:cNvSpPr txBox="1">
            <a:spLocks noGrp="1"/>
          </p:cNvSpPr>
          <p:nvPr>
            <p:ph type="ctrTitle"/>
          </p:nvPr>
        </p:nvSpPr>
        <p:spPr>
          <a:xfrm>
            <a:off x="1219200" y="2056833"/>
            <a:ext cx="4267200" cy="1725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300"/>
              <a:buNone/>
              <a:defRPr sz="4300" b="1">
                <a:solidFill>
                  <a:schemeClr val="dk2"/>
                </a:solidFill>
              </a:defRPr>
            </a:lvl1pPr>
            <a:lvl2pPr lvl="1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5900"/>
              <a:buNone/>
              <a:defRPr sz="5900">
                <a:solidFill>
                  <a:schemeClr val="accent6"/>
                </a:solidFill>
              </a:defRPr>
            </a:lvl2pPr>
            <a:lvl3pPr lvl="2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5900"/>
              <a:buNone/>
              <a:defRPr sz="5900">
                <a:solidFill>
                  <a:schemeClr val="accent6"/>
                </a:solidFill>
              </a:defRPr>
            </a:lvl3pPr>
            <a:lvl4pPr lvl="3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5900"/>
              <a:buNone/>
              <a:defRPr sz="5900">
                <a:solidFill>
                  <a:schemeClr val="accent6"/>
                </a:solidFill>
              </a:defRPr>
            </a:lvl4pPr>
            <a:lvl5pPr lvl="4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5900"/>
              <a:buNone/>
              <a:defRPr sz="5900">
                <a:solidFill>
                  <a:schemeClr val="accent6"/>
                </a:solidFill>
              </a:defRPr>
            </a:lvl5pPr>
            <a:lvl6pPr lvl="5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5900"/>
              <a:buNone/>
              <a:defRPr sz="5900">
                <a:solidFill>
                  <a:schemeClr val="accent6"/>
                </a:solidFill>
              </a:defRPr>
            </a:lvl6pPr>
            <a:lvl7pPr lvl="6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5900"/>
              <a:buNone/>
              <a:defRPr sz="5900">
                <a:solidFill>
                  <a:schemeClr val="accent6"/>
                </a:solidFill>
              </a:defRPr>
            </a:lvl7pPr>
            <a:lvl8pPr lvl="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5900"/>
              <a:buNone/>
              <a:defRPr sz="5900">
                <a:solidFill>
                  <a:schemeClr val="accent6"/>
                </a:solidFill>
              </a:defRPr>
            </a:lvl8pPr>
            <a:lvl9pPr lvl="8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5900"/>
              <a:buNone/>
              <a:defRPr sz="5900">
                <a:solidFill>
                  <a:schemeClr val="accent6"/>
                </a:solidFill>
              </a:defRPr>
            </a:lvl9pPr>
          </a:lstStyle>
          <a:p>
            <a:endParaRPr/>
          </a:p>
        </p:txBody>
      </p:sp>
      <p:sp>
        <p:nvSpPr>
          <p:cNvPr id="34" name="Google Shape;34;p3"/>
          <p:cNvSpPr txBox="1">
            <a:spLocks noGrp="1"/>
          </p:cNvSpPr>
          <p:nvPr>
            <p:ph type="subTitle" idx="1"/>
          </p:nvPr>
        </p:nvSpPr>
        <p:spPr>
          <a:xfrm>
            <a:off x="1211300" y="3964433"/>
            <a:ext cx="3665700" cy="1519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5" name="Google Shape;35;p3"/>
          <p:cNvSpPr txBox="1">
            <a:spLocks noGrp="1"/>
          </p:cNvSpPr>
          <p:nvPr>
            <p:ph type="body" idx="2"/>
          </p:nvPr>
        </p:nvSpPr>
        <p:spPr>
          <a:xfrm>
            <a:off x="1219200" y="6029833"/>
            <a:ext cx="3491700" cy="408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11150" rtl="0">
              <a:spcBef>
                <a:spcPts val="0"/>
              </a:spcBef>
              <a:spcAft>
                <a:spcPts val="0"/>
              </a:spcAft>
              <a:buSzPts val="1300"/>
              <a:buChar char="•"/>
              <a:defRPr sz="1300"/>
            </a:lvl1pPr>
            <a:lvl2pPr marL="914400" lvl="1" indent="-311150" rtl="0">
              <a:spcBef>
                <a:spcPts val="1300"/>
              </a:spcBef>
              <a:spcAft>
                <a:spcPts val="0"/>
              </a:spcAft>
              <a:buSzPts val="1300"/>
              <a:buChar char="○"/>
              <a:defRPr sz="1300"/>
            </a:lvl2pPr>
            <a:lvl3pPr marL="1371600" lvl="2" indent="-311150" rtl="0">
              <a:spcBef>
                <a:spcPts val="1300"/>
              </a:spcBef>
              <a:spcAft>
                <a:spcPts val="0"/>
              </a:spcAft>
              <a:buSzPts val="1300"/>
              <a:buChar char="•"/>
              <a:defRPr sz="1300"/>
            </a:lvl3pPr>
            <a:lvl4pPr marL="1828800" lvl="3" indent="-311150" rtl="0">
              <a:spcBef>
                <a:spcPts val="1300"/>
              </a:spcBef>
              <a:spcAft>
                <a:spcPts val="0"/>
              </a:spcAft>
              <a:buSzPts val="1300"/>
              <a:buChar char="◦"/>
              <a:defRPr sz="1300"/>
            </a:lvl4pPr>
            <a:lvl5pPr marL="2286000" lvl="4" indent="-311150" rtl="0">
              <a:spcBef>
                <a:spcPts val="1300"/>
              </a:spcBef>
              <a:spcAft>
                <a:spcPts val="0"/>
              </a:spcAft>
              <a:buSzPts val="1300"/>
              <a:buChar char="•"/>
              <a:defRPr sz="1300"/>
            </a:lvl5pPr>
            <a:lvl6pPr marL="2743200" lvl="5" indent="-298450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/>
            </a:lvl6pPr>
            <a:lvl7pPr marL="3200400" lvl="6" indent="-311150" rtl="0">
              <a:spcBef>
                <a:spcPts val="1300"/>
              </a:spcBef>
              <a:spcAft>
                <a:spcPts val="0"/>
              </a:spcAft>
              <a:buSzPts val="1300"/>
              <a:buChar char="•"/>
              <a:defRPr sz="1300"/>
            </a:lvl7pPr>
            <a:lvl8pPr marL="3657600" lvl="7" indent="-311150" rtl="0">
              <a:spcBef>
                <a:spcPts val="1300"/>
              </a:spcBef>
              <a:spcAft>
                <a:spcPts val="0"/>
              </a:spcAft>
              <a:buSzPts val="1300"/>
              <a:buChar char="○"/>
              <a:defRPr sz="1300"/>
            </a:lvl8pPr>
            <a:lvl9pPr marL="4114800" lvl="8" indent="-311150" rtl="0">
              <a:spcBef>
                <a:spcPts val="1300"/>
              </a:spcBef>
              <a:spcAft>
                <a:spcPts val="1300"/>
              </a:spcAft>
              <a:buSzPts val="1300"/>
              <a:buChar char="•"/>
              <a:defRPr sz="1300"/>
            </a:lvl9pPr>
          </a:lstStyle>
          <a:p>
            <a:endParaRPr/>
          </a:p>
        </p:txBody>
      </p:sp>
      <p:grpSp>
        <p:nvGrpSpPr>
          <p:cNvPr id="36" name="Google Shape;36;p3"/>
          <p:cNvGrpSpPr/>
          <p:nvPr/>
        </p:nvGrpSpPr>
        <p:grpSpPr>
          <a:xfrm>
            <a:off x="1211296" y="342443"/>
            <a:ext cx="2449918" cy="348461"/>
            <a:chOff x="237650" y="2349675"/>
            <a:chExt cx="7144700" cy="1015625"/>
          </a:xfrm>
        </p:grpSpPr>
        <p:sp>
          <p:nvSpPr>
            <p:cNvPr id="37" name="Google Shape;37;p3"/>
            <p:cNvSpPr/>
            <p:nvPr/>
          </p:nvSpPr>
          <p:spPr>
            <a:xfrm>
              <a:off x="3096625" y="2466575"/>
              <a:ext cx="156400" cy="841200"/>
            </a:xfrm>
            <a:custGeom>
              <a:avLst/>
              <a:gdLst/>
              <a:ahLst/>
              <a:cxnLst/>
              <a:rect l="l" t="t" r="r" b="b"/>
              <a:pathLst>
                <a:path w="6256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2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1" y="1448"/>
                  </a:lnTo>
                  <a:lnTo>
                    <a:pt x="1" y="32182"/>
                  </a:lnTo>
                  <a:lnTo>
                    <a:pt x="19" y="32479"/>
                  </a:lnTo>
                  <a:lnTo>
                    <a:pt x="242" y="33017"/>
                  </a:lnTo>
                  <a:lnTo>
                    <a:pt x="632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08" y="33648"/>
                  </a:lnTo>
                  <a:lnTo>
                    <a:pt x="5105" y="33629"/>
                  </a:lnTo>
                  <a:lnTo>
                    <a:pt x="5624" y="33406"/>
                  </a:lnTo>
                  <a:lnTo>
                    <a:pt x="6014" y="33017"/>
                  </a:lnTo>
                  <a:lnTo>
                    <a:pt x="6237" y="32479"/>
                  </a:lnTo>
                  <a:lnTo>
                    <a:pt x="6255" y="32182"/>
                  </a:lnTo>
                  <a:lnTo>
                    <a:pt x="6255" y="1448"/>
                  </a:lnTo>
                  <a:lnTo>
                    <a:pt x="6237" y="1151"/>
                  </a:lnTo>
                  <a:lnTo>
                    <a:pt x="6014" y="632"/>
                  </a:lnTo>
                  <a:lnTo>
                    <a:pt x="5624" y="242"/>
                  </a:lnTo>
                  <a:lnTo>
                    <a:pt x="5105" y="19"/>
                  </a:lnTo>
                  <a:lnTo>
                    <a:pt x="480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38;p3"/>
            <p:cNvSpPr/>
            <p:nvPr/>
          </p:nvSpPr>
          <p:spPr>
            <a:xfrm>
              <a:off x="1673175" y="2466575"/>
              <a:ext cx="655150" cy="841200"/>
            </a:xfrm>
            <a:custGeom>
              <a:avLst/>
              <a:gdLst/>
              <a:ahLst/>
              <a:cxnLst/>
              <a:rect l="l" t="t" r="r" b="b"/>
              <a:pathLst>
                <a:path w="26206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1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0" y="1448"/>
                  </a:lnTo>
                  <a:lnTo>
                    <a:pt x="0" y="32200"/>
                  </a:lnTo>
                  <a:lnTo>
                    <a:pt x="19" y="32497"/>
                  </a:lnTo>
                  <a:lnTo>
                    <a:pt x="242" y="33017"/>
                  </a:lnTo>
                  <a:lnTo>
                    <a:pt x="631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26" y="33648"/>
                  </a:lnTo>
                  <a:lnTo>
                    <a:pt x="5104" y="33629"/>
                  </a:lnTo>
                  <a:lnTo>
                    <a:pt x="5624" y="33406"/>
                  </a:lnTo>
                  <a:lnTo>
                    <a:pt x="6032" y="33017"/>
                  </a:lnTo>
                  <a:lnTo>
                    <a:pt x="6255" y="32497"/>
                  </a:lnTo>
                  <a:lnTo>
                    <a:pt x="6273" y="32200"/>
                  </a:lnTo>
                  <a:lnTo>
                    <a:pt x="6273" y="18133"/>
                  </a:lnTo>
                  <a:lnTo>
                    <a:pt x="19933" y="18133"/>
                  </a:lnTo>
                  <a:lnTo>
                    <a:pt x="19933" y="32200"/>
                  </a:lnTo>
                  <a:lnTo>
                    <a:pt x="19951" y="32497"/>
                  </a:lnTo>
                  <a:lnTo>
                    <a:pt x="20174" y="33017"/>
                  </a:lnTo>
                  <a:lnTo>
                    <a:pt x="20564" y="33406"/>
                  </a:lnTo>
                  <a:lnTo>
                    <a:pt x="21083" y="33629"/>
                  </a:lnTo>
                  <a:lnTo>
                    <a:pt x="21380" y="33648"/>
                  </a:lnTo>
                  <a:lnTo>
                    <a:pt x="24739" y="33648"/>
                  </a:lnTo>
                  <a:lnTo>
                    <a:pt x="25036" y="33629"/>
                  </a:lnTo>
                  <a:lnTo>
                    <a:pt x="25556" y="33406"/>
                  </a:lnTo>
                  <a:lnTo>
                    <a:pt x="25964" y="33017"/>
                  </a:lnTo>
                  <a:lnTo>
                    <a:pt x="26168" y="32497"/>
                  </a:lnTo>
                  <a:lnTo>
                    <a:pt x="26205" y="32200"/>
                  </a:lnTo>
                  <a:lnTo>
                    <a:pt x="26205" y="1448"/>
                  </a:lnTo>
                  <a:lnTo>
                    <a:pt x="26168" y="1151"/>
                  </a:lnTo>
                  <a:lnTo>
                    <a:pt x="25964" y="632"/>
                  </a:lnTo>
                  <a:lnTo>
                    <a:pt x="25556" y="242"/>
                  </a:lnTo>
                  <a:lnTo>
                    <a:pt x="25036" y="19"/>
                  </a:lnTo>
                  <a:lnTo>
                    <a:pt x="24739" y="1"/>
                  </a:lnTo>
                  <a:lnTo>
                    <a:pt x="21380" y="1"/>
                  </a:lnTo>
                  <a:lnTo>
                    <a:pt x="21083" y="19"/>
                  </a:lnTo>
                  <a:lnTo>
                    <a:pt x="20564" y="242"/>
                  </a:lnTo>
                  <a:lnTo>
                    <a:pt x="20174" y="632"/>
                  </a:lnTo>
                  <a:lnTo>
                    <a:pt x="19951" y="1151"/>
                  </a:lnTo>
                  <a:lnTo>
                    <a:pt x="19933" y="1448"/>
                  </a:lnTo>
                  <a:lnTo>
                    <a:pt x="19933" y="13641"/>
                  </a:lnTo>
                  <a:lnTo>
                    <a:pt x="6273" y="13641"/>
                  </a:lnTo>
                  <a:lnTo>
                    <a:pt x="6273" y="1448"/>
                  </a:lnTo>
                  <a:lnTo>
                    <a:pt x="6255" y="1151"/>
                  </a:lnTo>
                  <a:lnTo>
                    <a:pt x="6032" y="632"/>
                  </a:lnTo>
                  <a:lnTo>
                    <a:pt x="5624" y="242"/>
                  </a:lnTo>
                  <a:lnTo>
                    <a:pt x="5104" y="19"/>
                  </a:lnTo>
                  <a:lnTo>
                    <a:pt x="482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39;p3"/>
            <p:cNvSpPr/>
            <p:nvPr/>
          </p:nvSpPr>
          <p:spPr>
            <a:xfrm>
              <a:off x="3382900" y="2466575"/>
              <a:ext cx="156375" cy="841200"/>
            </a:xfrm>
            <a:custGeom>
              <a:avLst/>
              <a:gdLst/>
              <a:ahLst/>
              <a:cxnLst/>
              <a:rect l="l" t="t" r="r" b="b"/>
              <a:pathLst>
                <a:path w="6255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2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1" y="1448"/>
                  </a:lnTo>
                  <a:lnTo>
                    <a:pt x="1" y="32182"/>
                  </a:lnTo>
                  <a:lnTo>
                    <a:pt x="19" y="32479"/>
                  </a:lnTo>
                  <a:lnTo>
                    <a:pt x="242" y="33017"/>
                  </a:lnTo>
                  <a:lnTo>
                    <a:pt x="632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07" y="33648"/>
                  </a:lnTo>
                  <a:lnTo>
                    <a:pt x="5104" y="33629"/>
                  </a:lnTo>
                  <a:lnTo>
                    <a:pt x="5624" y="33406"/>
                  </a:lnTo>
                  <a:lnTo>
                    <a:pt x="6014" y="33017"/>
                  </a:lnTo>
                  <a:lnTo>
                    <a:pt x="6236" y="32479"/>
                  </a:lnTo>
                  <a:lnTo>
                    <a:pt x="6255" y="32182"/>
                  </a:lnTo>
                  <a:lnTo>
                    <a:pt x="6255" y="1448"/>
                  </a:lnTo>
                  <a:lnTo>
                    <a:pt x="6236" y="1151"/>
                  </a:lnTo>
                  <a:lnTo>
                    <a:pt x="6014" y="632"/>
                  </a:lnTo>
                  <a:lnTo>
                    <a:pt x="5624" y="242"/>
                  </a:lnTo>
                  <a:lnTo>
                    <a:pt x="5104" y="19"/>
                  </a:lnTo>
                  <a:lnTo>
                    <a:pt x="48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40;p3"/>
            <p:cNvSpPr/>
            <p:nvPr/>
          </p:nvSpPr>
          <p:spPr>
            <a:xfrm>
              <a:off x="3610700" y="2663300"/>
              <a:ext cx="680675" cy="662575"/>
            </a:xfrm>
            <a:custGeom>
              <a:avLst/>
              <a:gdLst/>
              <a:ahLst/>
              <a:cxnLst/>
              <a:rect l="l" t="t" r="r" b="b"/>
              <a:pathLst>
                <a:path w="27227" h="26503" extrusionOk="0">
                  <a:moveTo>
                    <a:pt x="14087" y="5123"/>
                  </a:moveTo>
                  <a:lnTo>
                    <a:pt x="14959" y="5216"/>
                  </a:lnTo>
                  <a:lnTo>
                    <a:pt x="15757" y="5383"/>
                  </a:lnTo>
                  <a:lnTo>
                    <a:pt x="16500" y="5661"/>
                  </a:lnTo>
                  <a:lnTo>
                    <a:pt x="16852" y="5828"/>
                  </a:lnTo>
                  <a:lnTo>
                    <a:pt x="17521" y="6199"/>
                  </a:lnTo>
                  <a:lnTo>
                    <a:pt x="18634" y="7127"/>
                  </a:lnTo>
                  <a:lnTo>
                    <a:pt x="19098" y="7665"/>
                  </a:lnTo>
                  <a:lnTo>
                    <a:pt x="19525" y="8259"/>
                  </a:lnTo>
                  <a:lnTo>
                    <a:pt x="20193" y="9558"/>
                  </a:lnTo>
                  <a:lnTo>
                    <a:pt x="20434" y="10264"/>
                  </a:lnTo>
                  <a:lnTo>
                    <a:pt x="20638" y="10969"/>
                  </a:lnTo>
                  <a:lnTo>
                    <a:pt x="20861" y="12416"/>
                  </a:lnTo>
                  <a:lnTo>
                    <a:pt x="20880" y="13159"/>
                  </a:lnTo>
                  <a:lnTo>
                    <a:pt x="20861" y="13883"/>
                  </a:lnTo>
                  <a:lnTo>
                    <a:pt x="20638" y="15349"/>
                  </a:lnTo>
                  <a:lnTo>
                    <a:pt x="20434" y="16073"/>
                  </a:lnTo>
                  <a:lnTo>
                    <a:pt x="20193" y="16796"/>
                  </a:lnTo>
                  <a:lnTo>
                    <a:pt x="19525" y="18095"/>
                  </a:lnTo>
                  <a:lnTo>
                    <a:pt x="19098" y="18671"/>
                  </a:lnTo>
                  <a:lnTo>
                    <a:pt x="18634" y="19228"/>
                  </a:lnTo>
                  <a:lnTo>
                    <a:pt x="17521" y="20174"/>
                  </a:lnTo>
                  <a:lnTo>
                    <a:pt x="16852" y="20564"/>
                  </a:lnTo>
                  <a:lnTo>
                    <a:pt x="16500" y="20731"/>
                  </a:lnTo>
                  <a:lnTo>
                    <a:pt x="15757" y="21009"/>
                  </a:lnTo>
                  <a:lnTo>
                    <a:pt x="14959" y="21195"/>
                  </a:lnTo>
                  <a:lnTo>
                    <a:pt x="14087" y="21269"/>
                  </a:lnTo>
                  <a:lnTo>
                    <a:pt x="13623" y="21288"/>
                  </a:lnTo>
                  <a:lnTo>
                    <a:pt x="13159" y="21269"/>
                  </a:lnTo>
                  <a:lnTo>
                    <a:pt x="12287" y="21195"/>
                  </a:lnTo>
                  <a:lnTo>
                    <a:pt x="11470" y="21009"/>
                  </a:lnTo>
                  <a:lnTo>
                    <a:pt x="10728" y="20731"/>
                  </a:lnTo>
                  <a:lnTo>
                    <a:pt x="10394" y="20564"/>
                  </a:lnTo>
                  <a:lnTo>
                    <a:pt x="9726" y="20174"/>
                  </a:lnTo>
                  <a:lnTo>
                    <a:pt x="8612" y="19228"/>
                  </a:lnTo>
                  <a:lnTo>
                    <a:pt x="8148" y="18671"/>
                  </a:lnTo>
                  <a:lnTo>
                    <a:pt x="7721" y="18095"/>
                  </a:lnTo>
                  <a:lnTo>
                    <a:pt x="7053" y="16778"/>
                  </a:lnTo>
                  <a:lnTo>
                    <a:pt x="6812" y="16073"/>
                  </a:lnTo>
                  <a:lnTo>
                    <a:pt x="6608" y="15349"/>
                  </a:lnTo>
                  <a:lnTo>
                    <a:pt x="6385" y="13883"/>
                  </a:lnTo>
                  <a:lnTo>
                    <a:pt x="6367" y="13159"/>
                  </a:lnTo>
                  <a:lnTo>
                    <a:pt x="6385" y="12416"/>
                  </a:lnTo>
                  <a:lnTo>
                    <a:pt x="6608" y="10969"/>
                  </a:lnTo>
                  <a:lnTo>
                    <a:pt x="6812" y="10264"/>
                  </a:lnTo>
                  <a:lnTo>
                    <a:pt x="7053" y="9558"/>
                  </a:lnTo>
                  <a:lnTo>
                    <a:pt x="7721" y="8259"/>
                  </a:lnTo>
                  <a:lnTo>
                    <a:pt x="8148" y="7665"/>
                  </a:lnTo>
                  <a:lnTo>
                    <a:pt x="8612" y="7127"/>
                  </a:lnTo>
                  <a:lnTo>
                    <a:pt x="9726" y="6199"/>
                  </a:lnTo>
                  <a:lnTo>
                    <a:pt x="10394" y="5828"/>
                  </a:lnTo>
                  <a:lnTo>
                    <a:pt x="10728" y="5661"/>
                  </a:lnTo>
                  <a:lnTo>
                    <a:pt x="11470" y="5383"/>
                  </a:lnTo>
                  <a:lnTo>
                    <a:pt x="12287" y="5216"/>
                  </a:lnTo>
                  <a:lnTo>
                    <a:pt x="13159" y="5123"/>
                  </a:lnTo>
                  <a:close/>
                  <a:moveTo>
                    <a:pt x="13623" y="1"/>
                  </a:moveTo>
                  <a:lnTo>
                    <a:pt x="12918" y="19"/>
                  </a:lnTo>
                  <a:lnTo>
                    <a:pt x="11545" y="131"/>
                  </a:lnTo>
                  <a:lnTo>
                    <a:pt x="10227" y="372"/>
                  </a:lnTo>
                  <a:lnTo>
                    <a:pt x="8928" y="724"/>
                  </a:lnTo>
                  <a:lnTo>
                    <a:pt x="8297" y="947"/>
                  </a:lnTo>
                  <a:lnTo>
                    <a:pt x="7684" y="1188"/>
                  </a:lnTo>
                  <a:lnTo>
                    <a:pt x="6515" y="1745"/>
                  </a:lnTo>
                  <a:lnTo>
                    <a:pt x="5439" y="2413"/>
                  </a:lnTo>
                  <a:lnTo>
                    <a:pt x="4437" y="3174"/>
                  </a:lnTo>
                  <a:lnTo>
                    <a:pt x="3973" y="3601"/>
                  </a:lnTo>
                  <a:lnTo>
                    <a:pt x="3527" y="4046"/>
                  </a:lnTo>
                  <a:lnTo>
                    <a:pt x="2692" y="4993"/>
                  </a:lnTo>
                  <a:lnTo>
                    <a:pt x="1968" y="6032"/>
                  </a:lnTo>
                  <a:lnTo>
                    <a:pt x="1356" y="7146"/>
                  </a:lnTo>
                  <a:lnTo>
                    <a:pt x="1077" y="7758"/>
                  </a:lnTo>
                  <a:lnTo>
                    <a:pt x="818" y="8371"/>
                  </a:lnTo>
                  <a:lnTo>
                    <a:pt x="409" y="9651"/>
                  </a:lnTo>
                  <a:lnTo>
                    <a:pt x="149" y="10987"/>
                  </a:lnTo>
                  <a:lnTo>
                    <a:pt x="20" y="12416"/>
                  </a:lnTo>
                  <a:lnTo>
                    <a:pt x="1" y="13159"/>
                  </a:lnTo>
                  <a:lnTo>
                    <a:pt x="20" y="13883"/>
                  </a:lnTo>
                  <a:lnTo>
                    <a:pt x="149" y="15312"/>
                  </a:lnTo>
                  <a:lnTo>
                    <a:pt x="409" y="16666"/>
                  </a:lnTo>
                  <a:lnTo>
                    <a:pt x="818" y="17947"/>
                  </a:lnTo>
                  <a:lnTo>
                    <a:pt x="1077" y="18578"/>
                  </a:lnTo>
                  <a:lnTo>
                    <a:pt x="1356" y="19172"/>
                  </a:lnTo>
                  <a:lnTo>
                    <a:pt x="1968" y="20322"/>
                  </a:lnTo>
                  <a:lnTo>
                    <a:pt x="2692" y="21362"/>
                  </a:lnTo>
                  <a:lnTo>
                    <a:pt x="3527" y="22327"/>
                  </a:lnTo>
                  <a:lnTo>
                    <a:pt x="3973" y="22772"/>
                  </a:lnTo>
                  <a:lnTo>
                    <a:pt x="4437" y="23199"/>
                  </a:lnTo>
                  <a:lnTo>
                    <a:pt x="5439" y="23979"/>
                  </a:lnTo>
                  <a:lnTo>
                    <a:pt x="6515" y="24665"/>
                  </a:lnTo>
                  <a:lnTo>
                    <a:pt x="7684" y="25259"/>
                  </a:lnTo>
                  <a:lnTo>
                    <a:pt x="8297" y="25519"/>
                  </a:lnTo>
                  <a:lnTo>
                    <a:pt x="8928" y="25742"/>
                  </a:lnTo>
                  <a:lnTo>
                    <a:pt x="10227" y="26113"/>
                  </a:lnTo>
                  <a:lnTo>
                    <a:pt x="11545" y="26373"/>
                  </a:lnTo>
                  <a:lnTo>
                    <a:pt x="12918" y="26484"/>
                  </a:lnTo>
                  <a:lnTo>
                    <a:pt x="13623" y="26503"/>
                  </a:lnTo>
                  <a:lnTo>
                    <a:pt x="14328" y="26484"/>
                  </a:lnTo>
                  <a:lnTo>
                    <a:pt x="15683" y="26373"/>
                  </a:lnTo>
                  <a:lnTo>
                    <a:pt x="17019" y="26113"/>
                  </a:lnTo>
                  <a:lnTo>
                    <a:pt x="18300" y="25742"/>
                  </a:lnTo>
                  <a:lnTo>
                    <a:pt x="18931" y="25519"/>
                  </a:lnTo>
                  <a:lnTo>
                    <a:pt x="19562" y="25259"/>
                  </a:lnTo>
                  <a:lnTo>
                    <a:pt x="20731" y="24665"/>
                  </a:lnTo>
                  <a:lnTo>
                    <a:pt x="21808" y="23979"/>
                  </a:lnTo>
                  <a:lnTo>
                    <a:pt x="22810" y="23199"/>
                  </a:lnTo>
                  <a:lnTo>
                    <a:pt x="23274" y="22772"/>
                  </a:lnTo>
                  <a:lnTo>
                    <a:pt x="23719" y="22327"/>
                  </a:lnTo>
                  <a:lnTo>
                    <a:pt x="24536" y="21362"/>
                  </a:lnTo>
                  <a:lnTo>
                    <a:pt x="25260" y="20322"/>
                  </a:lnTo>
                  <a:lnTo>
                    <a:pt x="25891" y="19172"/>
                  </a:lnTo>
                  <a:lnTo>
                    <a:pt x="26169" y="18578"/>
                  </a:lnTo>
                  <a:lnTo>
                    <a:pt x="26429" y="17947"/>
                  </a:lnTo>
                  <a:lnTo>
                    <a:pt x="26818" y="16666"/>
                  </a:lnTo>
                  <a:lnTo>
                    <a:pt x="27097" y="15312"/>
                  </a:lnTo>
                  <a:lnTo>
                    <a:pt x="27227" y="13883"/>
                  </a:lnTo>
                  <a:lnTo>
                    <a:pt x="27227" y="13159"/>
                  </a:lnTo>
                  <a:lnTo>
                    <a:pt x="27227" y="12416"/>
                  </a:lnTo>
                  <a:lnTo>
                    <a:pt x="27097" y="10987"/>
                  </a:lnTo>
                  <a:lnTo>
                    <a:pt x="26818" y="9651"/>
                  </a:lnTo>
                  <a:lnTo>
                    <a:pt x="26429" y="8371"/>
                  </a:lnTo>
                  <a:lnTo>
                    <a:pt x="26169" y="7758"/>
                  </a:lnTo>
                  <a:lnTo>
                    <a:pt x="25891" y="7146"/>
                  </a:lnTo>
                  <a:lnTo>
                    <a:pt x="25260" y="6032"/>
                  </a:lnTo>
                  <a:lnTo>
                    <a:pt x="24536" y="4993"/>
                  </a:lnTo>
                  <a:lnTo>
                    <a:pt x="23719" y="4046"/>
                  </a:lnTo>
                  <a:lnTo>
                    <a:pt x="23274" y="3601"/>
                  </a:lnTo>
                  <a:lnTo>
                    <a:pt x="22810" y="3174"/>
                  </a:lnTo>
                  <a:lnTo>
                    <a:pt x="21808" y="2413"/>
                  </a:lnTo>
                  <a:lnTo>
                    <a:pt x="20731" y="1745"/>
                  </a:lnTo>
                  <a:lnTo>
                    <a:pt x="19562" y="1188"/>
                  </a:lnTo>
                  <a:lnTo>
                    <a:pt x="18931" y="947"/>
                  </a:lnTo>
                  <a:lnTo>
                    <a:pt x="18300" y="724"/>
                  </a:lnTo>
                  <a:lnTo>
                    <a:pt x="17019" y="372"/>
                  </a:lnTo>
                  <a:lnTo>
                    <a:pt x="15683" y="131"/>
                  </a:lnTo>
                  <a:lnTo>
                    <a:pt x="14328" y="19"/>
                  </a:lnTo>
                  <a:lnTo>
                    <a:pt x="1362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41;p3"/>
            <p:cNvSpPr/>
            <p:nvPr/>
          </p:nvSpPr>
          <p:spPr>
            <a:xfrm>
              <a:off x="5231350" y="2663300"/>
              <a:ext cx="633825" cy="662575"/>
            </a:xfrm>
            <a:custGeom>
              <a:avLst/>
              <a:gdLst/>
              <a:ahLst/>
              <a:cxnLst/>
              <a:rect l="l" t="t" r="r" b="b"/>
              <a:pathLst>
                <a:path w="25353" h="26503" extrusionOk="0">
                  <a:moveTo>
                    <a:pt x="13196" y="4696"/>
                  </a:moveTo>
                  <a:lnTo>
                    <a:pt x="13939" y="4715"/>
                  </a:lnTo>
                  <a:lnTo>
                    <a:pt x="15256" y="4974"/>
                  </a:lnTo>
                  <a:lnTo>
                    <a:pt x="15832" y="5197"/>
                  </a:lnTo>
                  <a:lnTo>
                    <a:pt x="16388" y="5457"/>
                  </a:lnTo>
                  <a:lnTo>
                    <a:pt x="17298" y="6125"/>
                  </a:lnTo>
                  <a:lnTo>
                    <a:pt x="17687" y="6515"/>
                  </a:lnTo>
                  <a:lnTo>
                    <a:pt x="18040" y="6942"/>
                  </a:lnTo>
                  <a:lnTo>
                    <a:pt x="18578" y="7907"/>
                  </a:lnTo>
                  <a:lnTo>
                    <a:pt x="18764" y="8445"/>
                  </a:lnTo>
                  <a:lnTo>
                    <a:pt x="18912" y="9002"/>
                  </a:lnTo>
                  <a:lnTo>
                    <a:pt x="19079" y="10152"/>
                  </a:lnTo>
                  <a:lnTo>
                    <a:pt x="19098" y="10746"/>
                  </a:lnTo>
                  <a:lnTo>
                    <a:pt x="6274" y="10746"/>
                  </a:lnTo>
                  <a:lnTo>
                    <a:pt x="6329" y="10097"/>
                  </a:lnTo>
                  <a:lnTo>
                    <a:pt x="6664" y="8890"/>
                  </a:lnTo>
                  <a:lnTo>
                    <a:pt x="7202" y="7795"/>
                  </a:lnTo>
                  <a:lnTo>
                    <a:pt x="7963" y="6830"/>
                  </a:lnTo>
                  <a:lnTo>
                    <a:pt x="8427" y="6403"/>
                  </a:lnTo>
                  <a:lnTo>
                    <a:pt x="8928" y="5995"/>
                  </a:lnTo>
                  <a:lnTo>
                    <a:pt x="10023" y="5346"/>
                  </a:lnTo>
                  <a:lnTo>
                    <a:pt x="11210" y="4937"/>
                  </a:lnTo>
                  <a:lnTo>
                    <a:pt x="12510" y="4715"/>
                  </a:lnTo>
                  <a:lnTo>
                    <a:pt x="13196" y="4696"/>
                  </a:lnTo>
                  <a:close/>
                  <a:moveTo>
                    <a:pt x="13252" y="1"/>
                  </a:moveTo>
                  <a:lnTo>
                    <a:pt x="12565" y="19"/>
                  </a:lnTo>
                  <a:lnTo>
                    <a:pt x="11192" y="131"/>
                  </a:lnTo>
                  <a:lnTo>
                    <a:pt x="9893" y="372"/>
                  </a:lnTo>
                  <a:lnTo>
                    <a:pt x="8631" y="743"/>
                  </a:lnTo>
                  <a:lnTo>
                    <a:pt x="8018" y="966"/>
                  </a:lnTo>
                  <a:lnTo>
                    <a:pt x="7406" y="1226"/>
                  </a:lnTo>
                  <a:lnTo>
                    <a:pt x="6292" y="1801"/>
                  </a:lnTo>
                  <a:lnTo>
                    <a:pt x="5235" y="2469"/>
                  </a:lnTo>
                  <a:lnTo>
                    <a:pt x="4269" y="3248"/>
                  </a:lnTo>
                  <a:lnTo>
                    <a:pt x="3824" y="3675"/>
                  </a:lnTo>
                  <a:lnTo>
                    <a:pt x="3379" y="4121"/>
                  </a:lnTo>
                  <a:lnTo>
                    <a:pt x="2581" y="5086"/>
                  </a:lnTo>
                  <a:lnTo>
                    <a:pt x="1894" y="6144"/>
                  </a:lnTo>
                  <a:lnTo>
                    <a:pt x="1281" y="7294"/>
                  </a:lnTo>
                  <a:lnTo>
                    <a:pt x="1022" y="7907"/>
                  </a:lnTo>
                  <a:lnTo>
                    <a:pt x="780" y="8538"/>
                  </a:lnTo>
                  <a:lnTo>
                    <a:pt x="391" y="9837"/>
                  </a:lnTo>
                  <a:lnTo>
                    <a:pt x="149" y="11210"/>
                  </a:lnTo>
                  <a:lnTo>
                    <a:pt x="19" y="12658"/>
                  </a:lnTo>
                  <a:lnTo>
                    <a:pt x="1" y="13400"/>
                  </a:lnTo>
                  <a:lnTo>
                    <a:pt x="19" y="14161"/>
                  </a:lnTo>
                  <a:lnTo>
                    <a:pt x="149" y="15609"/>
                  </a:lnTo>
                  <a:lnTo>
                    <a:pt x="391" y="17000"/>
                  </a:lnTo>
                  <a:lnTo>
                    <a:pt x="780" y="18300"/>
                  </a:lnTo>
                  <a:lnTo>
                    <a:pt x="1022" y="18912"/>
                  </a:lnTo>
                  <a:lnTo>
                    <a:pt x="1281" y="19506"/>
                  </a:lnTo>
                  <a:lnTo>
                    <a:pt x="1894" y="20619"/>
                  </a:lnTo>
                  <a:lnTo>
                    <a:pt x="2599" y="21659"/>
                  </a:lnTo>
                  <a:lnTo>
                    <a:pt x="3397" y="22587"/>
                  </a:lnTo>
                  <a:lnTo>
                    <a:pt x="3843" y="23013"/>
                  </a:lnTo>
                  <a:lnTo>
                    <a:pt x="4288" y="23422"/>
                  </a:lnTo>
                  <a:lnTo>
                    <a:pt x="5272" y="24146"/>
                  </a:lnTo>
                  <a:lnTo>
                    <a:pt x="6348" y="24795"/>
                  </a:lnTo>
                  <a:lnTo>
                    <a:pt x="7480" y="25352"/>
                  </a:lnTo>
                  <a:lnTo>
                    <a:pt x="8093" y="25593"/>
                  </a:lnTo>
                  <a:lnTo>
                    <a:pt x="8705" y="25797"/>
                  </a:lnTo>
                  <a:lnTo>
                    <a:pt x="10004" y="26150"/>
                  </a:lnTo>
                  <a:lnTo>
                    <a:pt x="11340" y="26373"/>
                  </a:lnTo>
                  <a:lnTo>
                    <a:pt x="12732" y="26484"/>
                  </a:lnTo>
                  <a:lnTo>
                    <a:pt x="13475" y="26503"/>
                  </a:lnTo>
                  <a:lnTo>
                    <a:pt x="14236" y="26484"/>
                  </a:lnTo>
                  <a:lnTo>
                    <a:pt x="15683" y="26373"/>
                  </a:lnTo>
                  <a:lnTo>
                    <a:pt x="17075" y="26131"/>
                  </a:lnTo>
                  <a:lnTo>
                    <a:pt x="18374" y="25760"/>
                  </a:lnTo>
                  <a:lnTo>
                    <a:pt x="19599" y="25296"/>
                  </a:lnTo>
                  <a:lnTo>
                    <a:pt x="20731" y="24684"/>
                  </a:lnTo>
                  <a:lnTo>
                    <a:pt x="21789" y="23960"/>
                  </a:lnTo>
                  <a:lnTo>
                    <a:pt x="22773" y="23125"/>
                  </a:lnTo>
                  <a:lnTo>
                    <a:pt x="23237" y="22661"/>
                  </a:lnTo>
                  <a:lnTo>
                    <a:pt x="23422" y="22420"/>
                  </a:lnTo>
                  <a:lnTo>
                    <a:pt x="23608" y="21863"/>
                  </a:lnTo>
                  <a:lnTo>
                    <a:pt x="23552" y="21288"/>
                  </a:lnTo>
                  <a:lnTo>
                    <a:pt x="23274" y="20768"/>
                  </a:lnTo>
                  <a:lnTo>
                    <a:pt x="23051" y="20564"/>
                  </a:lnTo>
                  <a:lnTo>
                    <a:pt x="21158" y="19042"/>
                  </a:lnTo>
                  <a:lnTo>
                    <a:pt x="20935" y="18875"/>
                  </a:lnTo>
                  <a:lnTo>
                    <a:pt x="20434" y="18726"/>
                  </a:lnTo>
                  <a:lnTo>
                    <a:pt x="19915" y="18745"/>
                  </a:lnTo>
                  <a:lnTo>
                    <a:pt x="19432" y="18949"/>
                  </a:lnTo>
                  <a:lnTo>
                    <a:pt x="19246" y="19135"/>
                  </a:lnTo>
                  <a:lnTo>
                    <a:pt x="18820" y="19543"/>
                  </a:lnTo>
                  <a:lnTo>
                    <a:pt x="17892" y="20230"/>
                  </a:lnTo>
                  <a:lnTo>
                    <a:pt x="17372" y="20527"/>
                  </a:lnTo>
                  <a:lnTo>
                    <a:pt x="16964" y="20731"/>
                  </a:lnTo>
                  <a:lnTo>
                    <a:pt x="16073" y="21046"/>
                  </a:lnTo>
                  <a:lnTo>
                    <a:pt x="15071" y="21269"/>
                  </a:lnTo>
                  <a:lnTo>
                    <a:pt x="13994" y="21380"/>
                  </a:lnTo>
                  <a:lnTo>
                    <a:pt x="13419" y="21380"/>
                  </a:lnTo>
                  <a:lnTo>
                    <a:pt x="12732" y="21362"/>
                  </a:lnTo>
                  <a:lnTo>
                    <a:pt x="11433" y="21120"/>
                  </a:lnTo>
                  <a:lnTo>
                    <a:pt x="10802" y="20916"/>
                  </a:lnTo>
                  <a:lnTo>
                    <a:pt x="10190" y="20657"/>
                  </a:lnTo>
                  <a:lnTo>
                    <a:pt x="9076" y="20026"/>
                  </a:lnTo>
                  <a:lnTo>
                    <a:pt x="8557" y="19636"/>
                  </a:lnTo>
                  <a:lnTo>
                    <a:pt x="8074" y="19209"/>
                  </a:lnTo>
                  <a:lnTo>
                    <a:pt x="7295" y="18244"/>
                  </a:lnTo>
                  <a:lnTo>
                    <a:pt x="6979" y="17706"/>
                  </a:lnTo>
                  <a:lnTo>
                    <a:pt x="6682" y="17130"/>
                  </a:lnTo>
                  <a:lnTo>
                    <a:pt x="6329" y="15905"/>
                  </a:lnTo>
                  <a:lnTo>
                    <a:pt x="6274" y="15237"/>
                  </a:lnTo>
                  <a:lnTo>
                    <a:pt x="23905" y="15237"/>
                  </a:lnTo>
                  <a:lnTo>
                    <a:pt x="24202" y="15200"/>
                  </a:lnTo>
                  <a:lnTo>
                    <a:pt x="24721" y="14996"/>
                  </a:lnTo>
                  <a:lnTo>
                    <a:pt x="25111" y="14606"/>
                  </a:lnTo>
                  <a:lnTo>
                    <a:pt x="25334" y="14087"/>
                  </a:lnTo>
                  <a:lnTo>
                    <a:pt x="25352" y="13790"/>
                  </a:lnTo>
                  <a:lnTo>
                    <a:pt x="25352" y="13567"/>
                  </a:lnTo>
                  <a:lnTo>
                    <a:pt x="25352" y="12713"/>
                  </a:lnTo>
                  <a:lnTo>
                    <a:pt x="25222" y="11136"/>
                  </a:lnTo>
                  <a:lnTo>
                    <a:pt x="25000" y="9651"/>
                  </a:lnTo>
                  <a:lnTo>
                    <a:pt x="24666" y="8278"/>
                  </a:lnTo>
                  <a:lnTo>
                    <a:pt x="24443" y="7647"/>
                  </a:lnTo>
                  <a:lnTo>
                    <a:pt x="24202" y="7016"/>
                  </a:lnTo>
                  <a:lnTo>
                    <a:pt x="23663" y="5847"/>
                  </a:lnTo>
                  <a:lnTo>
                    <a:pt x="23032" y="4807"/>
                  </a:lnTo>
                  <a:lnTo>
                    <a:pt x="22309" y="3842"/>
                  </a:lnTo>
                  <a:lnTo>
                    <a:pt x="21919" y="3415"/>
                  </a:lnTo>
                  <a:lnTo>
                    <a:pt x="21511" y="3007"/>
                  </a:lnTo>
                  <a:lnTo>
                    <a:pt x="20620" y="2265"/>
                  </a:lnTo>
                  <a:lnTo>
                    <a:pt x="19655" y="1615"/>
                  </a:lnTo>
                  <a:lnTo>
                    <a:pt x="18634" y="1096"/>
                  </a:lnTo>
                  <a:lnTo>
                    <a:pt x="18077" y="873"/>
                  </a:lnTo>
                  <a:lnTo>
                    <a:pt x="17520" y="650"/>
                  </a:lnTo>
                  <a:lnTo>
                    <a:pt x="16370" y="335"/>
                  </a:lnTo>
                  <a:lnTo>
                    <a:pt x="15163" y="112"/>
                  </a:lnTo>
                  <a:lnTo>
                    <a:pt x="13901" y="19"/>
                  </a:lnTo>
                  <a:lnTo>
                    <a:pt x="1325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42;p3"/>
            <p:cNvSpPr/>
            <p:nvPr/>
          </p:nvSpPr>
          <p:spPr>
            <a:xfrm>
              <a:off x="5884625" y="2663300"/>
              <a:ext cx="579075" cy="659800"/>
            </a:xfrm>
            <a:custGeom>
              <a:avLst/>
              <a:gdLst/>
              <a:ahLst/>
              <a:cxnLst/>
              <a:rect l="l" t="t" r="r" b="b"/>
              <a:pathLst>
                <a:path w="23163" h="26392" extrusionOk="0">
                  <a:moveTo>
                    <a:pt x="17223" y="14347"/>
                  </a:moveTo>
                  <a:lnTo>
                    <a:pt x="17223" y="15237"/>
                  </a:lnTo>
                  <a:lnTo>
                    <a:pt x="17205" y="15961"/>
                  </a:lnTo>
                  <a:lnTo>
                    <a:pt x="17001" y="17297"/>
                  </a:lnTo>
                  <a:lnTo>
                    <a:pt x="16574" y="18467"/>
                  </a:lnTo>
                  <a:lnTo>
                    <a:pt x="15943" y="19487"/>
                  </a:lnTo>
                  <a:lnTo>
                    <a:pt x="15553" y="19933"/>
                  </a:lnTo>
                  <a:lnTo>
                    <a:pt x="15108" y="20341"/>
                  </a:lnTo>
                  <a:lnTo>
                    <a:pt x="14087" y="20991"/>
                  </a:lnTo>
                  <a:lnTo>
                    <a:pt x="12862" y="21417"/>
                  </a:lnTo>
                  <a:lnTo>
                    <a:pt x="11433" y="21640"/>
                  </a:lnTo>
                  <a:lnTo>
                    <a:pt x="10653" y="21659"/>
                  </a:lnTo>
                  <a:lnTo>
                    <a:pt x="9855" y="21622"/>
                  </a:lnTo>
                  <a:lnTo>
                    <a:pt x="9076" y="21492"/>
                  </a:lnTo>
                  <a:lnTo>
                    <a:pt x="8705" y="21417"/>
                  </a:lnTo>
                  <a:lnTo>
                    <a:pt x="8000" y="21158"/>
                  </a:lnTo>
                  <a:lnTo>
                    <a:pt x="7666" y="20972"/>
                  </a:lnTo>
                  <a:lnTo>
                    <a:pt x="7369" y="20786"/>
                  </a:lnTo>
                  <a:lnTo>
                    <a:pt x="6867" y="20304"/>
                  </a:lnTo>
                  <a:lnTo>
                    <a:pt x="6645" y="20007"/>
                  </a:lnTo>
                  <a:lnTo>
                    <a:pt x="6478" y="19691"/>
                  </a:lnTo>
                  <a:lnTo>
                    <a:pt x="6274" y="18949"/>
                  </a:lnTo>
                  <a:lnTo>
                    <a:pt x="6255" y="18522"/>
                  </a:lnTo>
                  <a:lnTo>
                    <a:pt x="6274" y="18170"/>
                  </a:lnTo>
                  <a:lnTo>
                    <a:pt x="6385" y="17557"/>
                  </a:lnTo>
                  <a:lnTo>
                    <a:pt x="6626" y="17000"/>
                  </a:lnTo>
                  <a:lnTo>
                    <a:pt x="6979" y="16518"/>
                  </a:lnTo>
                  <a:lnTo>
                    <a:pt x="7202" y="16314"/>
                  </a:lnTo>
                  <a:lnTo>
                    <a:pt x="7684" y="15924"/>
                  </a:lnTo>
                  <a:lnTo>
                    <a:pt x="8872" y="15293"/>
                  </a:lnTo>
                  <a:lnTo>
                    <a:pt x="9540" y="15052"/>
                  </a:lnTo>
                  <a:lnTo>
                    <a:pt x="10264" y="14848"/>
                  </a:lnTo>
                  <a:lnTo>
                    <a:pt x="11804" y="14551"/>
                  </a:lnTo>
                  <a:lnTo>
                    <a:pt x="12621" y="14476"/>
                  </a:lnTo>
                  <a:lnTo>
                    <a:pt x="14272" y="14365"/>
                  </a:lnTo>
                  <a:lnTo>
                    <a:pt x="15813" y="14347"/>
                  </a:lnTo>
                  <a:close/>
                  <a:moveTo>
                    <a:pt x="12008" y="1"/>
                  </a:moveTo>
                  <a:lnTo>
                    <a:pt x="11284" y="19"/>
                  </a:lnTo>
                  <a:lnTo>
                    <a:pt x="9855" y="131"/>
                  </a:lnTo>
                  <a:lnTo>
                    <a:pt x="8445" y="390"/>
                  </a:lnTo>
                  <a:lnTo>
                    <a:pt x="7035" y="762"/>
                  </a:lnTo>
                  <a:lnTo>
                    <a:pt x="6348" y="1003"/>
                  </a:lnTo>
                  <a:lnTo>
                    <a:pt x="5327" y="1374"/>
                  </a:lnTo>
                  <a:lnTo>
                    <a:pt x="3434" y="2376"/>
                  </a:lnTo>
                  <a:lnTo>
                    <a:pt x="2580" y="3007"/>
                  </a:lnTo>
                  <a:lnTo>
                    <a:pt x="2339" y="3193"/>
                  </a:lnTo>
                  <a:lnTo>
                    <a:pt x="2061" y="3712"/>
                  </a:lnTo>
                  <a:lnTo>
                    <a:pt x="2005" y="4269"/>
                  </a:lnTo>
                  <a:lnTo>
                    <a:pt x="2191" y="4845"/>
                  </a:lnTo>
                  <a:lnTo>
                    <a:pt x="2358" y="5086"/>
                  </a:lnTo>
                  <a:lnTo>
                    <a:pt x="3712" y="6663"/>
                  </a:lnTo>
                  <a:lnTo>
                    <a:pt x="3898" y="6867"/>
                  </a:lnTo>
                  <a:lnTo>
                    <a:pt x="4381" y="7127"/>
                  </a:lnTo>
                  <a:lnTo>
                    <a:pt x="4900" y="7183"/>
                  </a:lnTo>
                  <a:lnTo>
                    <a:pt x="5420" y="7053"/>
                  </a:lnTo>
                  <a:lnTo>
                    <a:pt x="5661" y="6905"/>
                  </a:lnTo>
                  <a:lnTo>
                    <a:pt x="6107" y="6589"/>
                  </a:lnTo>
                  <a:lnTo>
                    <a:pt x="7127" y="5995"/>
                  </a:lnTo>
                  <a:lnTo>
                    <a:pt x="7684" y="5735"/>
                  </a:lnTo>
                  <a:lnTo>
                    <a:pt x="8129" y="5550"/>
                  </a:lnTo>
                  <a:lnTo>
                    <a:pt x="9057" y="5234"/>
                  </a:lnTo>
                  <a:lnTo>
                    <a:pt x="10022" y="5012"/>
                  </a:lnTo>
                  <a:lnTo>
                    <a:pt x="10988" y="4919"/>
                  </a:lnTo>
                  <a:lnTo>
                    <a:pt x="11489" y="4900"/>
                  </a:lnTo>
                  <a:lnTo>
                    <a:pt x="12064" y="4919"/>
                  </a:lnTo>
                  <a:lnTo>
                    <a:pt x="13159" y="5049"/>
                  </a:lnTo>
                  <a:lnTo>
                    <a:pt x="14161" y="5346"/>
                  </a:lnTo>
                  <a:lnTo>
                    <a:pt x="15089" y="5754"/>
                  </a:lnTo>
                  <a:lnTo>
                    <a:pt x="15534" y="6032"/>
                  </a:lnTo>
                  <a:lnTo>
                    <a:pt x="15924" y="6311"/>
                  </a:lnTo>
                  <a:lnTo>
                    <a:pt x="16574" y="7034"/>
                  </a:lnTo>
                  <a:lnTo>
                    <a:pt x="16982" y="7907"/>
                  </a:lnTo>
                  <a:lnTo>
                    <a:pt x="17205" y="8927"/>
                  </a:lnTo>
                  <a:lnTo>
                    <a:pt x="17223" y="9484"/>
                  </a:lnTo>
                  <a:lnTo>
                    <a:pt x="17223" y="10115"/>
                  </a:lnTo>
                  <a:lnTo>
                    <a:pt x="15757" y="10134"/>
                  </a:lnTo>
                  <a:lnTo>
                    <a:pt x="12769" y="10282"/>
                  </a:lnTo>
                  <a:lnTo>
                    <a:pt x="11247" y="10412"/>
                  </a:lnTo>
                  <a:lnTo>
                    <a:pt x="9744" y="10579"/>
                  </a:lnTo>
                  <a:lnTo>
                    <a:pt x="7647" y="11006"/>
                  </a:lnTo>
                  <a:lnTo>
                    <a:pt x="6329" y="11359"/>
                  </a:lnTo>
                  <a:lnTo>
                    <a:pt x="5698" y="11581"/>
                  </a:lnTo>
                  <a:lnTo>
                    <a:pt x="5067" y="11804"/>
                  </a:lnTo>
                  <a:lnTo>
                    <a:pt x="3935" y="12361"/>
                  </a:lnTo>
                  <a:lnTo>
                    <a:pt x="2914" y="12992"/>
                  </a:lnTo>
                  <a:lnTo>
                    <a:pt x="2005" y="13734"/>
                  </a:lnTo>
                  <a:lnTo>
                    <a:pt x="1597" y="14142"/>
                  </a:lnTo>
                  <a:lnTo>
                    <a:pt x="1207" y="14569"/>
                  </a:lnTo>
                  <a:lnTo>
                    <a:pt x="613" y="15553"/>
                  </a:lnTo>
                  <a:lnTo>
                    <a:pt x="223" y="16666"/>
                  </a:lnTo>
                  <a:lnTo>
                    <a:pt x="19" y="17928"/>
                  </a:lnTo>
                  <a:lnTo>
                    <a:pt x="1" y="18615"/>
                  </a:lnTo>
                  <a:lnTo>
                    <a:pt x="19" y="19172"/>
                  </a:lnTo>
                  <a:lnTo>
                    <a:pt x="131" y="20174"/>
                  </a:lnTo>
                  <a:lnTo>
                    <a:pt x="353" y="21083"/>
                  </a:lnTo>
                  <a:lnTo>
                    <a:pt x="706" y="21919"/>
                  </a:lnTo>
                  <a:lnTo>
                    <a:pt x="910" y="22308"/>
                  </a:lnTo>
                  <a:lnTo>
                    <a:pt x="1151" y="22661"/>
                  </a:lnTo>
                  <a:lnTo>
                    <a:pt x="1671" y="23348"/>
                  </a:lnTo>
                  <a:lnTo>
                    <a:pt x="2246" y="23941"/>
                  </a:lnTo>
                  <a:lnTo>
                    <a:pt x="2877" y="24461"/>
                  </a:lnTo>
                  <a:lnTo>
                    <a:pt x="3211" y="24702"/>
                  </a:lnTo>
                  <a:lnTo>
                    <a:pt x="3917" y="25129"/>
                  </a:lnTo>
                  <a:lnTo>
                    <a:pt x="5420" y="25779"/>
                  </a:lnTo>
                  <a:lnTo>
                    <a:pt x="6236" y="26001"/>
                  </a:lnTo>
                  <a:lnTo>
                    <a:pt x="7053" y="26187"/>
                  </a:lnTo>
                  <a:lnTo>
                    <a:pt x="8631" y="26373"/>
                  </a:lnTo>
                  <a:lnTo>
                    <a:pt x="9391" y="26391"/>
                  </a:lnTo>
                  <a:lnTo>
                    <a:pt x="10060" y="26391"/>
                  </a:lnTo>
                  <a:lnTo>
                    <a:pt x="11303" y="26243"/>
                  </a:lnTo>
                  <a:lnTo>
                    <a:pt x="12491" y="25983"/>
                  </a:lnTo>
                  <a:lnTo>
                    <a:pt x="13604" y="25575"/>
                  </a:lnTo>
                  <a:lnTo>
                    <a:pt x="14143" y="25315"/>
                  </a:lnTo>
                  <a:lnTo>
                    <a:pt x="14644" y="25055"/>
                  </a:lnTo>
                  <a:lnTo>
                    <a:pt x="15553" y="24442"/>
                  </a:lnTo>
                  <a:lnTo>
                    <a:pt x="16314" y="23756"/>
                  </a:lnTo>
                  <a:lnTo>
                    <a:pt x="16926" y="22995"/>
                  </a:lnTo>
                  <a:lnTo>
                    <a:pt x="17168" y="22587"/>
                  </a:lnTo>
                  <a:lnTo>
                    <a:pt x="17316" y="22587"/>
                  </a:lnTo>
                  <a:lnTo>
                    <a:pt x="17316" y="24313"/>
                  </a:lnTo>
                  <a:lnTo>
                    <a:pt x="17335" y="24610"/>
                  </a:lnTo>
                  <a:lnTo>
                    <a:pt x="17557" y="25129"/>
                  </a:lnTo>
                  <a:lnTo>
                    <a:pt x="17947" y="25519"/>
                  </a:lnTo>
                  <a:lnTo>
                    <a:pt x="18467" y="25742"/>
                  </a:lnTo>
                  <a:lnTo>
                    <a:pt x="18764" y="25760"/>
                  </a:lnTo>
                  <a:lnTo>
                    <a:pt x="21715" y="25760"/>
                  </a:lnTo>
                  <a:lnTo>
                    <a:pt x="22011" y="25742"/>
                  </a:lnTo>
                  <a:lnTo>
                    <a:pt x="22531" y="25519"/>
                  </a:lnTo>
                  <a:lnTo>
                    <a:pt x="22921" y="25129"/>
                  </a:lnTo>
                  <a:lnTo>
                    <a:pt x="23144" y="24610"/>
                  </a:lnTo>
                  <a:lnTo>
                    <a:pt x="23162" y="24313"/>
                  </a:lnTo>
                  <a:lnTo>
                    <a:pt x="23162" y="10542"/>
                  </a:lnTo>
                  <a:lnTo>
                    <a:pt x="23144" y="9596"/>
                  </a:lnTo>
                  <a:lnTo>
                    <a:pt x="22902" y="7721"/>
                  </a:lnTo>
                  <a:lnTo>
                    <a:pt x="22661" y="6775"/>
                  </a:lnTo>
                  <a:lnTo>
                    <a:pt x="22531" y="6311"/>
                  </a:lnTo>
                  <a:lnTo>
                    <a:pt x="22197" y="5420"/>
                  </a:lnTo>
                  <a:lnTo>
                    <a:pt x="21752" y="4566"/>
                  </a:lnTo>
                  <a:lnTo>
                    <a:pt x="21232" y="3768"/>
                  </a:lnTo>
                  <a:lnTo>
                    <a:pt x="20917" y="3378"/>
                  </a:lnTo>
                  <a:lnTo>
                    <a:pt x="20917" y="3397"/>
                  </a:lnTo>
                  <a:lnTo>
                    <a:pt x="20601" y="3026"/>
                  </a:lnTo>
                  <a:lnTo>
                    <a:pt x="19859" y="2339"/>
                  </a:lnTo>
                  <a:lnTo>
                    <a:pt x="19005" y="1727"/>
                  </a:lnTo>
                  <a:lnTo>
                    <a:pt x="18040" y="1188"/>
                  </a:lnTo>
                  <a:lnTo>
                    <a:pt x="17502" y="947"/>
                  </a:lnTo>
                  <a:lnTo>
                    <a:pt x="16945" y="724"/>
                  </a:lnTo>
                  <a:lnTo>
                    <a:pt x="15720" y="372"/>
                  </a:lnTo>
                  <a:lnTo>
                    <a:pt x="14347" y="131"/>
                  </a:lnTo>
                  <a:lnTo>
                    <a:pt x="12825" y="19"/>
                  </a:lnTo>
                  <a:lnTo>
                    <a:pt x="1200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43;p3"/>
            <p:cNvSpPr/>
            <p:nvPr/>
          </p:nvSpPr>
          <p:spPr>
            <a:xfrm>
              <a:off x="6545800" y="2664225"/>
              <a:ext cx="373975" cy="643550"/>
            </a:xfrm>
            <a:custGeom>
              <a:avLst/>
              <a:gdLst/>
              <a:ahLst/>
              <a:cxnLst/>
              <a:rect l="l" t="t" r="r" b="b"/>
              <a:pathLst>
                <a:path w="14959" h="25742" extrusionOk="0">
                  <a:moveTo>
                    <a:pt x="13400" y="1"/>
                  </a:moveTo>
                  <a:lnTo>
                    <a:pt x="13400" y="19"/>
                  </a:lnTo>
                  <a:lnTo>
                    <a:pt x="12639" y="75"/>
                  </a:lnTo>
                  <a:lnTo>
                    <a:pt x="11339" y="279"/>
                  </a:lnTo>
                  <a:lnTo>
                    <a:pt x="10300" y="613"/>
                  </a:lnTo>
                  <a:lnTo>
                    <a:pt x="9409" y="1059"/>
                  </a:lnTo>
                  <a:lnTo>
                    <a:pt x="9020" y="1318"/>
                  </a:lnTo>
                  <a:lnTo>
                    <a:pt x="8556" y="1671"/>
                  </a:lnTo>
                  <a:lnTo>
                    <a:pt x="7721" y="2451"/>
                  </a:lnTo>
                  <a:lnTo>
                    <a:pt x="6997" y="3341"/>
                  </a:lnTo>
                  <a:lnTo>
                    <a:pt x="6366" y="4325"/>
                  </a:lnTo>
                  <a:lnTo>
                    <a:pt x="6106" y="4863"/>
                  </a:lnTo>
                  <a:lnTo>
                    <a:pt x="5995" y="4863"/>
                  </a:lnTo>
                  <a:lnTo>
                    <a:pt x="5995" y="2135"/>
                  </a:lnTo>
                  <a:lnTo>
                    <a:pt x="5976" y="1838"/>
                  </a:lnTo>
                  <a:lnTo>
                    <a:pt x="5753" y="1318"/>
                  </a:lnTo>
                  <a:lnTo>
                    <a:pt x="5364" y="929"/>
                  </a:lnTo>
                  <a:lnTo>
                    <a:pt x="4844" y="706"/>
                  </a:lnTo>
                  <a:lnTo>
                    <a:pt x="4547" y="687"/>
                  </a:lnTo>
                  <a:lnTo>
                    <a:pt x="1448" y="687"/>
                  </a:lnTo>
                  <a:lnTo>
                    <a:pt x="1151" y="706"/>
                  </a:lnTo>
                  <a:lnTo>
                    <a:pt x="631" y="929"/>
                  </a:lnTo>
                  <a:lnTo>
                    <a:pt x="241" y="1318"/>
                  </a:lnTo>
                  <a:lnTo>
                    <a:pt x="19" y="1838"/>
                  </a:lnTo>
                  <a:lnTo>
                    <a:pt x="0" y="2135"/>
                  </a:lnTo>
                  <a:lnTo>
                    <a:pt x="0" y="24276"/>
                  </a:lnTo>
                  <a:lnTo>
                    <a:pt x="19" y="24573"/>
                  </a:lnTo>
                  <a:lnTo>
                    <a:pt x="241" y="25092"/>
                  </a:lnTo>
                  <a:lnTo>
                    <a:pt x="631" y="25500"/>
                  </a:lnTo>
                  <a:lnTo>
                    <a:pt x="1151" y="25705"/>
                  </a:lnTo>
                  <a:lnTo>
                    <a:pt x="1448" y="25742"/>
                  </a:lnTo>
                  <a:lnTo>
                    <a:pt x="4807" y="25742"/>
                  </a:lnTo>
                  <a:lnTo>
                    <a:pt x="5104" y="25705"/>
                  </a:lnTo>
                  <a:lnTo>
                    <a:pt x="5623" y="25500"/>
                  </a:lnTo>
                  <a:lnTo>
                    <a:pt x="6013" y="25092"/>
                  </a:lnTo>
                  <a:lnTo>
                    <a:pt x="6236" y="24573"/>
                  </a:lnTo>
                  <a:lnTo>
                    <a:pt x="6254" y="24276"/>
                  </a:lnTo>
                  <a:lnTo>
                    <a:pt x="6254" y="12324"/>
                  </a:lnTo>
                  <a:lnTo>
                    <a:pt x="6273" y="11971"/>
                  </a:lnTo>
                  <a:lnTo>
                    <a:pt x="6403" y="11062"/>
                  </a:lnTo>
                  <a:lnTo>
                    <a:pt x="6514" y="10505"/>
                  </a:lnTo>
                  <a:lnTo>
                    <a:pt x="6663" y="9930"/>
                  </a:lnTo>
                  <a:lnTo>
                    <a:pt x="7164" y="8816"/>
                  </a:lnTo>
                  <a:lnTo>
                    <a:pt x="7516" y="8259"/>
                  </a:lnTo>
                  <a:lnTo>
                    <a:pt x="7906" y="7721"/>
                  </a:lnTo>
                  <a:lnTo>
                    <a:pt x="8908" y="6775"/>
                  </a:lnTo>
                  <a:lnTo>
                    <a:pt x="9539" y="6385"/>
                  </a:lnTo>
                  <a:lnTo>
                    <a:pt x="10170" y="6014"/>
                  </a:lnTo>
                  <a:lnTo>
                    <a:pt x="11636" y="5439"/>
                  </a:lnTo>
                  <a:lnTo>
                    <a:pt x="12917" y="5142"/>
                  </a:lnTo>
                  <a:lnTo>
                    <a:pt x="13678" y="5030"/>
                  </a:lnTo>
                  <a:lnTo>
                    <a:pt x="13938" y="4993"/>
                  </a:lnTo>
                  <a:lnTo>
                    <a:pt x="14420" y="4752"/>
                  </a:lnTo>
                  <a:lnTo>
                    <a:pt x="14754" y="4344"/>
                  </a:lnTo>
                  <a:lnTo>
                    <a:pt x="14940" y="3861"/>
                  </a:lnTo>
                  <a:lnTo>
                    <a:pt x="14958" y="3583"/>
                  </a:lnTo>
                  <a:lnTo>
                    <a:pt x="14940" y="1430"/>
                  </a:lnTo>
                  <a:lnTo>
                    <a:pt x="14903" y="1133"/>
                  </a:lnTo>
                  <a:lnTo>
                    <a:pt x="14661" y="595"/>
                  </a:lnTo>
                  <a:lnTo>
                    <a:pt x="14253" y="205"/>
                  </a:lnTo>
                  <a:lnTo>
                    <a:pt x="1369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44;p3"/>
            <p:cNvSpPr/>
            <p:nvPr/>
          </p:nvSpPr>
          <p:spPr>
            <a:xfrm>
              <a:off x="6961975" y="2500450"/>
              <a:ext cx="420375" cy="820325"/>
            </a:xfrm>
            <a:custGeom>
              <a:avLst/>
              <a:gdLst/>
              <a:ahLst/>
              <a:cxnLst/>
              <a:rect l="l" t="t" r="r" b="b"/>
              <a:pathLst>
                <a:path w="16815" h="32813" extrusionOk="0">
                  <a:moveTo>
                    <a:pt x="5846" y="1"/>
                  </a:moveTo>
                  <a:lnTo>
                    <a:pt x="5549" y="19"/>
                  </a:lnTo>
                  <a:lnTo>
                    <a:pt x="5030" y="242"/>
                  </a:lnTo>
                  <a:lnTo>
                    <a:pt x="4621" y="632"/>
                  </a:lnTo>
                  <a:lnTo>
                    <a:pt x="4417" y="1151"/>
                  </a:lnTo>
                  <a:lnTo>
                    <a:pt x="4399" y="1448"/>
                  </a:lnTo>
                  <a:lnTo>
                    <a:pt x="4399" y="6515"/>
                  </a:lnTo>
                  <a:lnTo>
                    <a:pt x="1448" y="6515"/>
                  </a:lnTo>
                  <a:lnTo>
                    <a:pt x="1169" y="6533"/>
                  </a:lnTo>
                  <a:lnTo>
                    <a:pt x="650" y="6756"/>
                  </a:lnTo>
                  <a:lnTo>
                    <a:pt x="242" y="7146"/>
                  </a:lnTo>
                  <a:lnTo>
                    <a:pt x="19" y="7665"/>
                  </a:lnTo>
                  <a:lnTo>
                    <a:pt x="0" y="7962"/>
                  </a:lnTo>
                  <a:lnTo>
                    <a:pt x="0" y="10078"/>
                  </a:lnTo>
                  <a:lnTo>
                    <a:pt x="19" y="10375"/>
                  </a:lnTo>
                  <a:lnTo>
                    <a:pt x="242" y="10895"/>
                  </a:lnTo>
                  <a:lnTo>
                    <a:pt x="650" y="11284"/>
                  </a:lnTo>
                  <a:lnTo>
                    <a:pt x="1169" y="11507"/>
                  </a:lnTo>
                  <a:lnTo>
                    <a:pt x="1448" y="11526"/>
                  </a:lnTo>
                  <a:lnTo>
                    <a:pt x="4399" y="11526"/>
                  </a:lnTo>
                  <a:lnTo>
                    <a:pt x="4399" y="23941"/>
                  </a:lnTo>
                  <a:lnTo>
                    <a:pt x="4399" y="24851"/>
                  </a:lnTo>
                  <a:lnTo>
                    <a:pt x="4566" y="26558"/>
                  </a:lnTo>
                  <a:lnTo>
                    <a:pt x="4733" y="27356"/>
                  </a:lnTo>
                  <a:lnTo>
                    <a:pt x="4918" y="28136"/>
                  </a:lnTo>
                  <a:lnTo>
                    <a:pt x="5549" y="29546"/>
                  </a:lnTo>
                  <a:lnTo>
                    <a:pt x="5976" y="30177"/>
                  </a:lnTo>
                  <a:lnTo>
                    <a:pt x="6217" y="30474"/>
                  </a:lnTo>
                  <a:lnTo>
                    <a:pt x="6756" y="31031"/>
                  </a:lnTo>
                  <a:lnTo>
                    <a:pt x="7368" y="31513"/>
                  </a:lnTo>
                  <a:lnTo>
                    <a:pt x="8073" y="31922"/>
                  </a:lnTo>
                  <a:lnTo>
                    <a:pt x="8463" y="32107"/>
                  </a:lnTo>
                  <a:lnTo>
                    <a:pt x="8853" y="32274"/>
                  </a:lnTo>
                  <a:lnTo>
                    <a:pt x="9762" y="32534"/>
                  </a:lnTo>
                  <a:lnTo>
                    <a:pt x="10783" y="32720"/>
                  </a:lnTo>
                  <a:lnTo>
                    <a:pt x="11915" y="32794"/>
                  </a:lnTo>
                  <a:lnTo>
                    <a:pt x="12527" y="32812"/>
                  </a:lnTo>
                  <a:lnTo>
                    <a:pt x="13047" y="32794"/>
                  </a:lnTo>
                  <a:lnTo>
                    <a:pt x="14142" y="32701"/>
                  </a:lnTo>
                  <a:lnTo>
                    <a:pt x="14717" y="32627"/>
                  </a:lnTo>
                  <a:lnTo>
                    <a:pt x="15274" y="32534"/>
                  </a:lnTo>
                  <a:lnTo>
                    <a:pt x="16276" y="32274"/>
                  </a:lnTo>
                  <a:lnTo>
                    <a:pt x="16703" y="32126"/>
                  </a:lnTo>
                  <a:lnTo>
                    <a:pt x="16499" y="27226"/>
                  </a:lnTo>
                  <a:lnTo>
                    <a:pt x="15887" y="27467"/>
                  </a:lnTo>
                  <a:lnTo>
                    <a:pt x="15181" y="27616"/>
                  </a:lnTo>
                  <a:lnTo>
                    <a:pt x="14476" y="27727"/>
                  </a:lnTo>
                  <a:lnTo>
                    <a:pt x="13827" y="27746"/>
                  </a:lnTo>
                  <a:lnTo>
                    <a:pt x="13326" y="27746"/>
                  </a:lnTo>
                  <a:lnTo>
                    <a:pt x="12472" y="27597"/>
                  </a:lnTo>
                  <a:lnTo>
                    <a:pt x="11804" y="27319"/>
                  </a:lnTo>
                  <a:lnTo>
                    <a:pt x="11303" y="26911"/>
                  </a:lnTo>
                  <a:lnTo>
                    <a:pt x="11154" y="26651"/>
                  </a:lnTo>
                  <a:lnTo>
                    <a:pt x="11006" y="26372"/>
                  </a:lnTo>
                  <a:lnTo>
                    <a:pt x="10783" y="25760"/>
                  </a:lnTo>
                  <a:lnTo>
                    <a:pt x="10560" y="24702"/>
                  </a:lnTo>
                  <a:lnTo>
                    <a:pt x="10542" y="23886"/>
                  </a:lnTo>
                  <a:lnTo>
                    <a:pt x="10542" y="11526"/>
                  </a:lnTo>
                  <a:lnTo>
                    <a:pt x="15367" y="11526"/>
                  </a:lnTo>
                  <a:lnTo>
                    <a:pt x="15645" y="11507"/>
                  </a:lnTo>
                  <a:lnTo>
                    <a:pt x="16165" y="11284"/>
                  </a:lnTo>
                  <a:lnTo>
                    <a:pt x="16573" y="10895"/>
                  </a:lnTo>
                  <a:lnTo>
                    <a:pt x="16796" y="10375"/>
                  </a:lnTo>
                  <a:lnTo>
                    <a:pt x="16815" y="10078"/>
                  </a:lnTo>
                  <a:lnTo>
                    <a:pt x="16815" y="7962"/>
                  </a:lnTo>
                  <a:lnTo>
                    <a:pt x="16796" y="7665"/>
                  </a:lnTo>
                  <a:lnTo>
                    <a:pt x="16573" y="7146"/>
                  </a:lnTo>
                  <a:lnTo>
                    <a:pt x="16165" y="6756"/>
                  </a:lnTo>
                  <a:lnTo>
                    <a:pt x="15645" y="6533"/>
                  </a:lnTo>
                  <a:lnTo>
                    <a:pt x="15367" y="6515"/>
                  </a:lnTo>
                  <a:lnTo>
                    <a:pt x="10542" y="6515"/>
                  </a:lnTo>
                  <a:lnTo>
                    <a:pt x="10542" y="1448"/>
                  </a:lnTo>
                  <a:lnTo>
                    <a:pt x="10523" y="1151"/>
                  </a:lnTo>
                  <a:lnTo>
                    <a:pt x="10300" y="632"/>
                  </a:lnTo>
                  <a:lnTo>
                    <a:pt x="9911" y="242"/>
                  </a:lnTo>
                  <a:lnTo>
                    <a:pt x="9391" y="19"/>
                  </a:lnTo>
                  <a:lnTo>
                    <a:pt x="909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45;p3"/>
            <p:cNvSpPr/>
            <p:nvPr/>
          </p:nvSpPr>
          <p:spPr>
            <a:xfrm>
              <a:off x="4511750" y="2466575"/>
              <a:ext cx="655150" cy="841200"/>
            </a:xfrm>
            <a:custGeom>
              <a:avLst/>
              <a:gdLst/>
              <a:ahLst/>
              <a:cxnLst/>
              <a:rect l="l" t="t" r="r" b="b"/>
              <a:pathLst>
                <a:path w="26206" h="33648" extrusionOk="0">
                  <a:moveTo>
                    <a:pt x="1466" y="1"/>
                  </a:moveTo>
                  <a:lnTo>
                    <a:pt x="1169" y="19"/>
                  </a:lnTo>
                  <a:lnTo>
                    <a:pt x="650" y="242"/>
                  </a:lnTo>
                  <a:lnTo>
                    <a:pt x="241" y="632"/>
                  </a:lnTo>
                  <a:lnTo>
                    <a:pt x="19" y="1151"/>
                  </a:lnTo>
                  <a:lnTo>
                    <a:pt x="0" y="1448"/>
                  </a:lnTo>
                  <a:lnTo>
                    <a:pt x="0" y="32200"/>
                  </a:lnTo>
                  <a:lnTo>
                    <a:pt x="19" y="32497"/>
                  </a:lnTo>
                  <a:lnTo>
                    <a:pt x="241" y="33017"/>
                  </a:lnTo>
                  <a:lnTo>
                    <a:pt x="650" y="33406"/>
                  </a:lnTo>
                  <a:lnTo>
                    <a:pt x="1169" y="33629"/>
                  </a:lnTo>
                  <a:lnTo>
                    <a:pt x="1466" y="33648"/>
                  </a:lnTo>
                  <a:lnTo>
                    <a:pt x="4825" y="33648"/>
                  </a:lnTo>
                  <a:lnTo>
                    <a:pt x="5122" y="33629"/>
                  </a:lnTo>
                  <a:lnTo>
                    <a:pt x="5642" y="33406"/>
                  </a:lnTo>
                  <a:lnTo>
                    <a:pt x="6032" y="33017"/>
                  </a:lnTo>
                  <a:lnTo>
                    <a:pt x="6255" y="32497"/>
                  </a:lnTo>
                  <a:lnTo>
                    <a:pt x="6273" y="32200"/>
                  </a:lnTo>
                  <a:lnTo>
                    <a:pt x="6273" y="18133"/>
                  </a:lnTo>
                  <a:lnTo>
                    <a:pt x="19932" y="18133"/>
                  </a:lnTo>
                  <a:lnTo>
                    <a:pt x="19932" y="32200"/>
                  </a:lnTo>
                  <a:lnTo>
                    <a:pt x="19951" y="32497"/>
                  </a:lnTo>
                  <a:lnTo>
                    <a:pt x="20174" y="33017"/>
                  </a:lnTo>
                  <a:lnTo>
                    <a:pt x="20563" y="33406"/>
                  </a:lnTo>
                  <a:lnTo>
                    <a:pt x="21083" y="33629"/>
                  </a:lnTo>
                  <a:lnTo>
                    <a:pt x="21380" y="33648"/>
                  </a:lnTo>
                  <a:lnTo>
                    <a:pt x="24758" y="33648"/>
                  </a:lnTo>
                  <a:lnTo>
                    <a:pt x="25036" y="33629"/>
                  </a:lnTo>
                  <a:lnTo>
                    <a:pt x="25556" y="33406"/>
                  </a:lnTo>
                  <a:lnTo>
                    <a:pt x="25964" y="33017"/>
                  </a:lnTo>
                  <a:lnTo>
                    <a:pt x="26187" y="32497"/>
                  </a:lnTo>
                  <a:lnTo>
                    <a:pt x="26205" y="32200"/>
                  </a:lnTo>
                  <a:lnTo>
                    <a:pt x="26205" y="1448"/>
                  </a:lnTo>
                  <a:lnTo>
                    <a:pt x="26187" y="1151"/>
                  </a:lnTo>
                  <a:lnTo>
                    <a:pt x="25964" y="632"/>
                  </a:lnTo>
                  <a:lnTo>
                    <a:pt x="25556" y="242"/>
                  </a:lnTo>
                  <a:lnTo>
                    <a:pt x="25036" y="19"/>
                  </a:lnTo>
                  <a:lnTo>
                    <a:pt x="24758" y="1"/>
                  </a:lnTo>
                  <a:lnTo>
                    <a:pt x="21380" y="1"/>
                  </a:lnTo>
                  <a:lnTo>
                    <a:pt x="21083" y="19"/>
                  </a:lnTo>
                  <a:lnTo>
                    <a:pt x="20563" y="242"/>
                  </a:lnTo>
                  <a:lnTo>
                    <a:pt x="20174" y="632"/>
                  </a:lnTo>
                  <a:lnTo>
                    <a:pt x="19951" y="1151"/>
                  </a:lnTo>
                  <a:lnTo>
                    <a:pt x="19932" y="1448"/>
                  </a:lnTo>
                  <a:lnTo>
                    <a:pt x="19932" y="13641"/>
                  </a:lnTo>
                  <a:lnTo>
                    <a:pt x="6273" y="13641"/>
                  </a:lnTo>
                  <a:lnTo>
                    <a:pt x="6273" y="1448"/>
                  </a:lnTo>
                  <a:lnTo>
                    <a:pt x="6255" y="1151"/>
                  </a:lnTo>
                  <a:lnTo>
                    <a:pt x="6032" y="632"/>
                  </a:lnTo>
                  <a:lnTo>
                    <a:pt x="5642" y="242"/>
                  </a:lnTo>
                  <a:lnTo>
                    <a:pt x="5122" y="19"/>
                  </a:lnTo>
                  <a:lnTo>
                    <a:pt x="482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" name="Google Shape;46;p3"/>
            <p:cNvSpPr/>
            <p:nvPr/>
          </p:nvSpPr>
          <p:spPr>
            <a:xfrm>
              <a:off x="2392800" y="2663300"/>
              <a:ext cx="633800" cy="662575"/>
            </a:xfrm>
            <a:custGeom>
              <a:avLst/>
              <a:gdLst/>
              <a:ahLst/>
              <a:cxnLst/>
              <a:rect l="l" t="t" r="r" b="b"/>
              <a:pathLst>
                <a:path w="25352" h="26503" extrusionOk="0">
                  <a:moveTo>
                    <a:pt x="13195" y="4696"/>
                  </a:moveTo>
                  <a:lnTo>
                    <a:pt x="13938" y="4715"/>
                  </a:lnTo>
                  <a:lnTo>
                    <a:pt x="15255" y="4974"/>
                  </a:lnTo>
                  <a:lnTo>
                    <a:pt x="15831" y="5197"/>
                  </a:lnTo>
                  <a:lnTo>
                    <a:pt x="16369" y="5457"/>
                  </a:lnTo>
                  <a:lnTo>
                    <a:pt x="17297" y="6125"/>
                  </a:lnTo>
                  <a:lnTo>
                    <a:pt x="17687" y="6515"/>
                  </a:lnTo>
                  <a:lnTo>
                    <a:pt x="18039" y="6942"/>
                  </a:lnTo>
                  <a:lnTo>
                    <a:pt x="18559" y="7907"/>
                  </a:lnTo>
                  <a:lnTo>
                    <a:pt x="18745" y="8445"/>
                  </a:lnTo>
                  <a:lnTo>
                    <a:pt x="18912" y="9002"/>
                  </a:lnTo>
                  <a:lnTo>
                    <a:pt x="19079" y="10152"/>
                  </a:lnTo>
                  <a:lnTo>
                    <a:pt x="19097" y="10746"/>
                  </a:lnTo>
                  <a:lnTo>
                    <a:pt x="6254" y="10746"/>
                  </a:lnTo>
                  <a:lnTo>
                    <a:pt x="6329" y="10097"/>
                  </a:lnTo>
                  <a:lnTo>
                    <a:pt x="6663" y="8890"/>
                  </a:lnTo>
                  <a:lnTo>
                    <a:pt x="7201" y="7795"/>
                  </a:lnTo>
                  <a:lnTo>
                    <a:pt x="7962" y="6830"/>
                  </a:lnTo>
                  <a:lnTo>
                    <a:pt x="8426" y="6403"/>
                  </a:lnTo>
                  <a:lnTo>
                    <a:pt x="8927" y="5995"/>
                  </a:lnTo>
                  <a:lnTo>
                    <a:pt x="10003" y="5346"/>
                  </a:lnTo>
                  <a:lnTo>
                    <a:pt x="11210" y="4937"/>
                  </a:lnTo>
                  <a:lnTo>
                    <a:pt x="12509" y="4715"/>
                  </a:lnTo>
                  <a:lnTo>
                    <a:pt x="13195" y="4696"/>
                  </a:lnTo>
                  <a:close/>
                  <a:moveTo>
                    <a:pt x="13251" y="1"/>
                  </a:moveTo>
                  <a:lnTo>
                    <a:pt x="12546" y="19"/>
                  </a:lnTo>
                  <a:lnTo>
                    <a:pt x="11191" y="131"/>
                  </a:lnTo>
                  <a:lnTo>
                    <a:pt x="9873" y="372"/>
                  </a:lnTo>
                  <a:lnTo>
                    <a:pt x="8611" y="743"/>
                  </a:lnTo>
                  <a:lnTo>
                    <a:pt x="8018" y="966"/>
                  </a:lnTo>
                  <a:lnTo>
                    <a:pt x="7405" y="1226"/>
                  </a:lnTo>
                  <a:lnTo>
                    <a:pt x="6273" y="1801"/>
                  </a:lnTo>
                  <a:lnTo>
                    <a:pt x="5234" y="2469"/>
                  </a:lnTo>
                  <a:lnTo>
                    <a:pt x="4269" y="3248"/>
                  </a:lnTo>
                  <a:lnTo>
                    <a:pt x="3805" y="3675"/>
                  </a:lnTo>
                  <a:lnTo>
                    <a:pt x="3378" y="4121"/>
                  </a:lnTo>
                  <a:lnTo>
                    <a:pt x="2580" y="5086"/>
                  </a:lnTo>
                  <a:lnTo>
                    <a:pt x="1875" y="6144"/>
                  </a:lnTo>
                  <a:lnTo>
                    <a:pt x="1281" y="7294"/>
                  </a:lnTo>
                  <a:lnTo>
                    <a:pt x="1021" y="7907"/>
                  </a:lnTo>
                  <a:lnTo>
                    <a:pt x="780" y="8538"/>
                  </a:lnTo>
                  <a:lnTo>
                    <a:pt x="390" y="9837"/>
                  </a:lnTo>
                  <a:lnTo>
                    <a:pt x="130" y="11210"/>
                  </a:lnTo>
                  <a:lnTo>
                    <a:pt x="19" y="12658"/>
                  </a:lnTo>
                  <a:lnTo>
                    <a:pt x="0" y="13400"/>
                  </a:lnTo>
                  <a:lnTo>
                    <a:pt x="19" y="14161"/>
                  </a:lnTo>
                  <a:lnTo>
                    <a:pt x="130" y="15609"/>
                  </a:lnTo>
                  <a:lnTo>
                    <a:pt x="390" y="17000"/>
                  </a:lnTo>
                  <a:lnTo>
                    <a:pt x="780" y="18300"/>
                  </a:lnTo>
                  <a:lnTo>
                    <a:pt x="1021" y="18912"/>
                  </a:lnTo>
                  <a:lnTo>
                    <a:pt x="1281" y="19506"/>
                  </a:lnTo>
                  <a:lnTo>
                    <a:pt x="1893" y="20619"/>
                  </a:lnTo>
                  <a:lnTo>
                    <a:pt x="2598" y="21659"/>
                  </a:lnTo>
                  <a:lnTo>
                    <a:pt x="3396" y="22587"/>
                  </a:lnTo>
                  <a:lnTo>
                    <a:pt x="3842" y="23013"/>
                  </a:lnTo>
                  <a:lnTo>
                    <a:pt x="4287" y="23422"/>
                  </a:lnTo>
                  <a:lnTo>
                    <a:pt x="5271" y="24146"/>
                  </a:lnTo>
                  <a:lnTo>
                    <a:pt x="6329" y="24795"/>
                  </a:lnTo>
                  <a:lnTo>
                    <a:pt x="7479" y="25352"/>
                  </a:lnTo>
                  <a:lnTo>
                    <a:pt x="8092" y="25593"/>
                  </a:lnTo>
                  <a:lnTo>
                    <a:pt x="8704" y="25797"/>
                  </a:lnTo>
                  <a:lnTo>
                    <a:pt x="9985" y="26150"/>
                  </a:lnTo>
                  <a:lnTo>
                    <a:pt x="11340" y="26373"/>
                  </a:lnTo>
                  <a:lnTo>
                    <a:pt x="12731" y="26484"/>
                  </a:lnTo>
                  <a:lnTo>
                    <a:pt x="13455" y="26503"/>
                  </a:lnTo>
                  <a:lnTo>
                    <a:pt x="14216" y="26484"/>
                  </a:lnTo>
                  <a:lnTo>
                    <a:pt x="15682" y="26373"/>
                  </a:lnTo>
                  <a:lnTo>
                    <a:pt x="17074" y="26131"/>
                  </a:lnTo>
                  <a:lnTo>
                    <a:pt x="18373" y="25760"/>
                  </a:lnTo>
                  <a:lnTo>
                    <a:pt x="19598" y="25296"/>
                  </a:lnTo>
                  <a:lnTo>
                    <a:pt x="20730" y="24684"/>
                  </a:lnTo>
                  <a:lnTo>
                    <a:pt x="21788" y="23960"/>
                  </a:lnTo>
                  <a:lnTo>
                    <a:pt x="22772" y="23125"/>
                  </a:lnTo>
                  <a:lnTo>
                    <a:pt x="23236" y="22661"/>
                  </a:lnTo>
                  <a:lnTo>
                    <a:pt x="23421" y="22420"/>
                  </a:lnTo>
                  <a:lnTo>
                    <a:pt x="23607" y="21863"/>
                  </a:lnTo>
                  <a:lnTo>
                    <a:pt x="23551" y="21288"/>
                  </a:lnTo>
                  <a:lnTo>
                    <a:pt x="23273" y="20768"/>
                  </a:lnTo>
                  <a:lnTo>
                    <a:pt x="23050" y="20564"/>
                  </a:lnTo>
                  <a:lnTo>
                    <a:pt x="21139" y="19042"/>
                  </a:lnTo>
                  <a:lnTo>
                    <a:pt x="20916" y="18875"/>
                  </a:lnTo>
                  <a:lnTo>
                    <a:pt x="20415" y="18726"/>
                  </a:lnTo>
                  <a:lnTo>
                    <a:pt x="19914" y="18745"/>
                  </a:lnTo>
                  <a:lnTo>
                    <a:pt x="19431" y="18949"/>
                  </a:lnTo>
                  <a:lnTo>
                    <a:pt x="19227" y="19135"/>
                  </a:lnTo>
                  <a:lnTo>
                    <a:pt x="18819" y="19543"/>
                  </a:lnTo>
                  <a:lnTo>
                    <a:pt x="17891" y="20230"/>
                  </a:lnTo>
                  <a:lnTo>
                    <a:pt x="17371" y="20527"/>
                  </a:lnTo>
                  <a:lnTo>
                    <a:pt x="16963" y="20731"/>
                  </a:lnTo>
                  <a:lnTo>
                    <a:pt x="16053" y="21046"/>
                  </a:lnTo>
                  <a:lnTo>
                    <a:pt x="15070" y="21269"/>
                  </a:lnTo>
                  <a:lnTo>
                    <a:pt x="13993" y="21380"/>
                  </a:lnTo>
                  <a:lnTo>
                    <a:pt x="13400" y="21380"/>
                  </a:lnTo>
                  <a:lnTo>
                    <a:pt x="12731" y="21362"/>
                  </a:lnTo>
                  <a:lnTo>
                    <a:pt x="11432" y="21120"/>
                  </a:lnTo>
                  <a:lnTo>
                    <a:pt x="10801" y="20916"/>
                  </a:lnTo>
                  <a:lnTo>
                    <a:pt x="10189" y="20657"/>
                  </a:lnTo>
                  <a:lnTo>
                    <a:pt x="9057" y="20026"/>
                  </a:lnTo>
                  <a:lnTo>
                    <a:pt x="8556" y="19636"/>
                  </a:lnTo>
                  <a:lnTo>
                    <a:pt x="8073" y="19209"/>
                  </a:lnTo>
                  <a:lnTo>
                    <a:pt x="7275" y="18244"/>
                  </a:lnTo>
                  <a:lnTo>
                    <a:pt x="6960" y="17706"/>
                  </a:lnTo>
                  <a:lnTo>
                    <a:pt x="6681" y="17130"/>
                  </a:lnTo>
                  <a:lnTo>
                    <a:pt x="6329" y="15905"/>
                  </a:lnTo>
                  <a:lnTo>
                    <a:pt x="6254" y="15237"/>
                  </a:lnTo>
                  <a:lnTo>
                    <a:pt x="23904" y="15237"/>
                  </a:lnTo>
                  <a:lnTo>
                    <a:pt x="24201" y="15200"/>
                  </a:lnTo>
                  <a:lnTo>
                    <a:pt x="24702" y="14996"/>
                  </a:lnTo>
                  <a:lnTo>
                    <a:pt x="25110" y="14606"/>
                  </a:lnTo>
                  <a:lnTo>
                    <a:pt x="25333" y="14087"/>
                  </a:lnTo>
                  <a:lnTo>
                    <a:pt x="25351" y="13790"/>
                  </a:lnTo>
                  <a:lnTo>
                    <a:pt x="25351" y="13567"/>
                  </a:lnTo>
                  <a:lnTo>
                    <a:pt x="25333" y="12713"/>
                  </a:lnTo>
                  <a:lnTo>
                    <a:pt x="25222" y="11136"/>
                  </a:lnTo>
                  <a:lnTo>
                    <a:pt x="24999" y="9651"/>
                  </a:lnTo>
                  <a:lnTo>
                    <a:pt x="24665" y="8278"/>
                  </a:lnTo>
                  <a:lnTo>
                    <a:pt x="24442" y="7647"/>
                  </a:lnTo>
                  <a:lnTo>
                    <a:pt x="24201" y="7016"/>
                  </a:lnTo>
                  <a:lnTo>
                    <a:pt x="23663" y="5847"/>
                  </a:lnTo>
                  <a:lnTo>
                    <a:pt x="23032" y="4807"/>
                  </a:lnTo>
                  <a:lnTo>
                    <a:pt x="22308" y="3842"/>
                  </a:lnTo>
                  <a:lnTo>
                    <a:pt x="21900" y="3415"/>
                  </a:lnTo>
                  <a:lnTo>
                    <a:pt x="21918" y="3415"/>
                  </a:lnTo>
                  <a:lnTo>
                    <a:pt x="21491" y="3007"/>
                  </a:lnTo>
                  <a:lnTo>
                    <a:pt x="20619" y="2265"/>
                  </a:lnTo>
                  <a:lnTo>
                    <a:pt x="19654" y="1615"/>
                  </a:lnTo>
                  <a:lnTo>
                    <a:pt x="18633" y="1096"/>
                  </a:lnTo>
                  <a:lnTo>
                    <a:pt x="18076" y="873"/>
                  </a:lnTo>
                  <a:lnTo>
                    <a:pt x="17520" y="650"/>
                  </a:lnTo>
                  <a:lnTo>
                    <a:pt x="16369" y="335"/>
                  </a:lnTo>
                  <a:lnTo>
                    <a:pt x="15163" y="112"/>
                  </a:lnTo>
                  <a:lnTo>
                    <a:pt x="13901" y="19"/>
                  </a:lnTo>
                  <a:lnTo>
                    <a:pt x="1325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" name="Google Shape;47;p3"/>
            <p:cNvSpPr/>
            <p:nvPr/>
          </p:nvSpPr>
          <p:spPr>
            <a:xfrm>
              <a:off x="237650" y="2349675"/>
              <a:ext cx="1219800" cy="1015625"/>
            </a:xfrm>
            <a:custGeom>
              <a:avLst/>
              <a:gdLst/>
              <a:ahLst/>
              <a:cxnLst/>
              <a:rect l="l" t="t" r="r" b="b"/>
              <a:pathLst>
                <a:path w="48792" h="40625" extrusionOk="0">
                  <a:moveTo>
                    <a:pt x="11915" y="0"/>
                  </a:moveTo>
                  <a:lnTo>
                    <a:pt x="10746" y="93"/>
                  </a:lnTo>
                  <a:lnTo>
                    <a:pt x="9614" y="297"/>
                  </a:lnTo>
                  <a:lnTo>
                    <a:pt x="8500" y="612"/>
                  </a:lnTo>
                  <a:lnTo>
                    <a:pt x="7443" y="1039"/>
                  </a:lnTo>
                  <a:lnTo>
                    <a:pt x="6422" y="1559"/>
                  </a:lnTo>
                  <a:lnTo>
                    <a:pt x="5457" y="2171"/>
                  </a:lnTo>
                  <a:lnTo>
                    <a:pt x="4547" y="2858"/>
                  </a:lnTo>
                  <a:lnTo>
                    <a:pt x="3712" y="3638"/>
                  </a:lnTo>
                  <a:lnTo>
                    <a:pt x="2933" y="4491"/>
                  </a:lnTo>
                  <a:lnTo>
                    <a:pt x="2246" y="5419"/>
                  </a:lnTo>
                  <a:lnTo>
                    <a:pt x="1634" y="6403"/>
                  </a:lnTo>
                  <a:lnTo>
                    <a:pt x="1114" y="7442"/>
                  </a:lnTo>
                  <a:lnTo>
                    <a:pt x="687" y="8556"/>
                  </a:lnTo>
                  <a:lnTo>
                    <a:pt x="372" y="9688"/>
                  </a:lnTo>
                  <a:lnTo>
                    <a:pt x="149" y="10875"/>
                  </a:lnTo>
                  <a:lnTo>
                    <a:pt x="75" y="11488"/>
                  </a:lnTo>
                  <a:lnTo>
                    <a:pt x="0" y="12583"/>
                  </a:lnTo>
                  <a:lnTo>
                    <a:pt x="130" y="14736"/>
                  </a:lnTo>
                  <a:lnTo>
                    <a:pt x="539" y="16870"/>
                  </a:lnTo>
                  <a:lnTo>
                    <a:pt x="1225" y="18967"/>
                  </a:lnTo>
                  <a:lnTo>
                    <a:pt x="2116" y="21008"/>
                  </a:lnTo>
                  <a:lnTo>
                    <a:pt x="3230" y="23013"/>
                  </a:lnTo>
                  <a:lnTo>
                    <a:pt x="4510" y="24961"/>
                  </a:lnTo>
                  <a:lnTo>
                    <a:pt x="5921" y="26836"/>
                  </a:lnTo>
                  <a:lnTo>
                    <a:pt x="7461" y="28636"/>
                  </a:lnTo>
                  <a:lnTo>
                    <a:pt x="9076" y="30362"/>
                  </a:lnTo>
                  <a:lnTo>
                    <a:pt x="11600" y="32793"/>
                  </a:lnTo>
                  <a:lnTo>
                    <a:pt x="14996" y="35688"/>
                  </a:lnTo>
                  <a:lnTo>
                    <a:pt x="18188" y="38120"/>
                  </a:lnTo>
                  <a:lnTo>
                    <a:pt x="19617" y="39140"/>
                  </a:lnTo>
                  <a:lnTo>
                    <a:pt x="20155" y="39493"/>
                  </a:lnTo>
                  <a:lnTo>
                    <a:pt x="21325" y="40050"/>
                  </a:lnTo>
                  <a:lnTo>
                    <a:pt x="22531" y="40439"/>
                  </a:lnTo>
                  <a:lnTo>
                    <a:pt x="23774" y="40625"/>
                  </a:lnTo>
                  <a:lnTo>
                    <a:pt x="25036" y="40625"/>
                  </a:lnTo>
                  <a:lnTo>
                    <a:pt x="26280" y="40439"/>
                  </a:lnTo>
                  <a:lnTo>
                    <a:pt x="27486" y="40050"/>
                  </a:lnTo>
                  <a:lnTo>
                    <a:pt x="28637" y="39493"/>
                  </a:lnTo>
                  <a:lnTo>
                    <a:pt x="29193" y="39140"/>
                  </a:lnTo>
                  <a:lnTo>
                    <a:pt x="30567" y="38157"/>
                  </a:lnTo>
                  <a:lnTo>
                    <a:pt x="33648" y="35818"/>
                  </a:lnTo>
                  <a:lnTo>
                    <a:pt x="36914" y="33053"/>
                  </a:lnTo>
                  <a:lnTo>
                    <a:pt x="39364" y="30733"/>
                  </a:lnTo>
                  <a:lnTo>
                    <a:pt x="40941" y="29081"/>
                  </a:lnTo>
                  <a:lnTo>
                    <a:pt x="42444" y="27356"/>
                  </a:lnTo>
                  <a:lnTo>
                    <a:pt x="43855" y="25555"/>
                  </a:lnTo>
                  <a:lnTo>
                    <a:pt x="45135" y="23699"/>
                  </a:lnTo>
                  <a:lnTo>
                    <a:pt x="46268" y="21788"/>
                  </a:lnTo>
                  <a:lnTo>
                    <a:pt x="47233" y="19839"/>
                  </a:lnTo>
                  <a:lnTo>
                    <a:pt x="47994" y="17835"/>
                  </a:lnTo>
                  <a:lnTo>
                    <a:pt x="48513" y="15793"/>
                  </a:lnTo>
                  <a:lnTo>
                    <a:pt x="48773" y="13715"/>
                  </a:lnTo>
                  <a:lnTo>
                    <a:pt x="48792" y="12676"/>
                  </a:lnTo>
                  <a:lnTo>
                    <a:pt x="48773" y="12082"/>
                  </a:lnTo>
                  <a:lnTo>
                    <a:pt x="48736" y="11488"/>
                  </a:lnTo>
                  <a:lnTo>
                    <a:pt x="48662" y="10820"/>
                  </a:lnTo>
                  <a:lnTo>
                    <a:pt x="48272" y="9224"/>
                  </a:lnTo>
                  <a:lnTo>
                    <a:pt x="47845" y="8017"/>
                  </a:lnTo>
                  <a:lnTo>
                    <a:pt x="47270" y="6830"/>
                  </a:lnTo>
                  <a:lnTo>
                    <a:pt x="46509" y="5753"/>
                  </a:lnTo>
                  <a:lnTo>
                    <a:pt x="45785" y="5104"/>
                  </a:lnTo>
                  <a:lnTo>
                    <a:pt x="45247" y="4788"/>
                  </a:lnTo>
                  <a:lnTo>
                    <a:pt x="44653" y="4547"/>
                  </a:lnTo>
                  <a:lnTo>
                    <a:pt x="44003" y="4417"/>
                  </a:lnTo>
                  <a:lnTo>
                    <a:pt x="43242" y="4417"/>
                  </a:lnTo>
                  <a:lnTo>
                    <a:pt x="42444" y="4565"/>
                  </a:lnTo>
                  <a:lnTo>
                    <a:pt x="41684" y="4881"/>
                  </a:lnTo>
                  <a:lnTo>
                    <a:pt x="40997" y="5345"/>
                  </a:lnTo>
                  <a:lnTo>
                    <a:pt x="40681" y="5642"/>
                  </a:lnTo>
                  <a:lnTo>
                    <a:pt x="27616" y="18707"/>
                  </a:lnTo>
                  <a:lnTo>
                    <a:pt x="27393" y="18930"/>
                  </a:lnTo>
                  <a:lnTo>
                    <a:pt x="27059" y="19450"/>
                  </a:lnTo>
                  <a:lnTo>
                    <a:pt x="26836" y="20006"/>
                  </a:lnTo>
                  <a:lnTo>
                    <a:pt x="26725" y="20582"/>
                  </a:lnTo>
                  <a:lnTo>
                    <a:pt x="26725" y="21175"/>
                  </a:lnTo>
                  <a:lnTo>
                    <a:pt x="26836" y="21751"/>
                  </a:lnTo>
                  <a:lnTo>
                    <a:pt x="27059" y="22308"/>
                  </a:lnTo>
                  <a:lnTo>
                    <a:pt x="27393" y="22809"/>
                  </a:lnTo>
                  <a:lnTo>
                    <a:pt x="27616" y="23050"/>
                  </a:lnTo>
                  <a:lnTo>
                    <a:pt x="27839" y="23254"/>
                  </a:lnTo>
                  <a:lnTo>
                    <a:pt x="28358" y="23607"/>
                  </a:lnTo>
                  <a:lnTo>
                    <a:pt x="28915" y="23829"/>
                  </a:lnTo>
                  <a:lnTo>
                    <a:pt x="29490" y="23941"/>
                  </a:lnTo>
                  <a:lnTo>
                    <a:pt x="30084" y="23941"/>
                  </a:lnTo>
                  <a:lnTo>
                    <a:pt x="30660" y="23829"/>
                  </a:lnTo>
                  <a:lnTo>
                    <a:pt x="31216" y="23607"/>
                  </a:lnTo>
                  <a:lnTo>
                    <a:pt x="31717" y="23254"/>
                  </a:lnTo>
                  <a:lnTo>
                    <a:pt x="31959" y="23050"/>
                  </a:lnTo>
                  <a:lnTo>
                    <a:pt x="43075" y="11933"/>
                  </a:lnTo>
                  <a:lnTo>
                    <a:pt x="43168" y="11840"/>
                  </a:lnTo>
                  <a:lnTo>
                    <a:pt x="43410" y="11748"/>
                  </a:lnTo>
                  <a:lnTo>
                    <a:pt x="43651" y="11748"/>
                  </a:lnTo>
                  <a:lnTo>
                    <a:pt x="43873" y="11840"/>
                  </a:lnTo>
                  <a:lnTo>
                    <a:pt x="43966" y="11933"/>
                  </a:lnTo>
                  <a:lnTo>
                    <a:pt x="44727" y="12694"/>
                  </a:lnTo>
                  <a:lnTo>
                    <a:pt x="44820" y="12787"/>
                  </a:lnTo>
                  <a:lnTo>
                    <a:pt x="44913" y="13010"/>
                  </a:lnTo>
                  <a:lnTo>
                    <a:pt x="44913" y="13269"/>
                  </a:lnTo>
                  <a:lnTo>
                    <a:pt x="44820" y="13492"/>
                  </a:lnTo>
                  <a:lnTo>
                    <a:pt x="44727" y="13585"/>
                  </a:lnTo>
                  <a:lnTo>
                    <a:pt x="33703" y="24627"/>
                  </a:lnTo>
                  <a:lnTo>
                    <a:pt x="33314" y="24999"/>
                  </a:lnTo>
                  <a:lnTo>
                    <a:pt x="32441" y="25592"/>
                  </a:lnTo>
                  <a:lnTo>
                    <a:pt x="31476" y="26019"/>
                  </a:lnTo>
                  <a:lnTo>
                    <a:pt x="30455" y="26261"/>
                  </a:lnTo>
                  <a:lnTo>
                    <a:pt x="29936" y="26298"/>
                  </a:lnTo>
                  <a:lnTo>
                    <a:pt x="29360" y="26298"/>
                  </a:lnTo>
                  <a:lnTo>
                    <a:pt x="28247" y="26094"/>
                  </a:lnTo>
                  <a:lnTo>
                    <a:pt x="27208" y="25667"/>
                  </a:lnTo>
                  <a:lnTo>
                    <a:pt x="26280" y="25017"/>
                  </a:lnTo>
                  <a:lnTo>
                    <a:pt x="25871" y="24627"/>
                  </a:lnTo>
                  <a:lnTo>
                    <a:pt x="25500" y="24201"/>
                  </a:lnTo>
                  <a:lnTo>
                    <a:pt x="24925" y="23291"/>
                  </a:lnTo>
                  <a:lnTo>
                    <a:pt x="24572" y="22326"/>
                  </a:lnTo>
                  <a:lnTo>
                    <a:pt x="24405" y="21287"/>
                  </a:lnTo>
                  <a:lnTo>
                    <a:pt x="24424" y="20248"/>
                  </a:lnTo>
                  <a:lnTo>
                    <a:pt x="24647" y="19227"/>
                  </a:lnTo>
                  <a:lnTo>
                    <a:pt x="25055" y="18262"/>
                  </a:lnTo>
                  <a:lnTo>
                    <a:pt x="25649" y="17352"/>
                  </a:lnTo>
                  <a:lnTo>
                    <a:pt x="26038" y="16963"/>
                  </a:lnTo>
                  <a:lnTo>
                    <a:pt x="33351" y="9651"/>
                  </a:lnTo>
                  <a:lnTo>
                    <a:pt x="39011" y="3972"/>
                  </a:lnTo>
                  <a:lnTo>
                    <a:pt x="39456" y="3563"/>
                  </a:lnTo>
                  <a:lnTo>
                    <a:pt x="40422" y="2895"/>
                  </a:lnTo>
                  <a:lnTo>
                    <a:pt x="41479" y="2413"/>
                  </a:lnTo>
                  <a:lnTo>
                    <a:pt x="42611" y="2134"/>
                  </a:lnTo>
                  <a:lnTo>
                    <a:pt x="43205" y="2079"/>
                  </a:lnTo>
                  <a:lnTo>
                    <a:pt x="42444" y="1577"/>
                  </a:lnTo>
                  <a:lnTo>
                    <a:pt x="40811" y="798"/>
                  </a:lnTo>
                  <a:lnTo>
                    <a:pt x="39067" y="260"/>
                  </a:lnTo>
                  <a:lnTo>
                    <a:pt x="37229" y="0"/>
                  </a:lnTo>
                  <a:lnTo>
                    <a:pt x="36283" y="0"/>
                  </a:lnTo>
                  <a:lnTo>
                    <a:pt x="35299" y="56"/>
                  </a:lnTo>
                  <a:lnTo>
                    <a:pt x="33425" y="371"/>
                  </a:lnTo>
                  <a:lnTo>
                    <a:pt x="31643" y="965"/>
                  </a:lnTo>
                  <a:lnTo>
                    <a:pt x="29991" y="1819"/>
                  </a:lnTo>
                  <a:lnTo>
                    <a:pt x="28507" y="2877"/>
                  </a:lnTo>
                  <a:lnTo>
                    <a:pt x="27171" y="4157"/>
                  </a:lnTo>
                  <a:lnTo>
                    <a:pt x="26057" y="5623"/>
                  </a:lnTo>
                  <a:lnTo>
                    <a:pt x="25129" y="7256"/>
                  </a:lnTo>
                  <a:lnTo>
                    <a:pt x="24776" y="8147"/>
                  </a:lnTo>
                  <a:lnTo>
                    <a:pt x="24721" y="8259"/>
                  </a:lnTo>
                  <a:lnTo>
                    <a:pt x="24517" y="8389"/>
                  </a:lnTo>
                  <a:lnTo>
                    <a:pt x="24294" y="8389"/>
                  </a:lnTo>
                  <a:lnTo>
                    <a:pt x="24090" y="8259"/>
                  </a:lnTo>
                  <a:lnTo>
                    <a:pt x="24034" y="8147"/>
                  </a:lnTo>
                  <a:lnTo>
                    <a:pt x="23663" y="7256"/>
                  </a:lnTo>
                  <a:lnTo>
                    <a:pt x="22754" y="5623"/>
                  </a:lnTo>
                  <a:lnTo>
                    <a:pt x="21640" y="4157"/>
                  </a:lnTo>
                  <a:lnTo>
                    <a:pt x="20304" y="2877"/>
                  </a:lnTo>
                  <a:lnTo>
                    <a:pt x="18819" y="1819"/>
                  </a:lnTo>
                  <a:lnTo>
                    <a:pt x="17167" y="965"/>
                  </a:lnTo>
                  <a:lnTo>
                    <a:pt x="15386" y="371"/>
                  </a:lnTo>
                  <a:lnTo>
                    <a:pt x="13493" y="56"/>
                  </a:lnTo>
                  <a:lnTo>
                    <a:pt x="12528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48" name="Google Shape;48;p3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5266967" y="609600"/>
            <a:ext cx="6942664" cy="624839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256861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Page B2B 1">
  <p:cSld name="Title Page B2B 1">
    <p:bg>
      <p:bgPr>
        <a:solidFill>
          <a:schemeClr val="lt1"/>
        </a:solidFill>
        <a:effectLst/>
      </p:bgPr>
    </p:bg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4"/>
          <p:cNvSpPr/>
          <p:nvPr/>
        </p:nvSpPr>
        <p:spPr>
          <a:xfrm>
            <a:off x="9742033" y="0"/>
            <a:ext cx="2467500" cy="10329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1" name="Google Shape;51;p4"/>
          <p:cNvSpPr/>
          <p:nvPr/>
        </p:nvSpPr>
        <p:spPr>
          <a:xfrm rot="10800000">
            <a:off x="513800" y="67"/>
            <a:ext cx="11147700" cy="10329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" name="Google Shape;52;p4"/>
          <p:cNvSpPr txBox="1">
            <a:spLocks noGrp="1"/>
          </p:cNvSpPr>
          <p:nvPr>
            <p:ph type="ctrTitle"/>
          </p:nvPr>
        </p:nvSpPr>
        <p:spPr>
          <a:xfrm>
            <a:off x="1219200" y="2056833"/>
            <a:ext cx="4267200" cy="1725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300"/>
              <a:buNone/>
              <a:defRPr sz="4300" b="1">
                <a:solidFill>
                  <a:schemeClr val="dk2"/>
                </a:solidFill>
              </a:defRPr>
            </a:lvl1pPr>
            <a:lvl2pPr lvl="1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5900"/>
              <a:buNone/>
              <a:defRPr sz="5900">
                <a:solidFill>
                  <a:schemeClr val="accent6"/>
                </a:solidFill>
              </a:defRPr>
            </a:lvl2pPr>
            <a:lvl3pPr lvl="2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5900"/>
              <a:buNone/>
              <a:defRPr sz="5900">
                <a:solidFill>
                  <a:schemeClr val="accent6"/>
                </a:solidFill>
              </a:defRPr>
            </a:lvl3pPr>
            <a:lvl4pPr lvl="3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5900"/>
              <a:buNone/>
              <a:defRPr sz="5900">
                <a:solidFill>
                  <a:schemeClr val="accent6"/>
                </a:solidFill>
              </a:defRPr>
            </a:lvl4pPr>
            <a:lvl5pPr lvl="4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5900"/>
              <a:buNone/>
              <a:defRPr sz="5900">
                <a:solidFill>
                  <a:schemeClr val="accent6"/>
                </a:solidFill>
              </a:defRPr>
            </a:lvl5pPr>
            <a:lvl6pPr lvl="5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5900"/>
              <a:buNone/>
              <a:defRPr sz="5900">
                <a:solidFill>
                  <a:schemeClr val="accent6"/>
                </a:solidFill>
              </a:defRPr>
            </a:lvl6pPr>
            <a:lvl7pPr lvl="6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5900"/>
              <a:buNone/>
              <a:defRPr sz="5900">
                <a:solidFill>
                  <a:schemeClr val="accent6"/>
                </a:solidFill>
              </a:defRPr>
            </a:lvl7pPr>
            <a:lvl8pPr lvl="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5900"/>
              <a:buNone/>
              <a:defRPr sz="5900">
                <a:solidFill>
                  <a:schemeClr val="accent6"/>
                </a:solidFill>
              </a:defRPr>
            </a:lvl8pPr>
            <a:lvl9pPr lvl="8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5900"/>
              <a:buNone/>
              <a:defRPr sz="5900">
                <a:solidFill>
                  <a:schemeClr val="accent6"/>
                </a:solidFill>
              </a:defRPr>
            </a:lvl9pPr>
          </a:lstStyle>
          <a:p>
            <a:endParaRPr/>
          </a:p>
        </p:txBody>
      </p:sp>
      <p:sp>
        <p:nvSpPr>
          <p:cNvPr id="53" name="Google Shape;53;p4"/>
          <p:cNvSpPr txBox="1">
            <a:spLocks noGrp="1"/>
          </p:cNvSpPr>
          <p:nvPr>
            <p:ph type="subTitle" idx="1"/>
          </p:nvPr>
        </p:nvSpPr>
        <p:spPr>
          <a:xfrm>
            <a:off x="1211300" y="3964433"/>
            <a:ext cx="3665700" cy="1519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4" name="Google Shape;54;p4"/>
          <p:cNvSpPr txBox="1">
            <a:spLocks noGrp="1"/>
          </p:cNvSpPr>
          <p:nvPr>
            <p:ph type="body" idx="2"/>
          </p:nvPr>
        </p:nvSpPr>
        <p:spPr>
          <a:xfrm>
            <a:off x="1219200" y="6029833"/>
            <a:ext cx="3491700" cy="408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11150" rtl="0">
              <a:spcBef>
                <a:spcPts val="0"/>
              </a:spcBef>
              <a:spcAft>
                <a:spcPts val="0"/>
              </a:spcAft>
              <a:buSzPts val="1300"/>
              <a:buChar char="•"/>
              <a:defRPr sz="1300"/>
            </a:lvl1pPr>
            <a:lvl2pPr marL="914400" lvl="1" indent="-311150" rtl="0">
              <a:spcBef>
                <a:spcPts val="1300"/>
              </a:spcBef>
              <a:spcAft>
                <a:spcPts val="0"/>
              </a:spcAft>
              <a:buSzPts val="1300"/>
              <a:buChar char="○"/>
              <a:defRPr sz="1300"/>
            </a:lvl2pPr>
            <a:lvl3pPr marL="1371600" lvl="2" indent="-311150" rtl="0">
              <a:spcBef>
                <a:spcPts val="1300"/>
              </a:spcBef>
              <a:spcAft>
                <a:spcPts val="0"/>
              </a:spcAft>
              <a:buSzPts val="1300"/>
              <a:buChar char="•"/>
              <a:defRPr sz="1300"/>
            </a:lvl3pPr>
            <a:lvl4pPr marL="1828800" lvl="3" indent="-311150" rtl="0">
              <a:spcBef>
                <a:spcPts val="1300"/>
              </a:spcBef>
              <a:spcAft>
                <a:spcPts val="0"/>
              </a:spcAft>
              <a:buSzPts val="1300"/>
              <a:buChar char="◦"/>
              <a:defRPr sz="1300"/>
            </a:lvl4pPr>
            <a:lvl5pPr marL="2286000" lvl="4" indent="-311150" rtl="0">
              <a:spcBef>
                <a:spcPts val="1300"/>
              </a:spcBef>
              <a:spcAft>
                <a:spcPts val="0"/>
              </a:spcAft>
              <a:buSzPts val="1300"/>
              <a:buChar char="•"/>
              <a:defRPr sz="1300"/>
            </a:lvl5pPr>
            <a:lvl6pPr marL="2743200" lvl="5" indent="-298450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/>
            </a:lvl6pPr>
            <a:lvl7pPr marL="3200400" lvl="6" indent="-311150" rtl="0">
              <a:spcBef>
                <a:spcPts val="1300"/>
              </a:spcBef>
              <a:spcAft>
                <a:spcPts val="0"/>
              </a:spcAft>
              <a:buSzPts val="1300"/>
              <a:buChar char="•"/>
              <a:defRPr sz="1300"/>
            </a:lvl7pPr>
            <a:lvl8pPr marL="3657600" lvl="7" indent="-311150" rtl="0">
              <a:spcBef>
                <a:spcPts val="1300"/>
              </a:spcBef>
              <a:spcAft>
                <a:spcPts val="0"/>
              </a:spcAft>
              <a:buSzPts val="1300"/>
              <a:buChar char="○"/>
              <a:defRPr sz="1300"/>
            </a:lvl8pPr>
            <a:lvl9pPr marL="4114800" lvl="8" indent="-311150" rtl="0">
              <a:spcBef>
                <a:spcPts val="1300"/>
              </a:spcBef>
              <a:spcAft>
                <a:spcPts val="1300"/>
              </a:spcAft>
              <a:buSzPts val="1300"/>
              <a:buChar char="•"/>
              <a:defRPr sz="1300"/>
            </a:lvl9pPr>
          </a:lstStyle>
          <a:p>
            <a:endParaRPr/>
          </a:p>
        </p:txBody>
      </p:sp>
      <p:grpSp>
        <p:nvGrpSpPr>
          <p:cNvPr id="55" name="Google Shape;55;p4"/>
          <p:cNvGrpSpPr/>
          <p:nvPr/>
        </p:nvGrpSpPr>
        <p:grpSpPr>
          <a:xfrm>
            <a:off x="1211296" y="342443"/>
            <a:ext cx="2449918" cy="348461"/>
            <a:chOff x="237650" y="2349675"/>
            <a:chExt cx="7144700" cy="1015625"/>
          </a:xfrm>
        </p:grpSpPr>
        <p:sp>
          <p:nvSpPr>
            <p:cNvPr id="56" name="Google Shape;56;p4"/>
            <p:cNvSpPr/>
            <p:nvPr/>
          </p:nvSpPr>
          <p:spPr>
            <a:xfrm>
              <a:off x="3096625" y="2466575"/>
              <a:ext cx="156400" cy="841200"/>
            </a:xfrm>
            <a:custGeom>
              <a:avLst/>
              <a:gdLst/>
              <a:ahLst/>
              <a:cxnLst/>
              <a:rect l="l" t="t" r="r" b="b"/>
              <a:pathLst>
                <a:path w="6256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2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1" y="1448"/>
                  </a:lnTo>
                  <a:lnTo>
                    <a:pt x="1" y="32182"/>
                  </a:lnTo>
                  <a:lnTo>
                    <a:pt x="19" y="32479"/>
                  </a:lnTo>
                  <a:lnTo>
                    <a:pt x="242" y="33017"/>
                  </a:lnTo>
                  <a:lnTo>
                    <a:pt x="632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08" y="33648"/>
                  </a:lnTo>
                  <a:lnTo>
                    <a:pt x="5105" y="33629"/>
                  </a:lnTo>
                  <a:lnTo>
                    <a:pt x="5624" y="33406"/>
                  </a:lnTo>
                  <a:lnTo>
                    <a:pt x="6014" y="33017"/>
                  </a:lnTo>
                  <a:lnTo>
                    <a:pt x="6237" y="32479"/>
                  </a:lnTo>
                  <a:lnTo>
                    <a:pt x="6255" y="32182"/>
                  </a:lnTo>
                  <a:lnTo>
                    <a:pt x="6255" y="1448"/>
                  </a:lnTo>
                  <a:lnTo>
                    <a:pt x="6237" y="1151"/>
                  </a:lnTo>
                  <a:lnTo>
                    <a:pt x="6014" y="632"/>
                  </a:lnTo>
                  <a:lnTo>
                    <a:pt x="5624" y="242"/>
                  </a:lnTo>
                  <a:lnTo>
                    <a:pt x="5105" y="19"/>
                  </a:lnTo>
                  <a:lnTo>
                    <a:pt x="480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57;p4"/>
            <p:cNvSpPr/>
            <p:nvPr/>
          </p:nvSpPr>
          <p:spPr>
            <a:xfrm>
              <a:off x="1673175" y="2466575"/>
              <a:ext cx="655150" cy="841200"/>
            </a:xfrm>
            <a:custGeom>
              <a:avLst/>
              <a:gdLst/>
              <a:ahLst/>
              <a:cxnLst/>
              <a:rect l="l" t="t" r="r" b="b"/>
              <a:pathLst>
                <a:path w="26206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1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0" y="1448"/>
                  </a:lnTo>
                  <a:lnTo>
                    <a:pt x="0" y="32200"/>
                  </a:lnTo>
                  <a:lnTo>
                    <a:pt x="19" y="32497"/>
                  </a:lnTo>
                  <a:lnTo>
                    <a:pt x="242" y="33017"/>
                  </a:lnTo>
                  <a:lnTo>
                    <a:pt x="631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26" y="33648"/>
                  </a:lnTo>
                  <a:lnTo>
                    <a:pt x="5104" y="33629"/>
                  </a:lnTo>
                  <a:lnTo>
                    <a:pt x="5624" y="33406"/>
                  </a:lnTo>
                  <a:lnTo>
                    <a:pt x="6032" y="33017"/>
                  </a:lnTo>
                  <a:lnTo>
                    <a:pt x="6255" y="32497"/>
                  </a:lnTo>
                  <a:lnTo>
                    <a:pt x="6273" y="32200"/>
                  </a:lnTo>
                  <a:lnTo>
                    <a:pt x="6273" y="18133"/>
                  </a:lnTo>
                  <a:lnTo>
                    <a:pt x="19933" y="18133"/>
                  </a:lnTo>
                  <a:lnTo>
                    <a:pt x="19933" y="32200"/>
                  </a:lnTo>
                  <a:lnTo>
                    <a:pt x="19951" y="32497"/>
                  </a:lnTo>
                  <a:lnTo>
                    <a:pt x="20174" y="33017"/>
                  </a:lnTo>
                  <a:lnTo>
                    <a:pt x="20564" y="33406"/>
                  </a:lnTo>
                  <a:lnTo>
                    <a:pt x="21083" y="33629"/>
                  </a:lnTo>
                  <a:lnTo>
                    <a:pt x="21380" y="33648"/>
                  </a:lnTo>
                  <a:lnTo>
                    <a:pt x="24739" y="33648"/>
                  </a:lnTo>
                  <a:lnTo>
                    <a:pt x="25036" y="33629"/>
                  </a:lnTo>
                  <a:lnTo>
                    <a:pt x="25556" y="33406"/>
                  </a:lnTo>
                  <a:lnTo>
                    <a:pt x="25964" y="33017"/>
                  </a:lnTo>
                  <a:lnTo>
                    <a:pt x="26168" y="32497"/>
                  </a:lnTo>
                  <a:lnTo>
                    <a:pt x="26205" y="32200"/>
                  </a:lnTo>
                  <a:lnTo>
                    <a:pt x="26205" y="1448"/>
                  </a:lnTo>
                  <a:lnTo>
                    <a:pt x="26168" y="1151"/>
                  </a:lnTo>
                  <a:lnTo>
                    <a:pt x="25964" y="632"/>
                  </a:lnTo>
                  <a:lnTo>
                    <a:pt x="25556" y="242"/>
                  </a:lnTo>
                  <a:lnTo>
                    <a:pt x="25036" y="19"/>
                  </a:lnTo>
                  <a:lnTo>
                    <a:pt x="24739" y="1"/>
                  </a:lnTo>
                  <a:lnTo>
                    <a:pt x="21380" y="1"/>
                  </a:lnTo>
                  <a:lnTo>
                    <a:pt x="21083" y="19"/>
                  </a:lnTo>
                  <a:lnTo>
                    <a:pt x="20564" y="242"/>
                  </a:lnTo>
                  <a:lnTo>
                    <a:pt x="20174" y="632"/>
                  </a:lnTo>
                  <a:lnTo>
                    <a:pt x="19951" y="1151"/>
                  </a:lnTo>
                  <a:lnTo>
                    <a:pt x="19933" y="1448"/>
                  </a:lnTo>
                  <a:lnTo>
                    <a:pt x="19933" y="13641"/>
                  </a:lnTo>
                  <a:lnTo>
                    <a:pt x="6273" y="13641"/>
                  </a:lnTo>
                  <a:lnTo>
                    <a:pt x="6273" y="1448"/>
                  </a:lnTo>
                  <a:lnTo>
                    <a:pt x="6255" y="1151"/>
                  </a:lnTo>
                  <a:lnTo>
                    <a:pt x="6032" y="632"/>
                  </a:lnTo>
                  <a:lnTo>
                    <a:pt x="5624" y="242"/>
                  </a:lnTo>
                  <a:lnTo>
                    <a:pt x="5104" y="19"/>
                  </a:lnTo>
                  <a:lnTo>
                    <a:pt x="482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58;p4"/>
            <p:cNvSpPr/>
            <p:nvPr/>
          </p:nvSpPr>
          <p:spPr>
            <a:xfrm>
              <a:off x="3382900" y="2466575"/>
              <a:ext cx="156375" cy="841200"/>
            </a:xfrm>
            <a:custGeom>
              <a:avLst/>
              <a:gdLst/>
              <a:ahLst/>
              <a:cxnLst/>
              <a:rect l="l" t="t" r="r" b="b"/>
              <a:pathLst>
                <a:path w="6255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2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1" y="1448"/>
                  </a:lnTo>
                  <a:lnTo>
                    <a:pt x="1" y="32182"/>
                  </a:lnTo>
                  <a:lnTo>
                    <a:pt x="19" y="32479"/>
                  </a:lnTo>
                  <a:lnTo>
                    <a:pt x="242" y="33017"/>
                  </a:lnTo>
                  <a:lnTo>
                    <a:pt x="632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07" y="33648"/>
                  </a:lnTo>
                  <a:lnTo>
                    <a:pt x="5104" y="33629"/>
                  </a:lnTo>
                  <a:lnTo>
                    <a:pt x="5624" y="33406"/>
                  </a:lnTo>
                  <a:lnTo>
                    <a:pt x="6014" y="33017"/>
                  </a:lnTo>
                  <a:lnTo>
                    <a:pt x="6236" y="32479"/>
                  </a:lnTo>
                  <a:lnTo>
                    <a:pt x="6255" y="32182"/>
                  </a:lnTo>
                  <a:lnTo>
                    <a:pt x="6255" y="1448"/>
                  </a:lnTo>
                  <a:lnTo>
                    <a:pt x="6236" y="1151"/>
                  </a:lnTo>
                  <a:lnTo>
                    <a:pt x="6014" y="632"/>
                  </a:lnTo>
                  <a:lnTo>
                    <a:pt x="5624" y="242"/>
                  </a:lnTo>
                  <a:lnTo>
                    <a:pt x="5104" y="19"/>
                  </a:lnTo>
                  <a:lnTo>
                    <a:pt x="48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Google Shape;59;p4"/>
            <p:cNvSpPr/>
            <p:nvPr/>
          </p:nvSpPr>
          <p:spPr>
            <a:xfrm>
              <a:off x="3610700" y="2663300"/>
              <a:ext cx="680675" cy="662575"/>
            </a:xfrm>
            <a:custGeom>
              <a:avLst/>
              <a:gdLst/>
              <a:ahLst/>
              <a:cxnLst/>
              <a:rect l="l" t="t" r="r" b="b"/>
              <a:pathLst>
                <a:path w="27227" h="26503" extrusionOk="0">
                  <a:moveTo>
                    <a:pt x="14087" y="5123"/>
                  </a:moveTo>
                  <a:lnTo>
                    <a:pt x="14959" y="5216"/>
                  </a:lnTo>
                  <a:lnTo>
                    <a:pt x="15757" y="5383"/>
                  </a:lnTo>
                  <a:lnTo>
                    <a:pt x="16500" y="5661"/>
                  </a:lnTo>
                  <a:lnTo>
                    <a:pt x="16852" y="5828"/>
                  </a:lnTo>
                  <a:lnTo>
                    <a:pt x="17521" y="6199"/>
                  </a:lnTo>
                  <a:lnTo>
                    <a:pt x="18634" y="7127"/>
                  </a:lnTo>
                  <a:lnTo>
                    <a:pt x="19098" y="7665"/>
                  </a:lnTo>
                  <a:lnTo>
                    <a:pt x="19525" y="8259"/>
                  </a:lnTo>
                  <a:lnTo>
                    <a:pt x="20193" y="9558"/>
                  </a:lnTo>
                  <a:lnTo>
                    <a:pt x="20434" y="10264"/>
                  </a:lnTo>
                  <a:lnTo>
                    <a:pt x="20638" y="10969"/>
                  </a:lnTo>
                  <a:lnTo>
                    <a:pt x="20861" y="12416"/>
                  </a:lnTo>
                  <a:lnTo>
                    <a:pt x="20880" y="13159"/>
                  </a:lnTo>
                  <a:lnTo>
                    <a:pt x="20861" y="13883"/>
                  </a:lnTo>
                  <a:lnTo>
                    <a:pt x="20638" y="15349"/>
                  </a:lnTo>
                  <a:lnTo>
                    <a:pt x="20434" y="16073"/>
                  </a:lnTo>
                  <a:lnTo>
                    <a:pt x="20193" y="16796"/>
                  </a:lnTo>
                  <a:lnTo>
                    <a:pt x="19525" y="18095"/>
                  </a:lnTo>
                  <a:lnTo>
                    <a:pt x="19098" y="18671"/>
                  </a:lnTo>
                  <a:lnTo>
                    <a:pt x="18634" y="19228"/>
                  </a:lnTo>
                  <a:lnTo>
                    <a:pt x="17521" y="20174"/>
                  </a:lnTo>
                  <a:lnTo>
                    <a:pt x="16852" y="20564"/>
                  </a:lnTo>
                  <a:lnTo>
                    <a:pt x="16500" y="20731"/>
                  </a:lnTo>
                  <a:lnTo>
                    <a:pt x="15757" y="21009"/>
                  </a:lnTo>
                  <a:lnTo>
                    <a:pt x="14959" y="21195"/>
                  </a:lnTo>
                  <a:lnTo>
                    <a:pt x="14087" y="21269"/>
                  </a:lnTo>
                  <a:lnTo>
                    <a:pt x="13623" y="21288"/>
                  </a:lnTo>
                  <a:lnTo>
                    <a:pt x="13159" y="21269"/>
                  </a:lnTo>
                  <a:lnTo>
                    <a:pt x="12287" y="21195"/>
                  </a:lnTo>
                  <a:lnTo>
                    <a:pt x="11470" y="21009"/>
                  </a:lnTo>
                  <a:lnTo>
                    <a:pt x="10728" y="20731"/>
                  </a:lnTo>
                  <a:lnTo>
                    <a:pt x="10394" y="20564"/>
                  </a:lnTo>
                  <a:lnTo>
                    <a:pt x="9726" y="20174"/>
                  </a:lnTo>
                  <a:lnTo>
                    <a:pt x="8612" y="19228"/>
                  </a:lnTo>
                  <a:lnTo>
                    <a:pt x="8148" y="18671"/>
                  </a:lnTo>
                  <a:lnTo>
                    <a:pt x="7721" y="18095"/>
                  </a:lnTo>
                  <a:lnTo>
                    <a:pt x="7053" y="16778"/>
                  </a:lnTo>
                  <a:lnTo>
                    <a:pt x="6812" y="16073"/>
                  </a:lnTo>
                  <a:lnTo>
                    <a:pt x="6608" y="15349"/>
                  </a:lnTo>
                  <a:lnTo>
                    <a:pt x="6385" y="13883"/>
                  </a:lnTo>
                  <a:lnTo>
                    <a:pt x="6367" y="13159"/>
                  </a:lnTo>
                  <a:lnTo>
                    <a:pt x="6385" y="12416"/>
                  </a:lnTo>
                  <a:lnTo>
                    <a:pt x="6608" y="10969"/>
                  </a:lnTo>
                  <a:lnTo>
                    <a:pt x="6812" y="10264"/>
                  </a:lnTo>
                  <a:lnTo>
                    <a:pt x="7053" y="9558"/>
                  </a:lnTo>
                  <a:lnTo>
                    <a:pt x="7721" y="8259"/>
                  </a:lnTo>
                  <a:lnTo>
                    <a:pt x="8148" y="7665"/>
                  </a:lnTo>
                  <a:lnTo>
                    <a:pt x="8612" y="7127"/>
                  </a:lnTo>
                  <a:lnTo>
                    <a:pt x="9726" y="6199"/>
                  </a:lnTo>
                  <a:lnTo>
                    <a:pt x="10394" y="5828"/>
                  </a:lnTo>
                  <a:lnTo>
                    <a:pt x="10728" y="5661"/>
                  </a:lnTo>
                  <a:lnTo>
                    <a:pt x="11470" y="5383"/>
                  </a:lnTo>
                  <a:lnTo>
                    <a:pt x="12287" y="5216"/>
                  </a:lnTo>
                  <a:lnTo>
                    <a:pt x="13159" y="5123"/>
                  </a:lnTo>
                  <a:close/>
                  <a:moveTo>
                    <a:pt x="13623" y="1"/>
                  </a:moveTo>
                  <a:lnTo>
                    <a:pt x="12918" y="19"/>
                  </a:lnTo>
                  <a:lnTo>
                    <a:pt x="11545" y="131"/>
                  </a:lnTo>
                  <a:lnTo>
                    <a:pt x="10227" y="372"/>
                  </a:lnTo>
                  <a:lnTo>
                    <a:pt x="8928" y="724"/>
                  </a:lnTo>
                  <a:lnTo>
                    <a:pt x="8297" y="947"/>
                  </a:lnTo>
                  <a:lnTo>
                    <a:pt x="7684" y="1188"/>
                  </a:lnTo>
                  <a:lnTo>
                    <a:pt x="6515" y="1745"/>
                  </a:lnTo>
                  <a:lnTo>
                    <a:pt x="5439" y="2413"/>
                  </a:lnTo>
                  <a:lnTo>
                    <a:pt x="4437" y="3174"/>
                  </a:lnTo>
                  <a:lnTo>
                    <a:pt x="3973" y="3601"/>
                  </a:lnTo>
                  <a:lnTo>
                    <a:pt x="3527" y="4046"/>
                  </a:lnTo>
                  <a:lnTo>
                    <a:pt x="2692" y="4993"/>
                  </a:lnTo>
                  <a:lnTo>
                    <a:pt x="1968" y="6032"/>
                  </a:lnTo>
                  <a:lnTo>
                    <a:pt x="1356" y="7146"/>
                  </a:lnTo>
                  <a:lnTo>
                    <a:pt x="1077" y="7758"/>
                  </a:lnTo>
                  <a:lnTo>
                    <a:pt x="818" y="8371"/>
                  </a:lnTo>
                  <a:lnTo>
                    <a:pt x="409" y="9651"/>
                  </a:lnTo>
                  <a:lnTo>
                    <a:pt x="149" y="10987"/>
                  </a:lnTo>
                  <a:lnTo>
                    <a:pt x="20" y="12416"/>
                  </a:lnTo>
                  <a:lnTo>
                    <a:pt x="1" y="13159"/>
                  </a:lnTo>
                  <a:lnTo>
                    <a:pt x="20" y="13883"/>
                  </a:lnTo>
                  <a:lnTo>
                    <a:pt x="149" y="15312"/>
                  </a:lnTo>
                  <a:lnTo>
                    <a:pt x="409" y="16666"/>
                  </a:lnTo>
                  <a:lnTo>
                    <a:pt x="818" y="17947"/>
                  </a:lnTo>
                  <a:lnTo>
                    <a:pt x="1077" y="18578"/>
                  </a:lnTo>
                  <a:lnTo>
                    <a:pt x="1356" y="19172"/>
                  </a:lnTo>
                  <a:lnTo>
                    <a:pt x="1968" y="20322"/>
                  </a:lnTo>
                  <a:lnTo>
                    <a:pt x="2692" y="21362"/>
                  </a:lnTo>
                  <a:lnTo>
                    <a:pt x="3527" y="22327"/>
                  </a:lnTo>
                  <a:lnTo>
                    <a:pt x="3973" y="22772"/>
                  </a:lnTo>
                  <a:lnTo>
                    <a:pt x="4437" y="23199"/>
                  </a:lnTo>
                  <a:lnTo>
                    <a:pt x="5439" y="23979"/>
                  </a:lnTo>
                  <a:lnTo>
                    <a:pt x="6515" y="24665"/>
                  </a:lnTo>
                  <a:lnTo>
                    <a:pt x="7684" y="25259"/>
                  </a:lnTo>
                  <a:lnTo>
                    <a:pt x="8297" y="25519"/>
                  </a:lnTo>
                  <a:lnTo>
                    <a:pt x="8928" y="25742"/>
                  </a:lnTo>
                  <a:lnTo>
                    <a:pt x="10227" y="26113"/>
                  </a:lnTo>
                  <a:lnTo>
                    <a:pt x="11545" y="26373"/>
                  </a:lnTo>
                  <a:lnTo>
                    <a:pt x="12918" y="26484"/>
                  </a:lnTo>
                  <a:lnTo>
                    <a:pt x="13623" y="26503"/>
                  </a:lnTo>
                  <a:lnTo>
                    <a:pt x="14328" y="26484"/>
                  </a:lnTo>
                  <a:lnTo>
                    <a:pt x="15683" y="26373"/>
                  </a:lnTo>
                  <a:lnTo>
                    <a:pt x="17019" y="26113"/>
                  </a:lnTo>
                  <a:lnTo>
                    <a:pt x="18300" y="25742"/>
                  </a:lnTo>
                  <a:lnTo>
                    <a:pt x="18931" y="25519"/>
                  </a:lnTo>
                  <a:lnTo>
                    <a:pt x="19562" y="25259"/>
                  </a:lnTo>
                  <a:lnTo>
                    <a:pt x="20731" y="24665"/>
                  </a:lnTo>
                  <a:lnTo>
                    <a:pt x="21808" y="23979"/>
                  </a:lnTo>
                  <a:lnTo>
                    <a:pt x="22810" y="23199"/>
                  </a:lnTo>
                  <a:lnTo>
                    <a:pt x="23274" y="22772"/>
                  </a:lnTo>
                  <a:lnTo>
                    <a:pt x="23719" y="22327"/>
                  </a:lnTo>
                  <a:lnTo>
                    <a:pt x="24536" y="21362"/>
                  </a:lnTo>
                  <a:lnTo>
                    <a:pt x="25260" y="20322"/>
                  </a:lnTo>
                  <a:lnTo>
                    <a:pt x="25891" y="19172"/>
                  </a:lnTo>
                  <a:lnTo>
                    <a:pt x="26169" y="18578"/>
                  </a:lnTo>
                  <a:lnTo>
                    <a:pt x="26429" y="17947"/>
                  </a:lnTo>
                  <a:lnTo>
                    <a:pt x="26818" y="16666"/>
                  </a:lnTo>
                  <a:lnTo>
                    <a:pt x="27097" y="15312"/>
                  </a:lnTo>
                  <a:lnTo>
                    <a:pt x="27227" y="13883"/>
                  </a:lnTo>
                  <a:lnTo>
                    <a:pt x="27227" y="13159"/>
                  </a:lnTo>
                  <a:lnTo>
                    <a:pt x="27227" y="12416"/>
                  </a:lnTo>
                  <a:lnTo>
                    <a:pt x="27097" y="10987"/>
                  </a:lnTo>
                  <a:lnTo>
                    <a:pt x="26818" y="9651"/>
                  </a:lnTo>
                  <a:lnTo>
                    <a:pt x="26429" y="8371"/>
                  </a:lnTo>
                  <a:lnTo>
                    <a:pt x="26169" y="7758"/>
                  </a:lnTo>
                  <a:lnTo>
                    <a:pt x="25891" y="7146"/>
                  </a:lnTo>
                  <a:lnTo>
                    <a:pt x="25260" y="6032"/>
                  </a:lnTo>
                  <a:lnTo>
                    <a:pt x="24536" y="4993"/>
                  </a:lnTo>
                  <a:lnTo>
                    <a:pt x="23719" y="4046"/>
                  </a:lnTo>
                  <a:lnTo>
                    <a:pt x="23274" y="3601"/>
                  </a:lnTo>
                  <a:lnTo>
                    <a:pt x="22810" y="3174"/>
                  </a:lnTo>
                  <a:lnTo>
                    <a:pt x="21808" y="2413"/>
                  </a:lnTo>
                  <a:lnTo>
                    <a:pt x="20731" y="1745"/>
                  </a:lnTo>
                  <a:lnTo>
                    <a:pt x="19562" y="1188"/>
                  </a:lnTo>
                  <a:lnTo>
                    <a:pt x="18931" y="947"/>
                  </a:lnTo>
                  <a:lnTo>
                    <a:pt x="18300" y="724"/>
                  </a:lnTo>
                  <a:lnTo>
                    <a:pt x="17019" y="372"/>
                  </a:lnTo>
                  <a:lnTo>
                    <a:pt x="15683" y="131"/>
                  </a:lnTo>
                  <a:lnTo>
                    <a:pt x="14328" y="19"/>
                  </a:lnTo>
                  <a:lnTo>
                    <a:pt x="1362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" name="Google Shape;60;p4"/>
            <p:cNvSpPr/>
            <p:nvPr/>
          </p:nvSpPr>
          <p:spPr>
            <a:xfrm>
              <a:off x="5231350" y="2663300"/>
              <a:ext cx="633825" cy="662575"/>
            </a:xfrm>
            <a:custGeom>
              <a:avLst/>
              <a:gdLst/>
              <a:ahLst/>
              <a:cxnLst/>
              <a:rect l="l" t="t" r="r" b="b"/>
              <a:pathLst>
                <a:path w="25353" h="26503" extrusionOk="0">
                  <a:moveTo>
                    <a:pt x="13196" y="4696"/>
                  </a:moveTo>
                  <a:lnTo>
                    <a:pt x="13939" y="4715"/>
                  </a:lnTo>
                  <a:lnTo>
                    <a:pt x="15256" y="4974"/>
                  </a:lnTo>
                  <a:lnTo>
                    <a:pt x="15832" y="5197"/>
                  </a:lnTo>
                  <a:lnTo>
                    <a:pt x="16388" y="5457"/>
                  </a:lnTo>
                  <a:lnTo>
                    <a:pt x="17298" y="6125"/>
                  </a:lnTo>
                  <a:lnTo>
                    <a:pt x="17687" y="6515"/>
                  </a:lnTo>
                  <a:lnTo>
                    <a:pt x="18040" y="6942"/>
                  </a:lnTo>
                  <a:lnTo>
                    <a:pt x="18578" y="7907"/>
                  </a:lnTo>
                  <a:lnTo>
                    <a:pt x="18764" y="8445"/>
                  </a:lnTo>
                  <a:lnTo>
                    <a:pt x="18912" y="9002"/>
                  </a:lnTo>
                  <a:lnTo>
                    <a:pt x="19079" y="10152"/>
                  </a:lnTo>
                  <a:lnTo>
                    <a:pt x="19098" y="10746"/>
                  </a:lnTo>
                  <a:lnTo>
                    <a:pt x="6274" y="10746"/>
                  </a:lnTo>
                  <a:lnTo>
                    <a:pt x="6329" y="10097"/>
                  </a:lnTo>
                  <a:lnTo>
                    <a:pt x="6664" y="8890"/>
                  </a:lnTo>
                  <a:lnTo>
                    <a:pt x="7202" y="7795"/>
                  </a:lnTo>
                  <a:lnTo>
                    <a:pt x="7963" y="6830"/>
                  </a:lnTo>
                  <a:lnTo>
                    <a:pt x="8427" y="6403"/>
                  </a:lnTo>
                  <a:lnTo>
                    <a:pt x="8928" y="5995"/>
                  </a:lnTo>
                  <a:lnTo>
                    <a:pt x="10023" y="5346"/>
                  </a:lnTo>
                  <a:lnTo>
                    <a:pt x="11210" y="4937"/>
                  </a:lnTo>
                  <a:lnTo>
                    <a:pt x="12510" y="4715"/>
                  </a:lnTo>
                  <a:lnTo>
                    <a:pt x="13196" y="4696"/>
                  </a:lnTo>
                  <a:close/>
                  <a:moveTo>
                    <a:pt x="13252" y="1"/>
                  </a:moveTo>
                  <a:lnTo>
                    <a:pt x="12565" y="19"/>
                  </a:lnTo>
                  <a:lnTo>
                    <a:pt x="11192" y="131"/>
                  </a:lnTo>
                  <a:lnTo>
                    <a:pt x="9893" y="372"/>
                  </a:lnTo>
                  <a:lnTo>
                    <a:pt x="8631" y="743"/>
                  </a:lnTo>
                  <a:lnTo>
                    <a:pt x="8018" y="966"/>
                  </a:lnTo>
                  <a:lnTo>
                    <a:pt x="7406" y="1226"/>
                  </a:lnTo>
                  <a:lnTo>
                    <a:pt x="6292" y="1801"/>
                  </a:lnTo>
                  <a:lnTo>
                    <a:pt x="5235" y="2469"/>
                  </a:lnTo>
                  <a:lnTo>
                    <a:pt x="4269" y="3248"/>
                  </a:lnTo>
                  <a:lnTo>
                    <a:pt x="3824" y="3675"/>
                  </a:lnTo>
                  <a:lnTo>
                    <a:pt x="3379" y="4121"/>
                  </a:lnTo>
                  <a:lnTo>
                    <a:pt x="2581" y="5086"/>
                  </a:lnTo>
                  <a:lnTo>
                    <a:pt x="1894" y="6144"/>
                  </a:lnTo>
                  <a:lnTo>
                    <a:pt x="1281" y="7294"/>
                  </a:lnTo>
                  <a:lnTo>
                    <a:pt x="1022" y="7907"/>
                  </a:lnTo>
                  <a:lnTo>
                    <a:pt x="780" y="8538"/>
                  </a:lnTo>
                  <a:lnTo>
                    <a:pt x="391" y="9837"/>
                  </a:lnTo>
                  <a:lnTo>
                    <a:pt x="149" y="11210"/>
                  </a:lnTo>
                  <a:lnTo>
                    <a:pt x="19" y="12658"/>
                  </a:lnTo>
                  <a:lnTo>
                    <a:pt x="1" y="13400"/>
                  </a:lnTo>
                  <a:lnTo>
                    <a:pt x="19" y="14161"/>
                  </a:lnTo>
                  <a:lnTo>
                    <a:pt x="149" y="15609"/>
                  </a:lnTo>
                  <a:lnTo>
                    <a:pt x="391" y="17000"/>
                  </a:lnTo>
                  <a:lnTo>
                    <a:pt x="780" y="18300"/>
                  </a:lnTo>
                  <a:lnTo>
                    <a:pt x="1022" y="18912"/>
                  </a:lnTo>
                  <a:lnTo>
                    <a:pt x="1281" y="19506"/>
                  </a:lnTo>
                  <a:lnTo>
                    <a:pt x="1894" y="20619"/>
                  </a:lnTo>
                  <a:lnTo>
                    <a:pt x="2599" y="21659"/>
                  </a:lnTo>
                  <a:lnTo>
                    <a:pt x="3397" y="22587"/>
                  </a:lnTo>
                  <a:lnTo>
                    <a:pt x="3843" y="23013"/>
                  </a:lnTo>
                  <a:lnTo>
                    <a:pt x="4288" y="23422"/>
                  </a:lnTo>
                  <a:lnTo>
                    <a:pt x="5272" y="24146"/>
                  </a:lnTo>
                  <a:lnTo>
                    <a:pt x="6348" y="24795"/>
                  </a:lnTo>
                  <a:lnTo>
                    <a:pt x="7480" y="25352"/>
                  </a:lnTo>
                  <a:lnTo>
                    <a:pt x="8093" y="25593"/>
                  </a:lnTo>
                  <a:lnTo>
                    <a:pt x="8705" y="25797"/>
                  </a:lnTo>
                  <a:lnTo>
                    <a:pt x="10004" y="26150"/>
                  </a:lnTo>
                  <a:lnTo>
                    <a:pt x="11340" y="26373"/>
                  </a:lnTo>
                  <a:lnTo>
                    <a:pt x="12732" y="26484"/>
                  </a:lnTo>
                  <a:lnTo>
                    <a:pt x="13475" y="26503"/>
                  </a:lnTo>
                  <a:lnTo>
                    <a:pt x="14236" y="26484"/>
                  </a:lnTo>
                  <a:lnTo>
                    <a:pt x="15683" y="26373"/>
                  </a:lnTo>
                  <a:lnTo>
                    <a:pt x="17075" y="26131"/>
                  </a:lnTo>
                  <a:lnTo>
                    <a:pt x="18374" y="25760"/>
                  </a:lnTo>
                  <a:lnTo>
                    <a:pt x="19599" y="25296"/>
                  </a:lnTo>
                  <a:lnTo>
                    <a:pt x="20731" y="24684"/>
                  </a:lnTo>
                  <a:lnTo>
                    <a:pt x="21789" y="23960"/>
                  </a:lnTo>
                  <a:lnTo>
                    <a:pt x="22773" y="23125"/>
                  </a:lnTo>
                  <a:lnTo>
                    <a:pt x="23237" y="22661"/>
                  </a:lnTo>
                  <a:lnTo>
                    <a:pt x="23422" y="22420"/>
                  </a:lnTo>
                  <a:lnTo>
                    <a:pt x="23608" y="21863"/>
                  </a:lnTo>
                  <a:lnTo>
                    <a:pt x="23552" y="21288"/>
                  </a:lnTo>
                  <a:lnTo>
                    <a:pt x="23274" y="20768"/>
                  </a:lnTo>
                  <a:lnTo>
                    <a:pt x="23051" y="20564"/>
                  </a:lnTo>
                  <a:lnTo>
                    <a:pt x="21158" y="19042"/>
                  </a:lnTo>
                  <a:lnTo>
                    <a:pt x="20935" y="18875"/>
                  </a:lnTo>
                  <a:lnTo>
                    <a:pt x="20434" y="18726"/>
                  </a:lnTo>
                  <a:lnTo>
                    <a:pt x="19915" y="18745"/>
                  </a:lnTo>
                  <a:lnTo>
                    <a:pt x="19432" y="18949"/>
                  </a:lnTo>
                  <a:lnTo>
                    <a:pt x="19246" y="19135"/>
                  </a:lnTo>
                  <a:lnTo>
                    <a:pt x="18820" y="19543"/>
                  </a:lnTo>
                  <a:lnTo>
                    <a:pt x="17892" y="20230"/>
                  </a:lnTo>
                  <a:lnTo>
                    <a:pt x="17372" y="20527"/>
                  </a:lnTo>
                  <a:lnTo>
                    <a:pt x="16964" y="20731"/>
                  </a:lnTo>
                  <a:lnTo>
                    <a:pt x="16073" y="21046"/>
                  </a:lnTo>
                  <a:lnTo>
                    <a:pt x="15071" y="21269"/>
                  </a:lnTo>
                  <a:lnTo>
                    <a:pt x="13994" y="21380"/>
                  </a:lnTo>
                  <a:lnTo>
                    <a:pt x="13419" y="21380"/>
                  </a:lnTo>
                  <a:lnTo>
                    <a:pt x="12732" y="21362"/>
                  </a:lnTo>
                  <a:lnTo>
                    <a:pt x="11433" y="21120"/>
                  </a:lnTo>
                  <a:lnTo>
                    <a:pt x="10802" y="20916"/>
                  </a:lnTo>
                  <a:lnTo>
                    <a:pt x="10190" y="20657"/>
                  </a:lnTo>
                  <a:lnTo>
                    <a:pt x="9076" y="20026"/>
                  </a:lnTo>
                  <a:lnTo>
                    <a:pt x="8557" y="19636"/>
                  </a:lnTo>
                  <a:lnTo>
                    <a:pt x="8074" y="19209"/>
                  </a:lnTo>
                  <a:lnTo>
                    <a:pt x="7295" y="18244"/>
                  </a:lnTo>
                  <a:lnTo>
                    <a:pt x="6979" y="17706"/>
                  </a:lnTo>
                  <a:lnTo>
                    <a:pt x="6682" y="17130"/>
                  </a:lnTo>
                  <a:lnTo>
                    <a:pt x="6329" y="15905"/>
                  </a:lnTo>
                  <a:lnTo>
                    <a:pt x="6274" y="15237"/>
                  </a:lnTo>
                  <a:lnTo>
                    <a:pt x="23905" y="15237"/>
                  </a:lnTo>
                  <a:lnTo>
                    <a:pt x="24202" y="15200"/>
                  </a:lnTo>
                  <a:lnTo>
                    <a:pt x="24721" y="14996"/>
                  </a:lnTo>
                  <a:lnTo>
                    <a:pt x="25111" y="14606"/>
                  </a:lnTo>
                  <a:lnTo>
                    <a:pt x="25334" y="14087"/>
                  </a:lnTo>
                  <a:lnTo>
                    <a:pt x="25352" y="13790"/>
                  </a:lnTo>
                  <a:lnTo>
                    <a:pt x="25352" y="13567"/>
                  </a:lnTo>
                  <a:lnTo>
                    <a:pt x="25352" y="12713"/>
                  </a:lnTo>
                  <a:lnTo>
                    <a:pt x="25222" y="11136"/>
                  </a:lnTo>
                  <a:lnTo>
                    <a:pt x="25000" y="9651"/>
                  </a:lnTo>
                  <a:lnTo>
                    <a:pt x="24666" y="8278"/>
                  </a:lnTo>
                  <a:lnTo>
                    <a:pt x="24443" y="7647"/>
                  </a:lnTo>
                  <a:lnTo>
                    <a:pt x="24202" y="7016"/>
                  </a:lnTo>
                  <a:lnTo>
                    <a:pt x="23663" y="5847"/>
                  </a:lnTo>
                  <a:lnTo>
                    <a:pt x="23032" y="4807"/>
                  </a:lnTo>
                  <a:lnTo>
                    <a:pt x="22309" y="3842"/>
                  </a:lnTo>
                  <a:lnTo>
                    <a:pt x="21919" y="3415"/>
                  </a:lnTo>
                  <a:lnTo>
                    <a:pt x="21511" y="3007"/>
                  </a:lnTo>
                  <a:lnTo>
                    <a:pt x="20620" y="2265"/>
                  </a:lnTo>
                  <a:lnTo>
                    <a:pt x="19655" y="1615"/>
                  </a:lnTo>
                  <a:lnTo>
                    <a:pt x="18634" y="1096"/>
                  </a:lnTo>
                  <a:lnTo>
                    <a:pt x="18077" y="873"/>
                  </a:lnTo>
                  <a:lnTo>
                    <a:pt x="17520" y="650"/>
                  </a:lnTo>
                  <a:lnTo>
                    <a:pt x="16370" y="335"/>
                  </a:lnTo>
                  <a:lnTo>
                    <a:pt x="15163" y="112"/>
                  </a:lnTo>
                  <a:lnTo>
                    <a:pt x="13901" y="19"/>
                  </a:lnTo>
                  <a:lnTo>
                    <a:pt x="1325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" name="Google Shape;61;p4"/>
            <p:cNvSpPr/>
            <p:nvPr/>
          </p:nvSpPr>
          <p:spPr>
            <a:xfrm>
              <a:off x="5884625" y="2663300"/>
              <a:ext cx="579075" cy="659800"/>
            </a:xfrm>
            <a:custGeom>
              <a:avLst/>
              <a:gdLst/>
              <a:ahLst/>
              <a:cxnLst/>
              <a:rect l="l" t="t" r="r" b="b"/>
              <a:pathLst>
                <a:path w="23163" h="26392" extrusionOk="0">
                  <a:moveTo>
                    <a:pt x="17223" y="14347"/>
                  </a:moveTo>
                  <a:lnTo>
                    <a:pt x="17223" y="15237"/>
                  </a:lnTo>
                  <a:lnTo>
                    <a:pt x="17205" y="15961"/>
                  </a:lnTo>
                  <a:lnTo>
                    <a:pt x="17001" y="17297"/>
                  </a:lnTo>
                  <a:lnTo>
                    <a:pt x="16574" y="18467"/>
                  </a:lnTo>
                  <a:lnTo>
                    <a:pt x="15943" y="19487"/>
                  </a:lnTo>
                  <a:lnTo>
                    <a:pt x="15553" y="19933"/>
                  </a:lnTo>
                  <a:lnTo>
                    <a:pt x="15108" y="20341"/>
                  </a:lnTo>
                  <a:lnTo>
                    <a:pt x="14087" y="20991"/>
                  </a:lnTo>
                  <a:lnTo>
                    <a:pt x="12862" y="21417"/>
                  </a:lnTo>
                  <a:lnTo>
                    <a:pt x="11433" y="21640"/>
                  </a:lnTo>
                  <a:lnTo>
                    <a:pt x="10653" y="21659"/>
                  </a:lnTo>
                  <a:lnTo>
                    <a:pt x="9855" y="21622"/>
                  </a:lnTo>
                  <a:lnTo>
                    <a:pt x="9076" y="21492"/>
                  </a:lnTo>
                  <a:lnTo>
                    <a:pt x="8705" y="21417"/>
                  </a:lnTo>
                  <a:lnTo>
                    <a:pt x="8000" y="21158"/>
                  </a:lnTo>
                  <a:lnTo>
                    <a:pt x="7666" y="20972"/>
                  </a:lnTo>
                  <a:lnTo>
                    <a:pt x="7369" y="20786"/>
                  </a:lnTo>
                  <a:lnTo>
                    <a:pt x="6867" y="20304"/>
                  </a:lnTo>
                  <a:lnTo>
                    <a:pt x="6645" y="20007"/>
                  </a:lnTo>
                  <a:lnTo>
                    <a:pt x="6478" y="19691"/>
                  </a:lnTo>
                  <a:lnTo>
                    <a:pt x="6274" y="18949"/>
                  </a:lnTo>
                  <a:lnTo>
                    <a:pt x="6255" y="18522"/>
                  </a:lnTo>
                  <a:lnTo>
                    <a:pt x="6274" y="18170"/>
                  </a:lnTo>
                  <a:lnTo>
                    <a:pt x="6385" y="17557"/>
                  </a:lnTo>
                  <a:lnTo>
                    <a:pt x="6626" y="17000"/>
                  </a:lnTo>
                  <a:lnTo>
                    <a:pt x="6979" y="16518"/>
                  </a:lnTo>
                  <a:lnTo>
                    <a:pt x="7202" y="16314"/>
                  </a:lnTo>
                  <a:lnTo>
                    <a:pt x="7684" y="15924"/>
                  </a:lnTo>
                  <a:lnTo>
                    <a:pt x="8872" y="15293"/>
                  </a:lnTo>
                  <a:lnTo>
                    <a:pt x="9540" y="15052"/>
                  </a:lnTo>
                  <a:lnTo>
                    <a:pt x="10264" y="14848"/>
                  </a:lnTo>
                  <a:lnTo>
                    <a:pt x="11804" y="14551"/>
                  </a:lnTo>
                  <a:lnTo>
                    <a:pt x="12621" y="14476"/>
                  </a:lnTo>
                  <a:lnTo>
                    <a:pt x="14272" y="14365"/>
                  </a:lnTo>
                  <a:lnTo>
                    <a:pt x="15813" y="14347"/>
                  </a:lnTo>
                  <a:close/>
                  <a:moveTo>
                    <a:pt x="12008" y="1"/>
                  </a:moveTo>
                  <a:lnTo>
                    <a:pt x="11284" y="19"/>
                  </a:lnTo>
                  <a:lnTo>
                    <a:pt x="9855" y="131"/>
                  </a:lnTo>
                  <a:lnTo>
                    <a:pt x="8445" y="390"/>
                  </a:lnTo>
                  <a:lnTo>
                    <a:pt x="7035" y="762"/>
                  </a:lnTo>
                  <a:lnTo>
                    <a:pt x="6348" y="1003"/>
                  </a:lnTo>
                  <a:lnTo>
                    <a:pt x="5327" y="1374"/>
                  </a:lnTo>
                  <a:lnTo>
                    <a:pt x="3434" y="2376"/>
                  </a:lnTo>
                  <a:lnTo>
                    <a:pt x="2580" y="3007"/>
                  </a:lnTo>
                  <a:lnTo>
                    <a:pt x="2339" y="3193"/>
                  </a:lnTo>
                  <a:lnTo>
                    <a:pt x="2061" y="3712"/>
                  </a:lnTo>
                  <a:lnTo>
                    <a:pt x="2005" y="4269"/>
                  </a:lnTo>
                  <a:lnTo>
                    <a:pt x="2191" y="4845"/>
                  </a:lnTo>
                  <a:lnTo>
                    <a:pt x="2358" y="5086"/>
                  </a:lnTo>
                  <a:lnTo>
                    <a:pt x="3712" y="6663"/>
                  </a:lnTo>
                  <a:lnTo>
                    <a:pt x="3898" y="6867"/>
                  </a:lnTo>
                  <a:lnTo>
                    <a:pt x="4381" y="7127"/>
                  </a:lnTo>
                  <a:lnTo>
                    <a:pt x="4900" y="7183"/>
                  </a:lnTo>
                  <a:lnTo>
                    <a:pt x="5420" y="7053"/>
                  </a:lnTo>
                  <a:lnTo>
                    <a:pt x="5661" y="6905"/>
                  </a:lnTo>
                  <a:lnTo>
                    <a:pt x="6107" y="6589"/>
                  </a:lnTo>
                  <a:lnTo>
                    <a:pt x="7127" y="5995"/>
                  </a:lnTo>
                  <a:lnTo>
                    <a:pt x="7684" y="5735"/>
                  </a:lnTo>
                  <a:lnTo>
                    <a:pt x="8129" y="5550"/>
                  </a:lnTo>
                  <a:lnTo>
                    <a:pt x="9057" y="5234"/>
                  </a:lnTo>
                  <a:lnTo>
                    <a:pt x="10022" y="5012"/>
                  </a:lnTo>
                  <a:lnTo>
                    <a:pt x="10988" y="4919"/>
                  </a:lnTo>
                  <a:lnTo>
                    <a:pt x="11489" y="4900"/>
                  </a:lnTo>
                  <a:lnTo>
                    <a:pt x="12064" y="4919"/>
                  </a:lnTo>
                  <a:lnTo>
                    <a:pt x="13159" y="5049"/>
                  </a:lnTo>
                  <a:lnTo>
                    <a:pt x="14161" y="5346"/>
                  </a:lnTo>
                  <a:lnTo>
                    <a:pt x="15089" y="5754"/>
                  </a:lnTo>
                  <a:lnTo>
                    <a:pt x="15534" y="6032"/>
                  </a:lnTo>
                  <a:lnTo>
                    <a:pt x="15924" y="6311"/>
                  </a:lnTo>
                  <a:lnTo>
                    <a:pt x="16574" y="7034"/>
                  </a:lnTo>
                  <a:lnTo>
                    <a:pt x="16982" y="7907"/>
                  </a:lnTo>
                  <a:lnTo>
                    <a:pt x="17205" y="8927"/>
                  </a:lnTo>
                  <a:lnTo>
                    <a:pt x="17223" y="9484"/>
                  </a:lnTo>
                  <a:lnTo>
                    <a:pt x="17223" y="10115"/>
                  </a:lnTo>
                  <a:lnTo>
                    <a:pt x="15757" y="10134"/>
                  </a:lnTo>
                  <a:lnTo>
                    <a:pt x="12769" y="10282"/>
                  </a:lnTo>
                  <a:lnTo>
                    <a:pt x="11247" y="10412"/>
                  </a:lnTo>
                  <a:lnTo>
                    <a:pt x="9744" y="10579"/>
                  </a:lnTo>
                  <a:lnTo>
                    <a:pt x="7647" y="11006"/>
                  </a:lnTo>
                  <a:lnTo>
                    <a:pt x="6329" y="11359"/>
                  </a:lnTo>
                  <a:lnTo>
                    <a:pt x="5698" y="11581"/>
                  </a:lnTo>
                  <a:lnTo>
                    <a:pt x="5067" y="11804"/>
                  </a:lnTo>
                  <a:lnTo>
                    <a:pt x="3935" y="12361"/>
                  </a:lnTo>
                  <a:lnTo>
                    <a:pt x="2914" y="12992"/>
                  </a:lnTo>
                  <a:lnTo>
                    <a:pt x="2005" y="13734"/>
                  </a:lnTo>
                  <a:lnTo>
                    <a:pt x="1597" y="14142"/>
                  </a:lnTo>
                  <a:lnTo>
                    <a:pt x="1207" y="14569"/>
                  </a:lnTo>
                  <a:lnTo>
                    <a:pt x="613" y="15553"/>
                  </a:lnTo>
                  <a:lnTo>
                    <a:pt x="223" y="16666"/>
                  </a:lnTo>
                  <a:lnTo>
                    <a:pt x="19" y="17928"/>
                  </a:lnTo>
                  <a:lnTo>
                    <a:pt x="1" y="18615"/>
                  </a:lnTo>
                  <a:lnTo>
                    <a:pt x="19" y="19172"/>
                  </a:lnTo>
                  <a:lnTo>
                    <a:pt x="131" y="20174"/>
                  </a:lnTo>
                  <a:lnTo>
                    <a:pt x="353" y="21083"/>
                  </a:lnTo>
                  <a:lnTo>
                    <a:pt x="706" y="21919"/>
                  </a:lnTo>
                  <a:lnTo>
                    <a:pt x="910" y="22308"/>
                  </a:lnTo>
                  <a:lnTo>
                    <a:pt x="1151" y="22661"/>
                  </a:lnTo>
                  <a:lnTo>
                    <a:pt x="1671" y="23348"/>
                  </a:lnTo>
                  <a:lnTo>
                    <a:pt x="2246" y="23941"/>
                  </a:lnTo>
                  <a:lnTo>
                    <a:pt x="2877" y="24461"/>
                  </a:lnTo>
                  <a:lnTo>
                    <a:pt x="3211" y="24702"/>
                  </a:lnTo>
                  <a:lnTo>
                    <a:pt x="3917" y="25129"/>
                  </a:lnTo>
                  <a:lnTo>
                    <a:pt x="5420" y="25779"/>
                  </a:lnTo>
                  <a:lnTo>
                    <a:pt x="6236" y="26001"/>
                  </a:lnTo>
                  <a:lnTo>
                    <a:pt x="7053" y="26187"/>
                  </a:lnTo>
                  <a:lnTo>
                    <a:pt x="8631" y="26373"/>
                  </a:lnTo>
                  <a:lnTo>
                    <a:pt x="9391" y="26391"/>
                  </a:lnTo>
                  <a:lnTo>
                    <a:pt x="10060" y="26391"/>
                  </a:lnTo>
                  <a:lnTo>
                    <a:pt x="11303" y="26243"/>
                  </a:lnTo>
                  <a:lnTo>
                    <a:pt x="12491" y="25983"/>
                  </a:lnTo>
                  <a:lnTo>
                    <a:pt x="13604" y="25575"/>
                  </a:lnTo>
                  <a:lnTo>
                    <a:pt x="14143" y="25315"/>
                  </a:lnTo>
                  <a:lnTo>
                    <a:pt x="14644" y="25055"/>
                  </a:lnTo>
                  <a:lnTo>
                    <a:pt x="15553" y="24442"/>
                  </a:lnTo>
                  <a:lnTo>
                    <a:pt x="16314" y="23756"/>
                  </a:lnTo>
                  <a:lnTo>
                    <a:pt x="16926" y="22995"/>
                  </a:lnTo>
                  <a:lnTo>
                    <a:pt x="17168" y="22587"/>
                  </a:lnTo>
                  <a:lnTo>
                    <a:pt x="17316" y="22587"/>
                  </a:lnTo>
                  <a:lnTo>
                    <a:pt x="17316" y="24313"/>
                  </a:lnTo>
                  <a:lnTo>
                    <a:pt x="17335" y="24610"/>
                  </a:lnTo>
                  <a:lnTo>
                    <a:pt x="17557" y="25129"/>
                  </a:lnTo>
                  <a:lnTo>
                    <a:pt x="17947" y="25519"/>
                  </a:lnTo>
                  <a:lnTo>
                    <a:pt x="18467" y="25742"/>
                  </a:lnTo>
                  <a:lnTo>
                    <a:pt x="18764" y="25760"/>
                  </a:lnTo>
                  <a:lnTo>
                    <a:pt x="21715" y="25760"/>
                  </a:lnTo>
                  <a:lnTo>
                    <a:pt x="22011" y="25742"/>
                  </a:lnTo>
                  <a:lnTo>
                    <a:pt x="22531" y="25519"/>
                  </a:lnTo>
                  <a:lnTo>
                    <a:pt x="22921" y="25129"/>
                  </a:lnTo>
                  <a:lnTo>
                    <a:pt x="23144" y="24610"/>
                  </a:lnTo>
                  <a:lnTo>
                    <a:pt x="23162" y="24313"/>
                  </a:lnTo>
                  <a:lnTo>
                    <a:pt x="23162" y="10542"/>
                  </a:lnTo>
                  <a:lnTo>
                    <a:pt x="23144" y="9596"/>
                  </a:lnTo>
                  <a:lnTo>
                    <a:pt x="22902" y="7721"/>
                  </a:lnTo>
                  <a:lnTo>
                    <a:pt x="22661" y="6775"/>
                  </a:lnTo>
                  <a:lnTo>
                    <a:pt x="22531" y="6311"/>
                  </a:lnTo>
                  <a:lnTo>
                    <a:pt x="22197" y="5420"/>
                  </a:lnTo>
                  <a:lnTo>
                    <a:pt x="21752" y="4566"/>
                  </a:lnTo>
                  <a:lnTo>
                    <a:pt x="21232" y="3768"/>
                  </a:lnTo>
                  <a:lnTo>
                    <a:pt x="20917" y="3378"/>
                  </a:lnTo>
                  <a:lnTo>
                    <a:pt x="20917" y="3397"/>
                  </a:lnTo>
                  <a:lnTo>
                    <a:pt x="20601" y="3026"/>
                  </a:lnTo>
                  <a:lnTo>
                    <a:pt x="19859" y="2339"/>
                  </a:lnTo>
                  <a:lnTo>
                    <a:pt x="19005" y="1727"/>
                  </a:lnTo>
                  <a:lnTo>
                    <a:pt x="18040" y="1188"/>
                  </a:lnTo>
                  <a:lnTo>
                    <a:pt x="17502" y="947"/>
                  </a:lnTo>
                  <a:lnTo>
                    <a:pt x="16945" y="724"/>
                  </a:lnTo>
                  <a:lnTo>
                    <a:pt x="15720" y="372"/>
                  </a:lnTo>
                  <a:lnTo>
                    <a:pt x="14347" y="131"/>
                  </a:lnTo>
                  <a:lnTo>
                    <a:pt x="12825" y="19"/>
                  </a:lnTo>
                  <a:lnTo>
                    <a:pt x="1200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" name="Google Shape;62;p4"/>
            <p:cNvSpPr/>
            <p:nvPr/>
          </p:nvSpPr>
          <p:spPr>
            <a:xfrm>
              <a:off x="6545800" y="2664225"/>
              <a:ext cx="373975" cy="643550"/>
            </a:xfrm>
            <a:custGeom>
              <a:avLst/>
              <a:gdLst/>
              <a:ahLst/>
              <a:cxnLst/>
              <a:rect l="l" t="t" r="r" b="b"/>
              <a:pathLst>
                <a:path w="14959" h="25742" extrusionOk="0">
                  <a:moveTo>
                    <a:pt x="13400" y="1"/>
                  </a:moveTo>
                  <a:lnTo>
                    <a:pt x="13400" y="19"/>
                  </a:lnTo>
                  <a:lnTo>
                    <a:pt x="12639" y="75"/>
                  </a:lnTo>
                  <a:lnTo>
                    <a:pt x="11339" y="279"/>
                  </a:lnTo>
                  <a:lnTo>
                    <a:pt x="10300" y="613"/>
                  </a:lnTo>
                  <a:lnTo>
                    <a:pt x="9409" y="1059"/>
                  </a:lnTo>
                  <a:lnTo>
                    <a:pt x="9020" y="1318"/>
                  </a:lnTo>
                  <a:lnTo>
                    <a:pt x="8556" y="1671"/>
                  </a:lnTo>
                  <a:lnTo>
                    <a:pt x="7721" y="2451"/>
                  </a:lnTo>
                  <a:lnTo>
                    <a:pt x="6997" y="3341"/>
                  </a:lnTo>
                  <a:lnTo>
                    <a:pt x="6366" y="4325"/>
                  </a:lnTo>
                  <a:lnTo>
                    <a:pt x="6106" y="4863"/>
                  </a:lnTo>
                  <a:lnTo>
                    <a:pt x="5995" y="4863"/>
                  </a:lnTo>
                  <a:lnTo>
                    <a:pt x="5995" y="2135"/>
                  </a:lnTo>
                  <a:lnTo>
                    <a:pt x="5976" y="1838"/>
                  </a:lnTo>
                  <a:lnTo>
                    <a:pt x="5753" y="1318"/>
                  </a:lnTo>
                  <a:lnTo>
                    <a:pt x="5364" y="929"/>
                  </a:lnTo>
                  <a:lnTo>
                    <a:pt x="4844" y="706"/>
                  </a:lnTo>
                  <a:lnTo>
                    <a:pt x="4547" y="687"/>
                  </a:lnTo>
                  <a:lnTo>
                    <a:pt x="1448" y="687"/>
                  </a:lnTo>
                  <a:lnTo>
                    <a:pt x="1151" y="706"/>
                  </a:lnTo>
                  <a:lnTo>
                    <a:pt x="631" y="929"/>
                  </a:lnTo>
                  <a:lnTo>
                    <a:pt x="241" y="1318"/>
                  </a:lnTo>
                  <a:lnTo>
                    <a:pt x="19" y="1838"/>
                  </a:lnTo>
                  <a:lnTo>
                    <a:pt x="0" y="2135"/>
                  </a:lnTo>
                  <a:lnTo>
                    <a:pt x="0" y="24276"/>
                  </a:lnTo>
                  <a:lnTo>
                    <a:pt x="19" y="24573"/>
                  </a:lnTo>
                  <a:lnTo>
                    <a:pt x="241" y="25092"/>
                  </a:lnTo>
                  <a:lnTo>
                    <a:pt x="631" y="25500"/>
                  </a:lnTo>
                  <a:lnTo>
                    <a:pt x="1151" y="25705"/>
                  </a:lnTo>
                  <a:lnTo>
                    <a:pt x="1448" y="25742"/>
                  </a:lnTo>
                  <a:lnTo>
                    <a:pt x="4807" y="25742"/>
                  </a:lnTo>
                  <a:lnTo>
                    <a:pt x="5104" y="25705"/>
                  </a:lnTo>
                  <a:lnTo>
                    <a:pt x="5623" y="25500"/>
                  </a:lnTo>
                  <a:lnTo>
                    <a:pt x="6013" y="25092"/>
                  </a:lnTo>
                  <a:lnTo>
                    <a:pt x="6236" y="24573"/>
                  </a:lnTo>
                  <a:lnTo>
                    <a:pt x="6254" y="24276"/>
                  </a:lnTo>
                  <a:lnTo>
                    <a:pt x="6254" y="12324"/>
                  </a:lnTo>
                  <a:lnTo>
                    <a:pt x="6273" y="11971"/>
                  </a:lnTo>
                  <a:lnTo>
                    <a:pt x="6403" y="11062"/>
                  </a:lnTo>
                  <a:lnTo>
                    <a:pt x="6514" y="10505"/>
                  </a:lnTo>
                  <a:lnTo>
                    <a:pt x="6663" y="9930"/>
                  </a:lnTo>
                  <a:lnTo>
                    <a:pt x="7164" y="8816"/>
                  </a:lnTo>
                  <a:lnTo>
                    <a:pt x="7516" y="8259"/>
                  </a:lnTo>
                  <a:lnTo>
                    <a:pt x="7906" y="7721"/>
                  </a:lnTo>
                  <a:lnTo>
                    <a:pt x="8908" y="6775"/>
                  </a:lnTo>
                  <a:lnTo>
                    <a:pt x="9539" y="6385"/>
                  </a:lnTo>
                  <a:lnTo>
                    <a:pt x="10170" y="6014"/>
                  </a:lnTo>
                  <a:lnTo>
                    <a:pt x="11636" y="5439"/>
                  </a:lnTo>
                  <a:lnTo>
                    <a:pt x="12917" y="5142"/>
                  </a:lnTo>
                  <a:lnTo>
                    <a:pt x="13678" y="5030"/>
                  </a:lnTo>
                  <a:lnTo>
                    <a:pt x="13938" y="4993"/>
                  </a:lnTo>
                  <a:lnTo>
                    <a:pt x="14420" y="4752"/>
                  </a:lnTo>
                  <a:lnTo>
                    <a:pt x="14754" y="4344"/>
                  </a:lnTo>
                  <a:lnTo>
                    <a:pt x="14940" y="3861"/>
                  </a:lnTo>
                  <a:lnTo>
                    <a:pt x="14958" y="3583"/>
                  </a:lnTo>
                  <a:lnTo>
                    <a:pt x="14940" y="1430"/>
                  </a:lnTo>
                  <a:lnTo>
                    <a:pt x="14903" y="1133"/>
                  </a:lnTo>
                  <a:lnTo>
                    <a:pt x="14661" y="595"/>
                  </a:lnTo>
                  <a:lnTo>
                    <a:pt x="14253" y="205"/>
                  </a:lnTo>
                  <a:lnTo>
                    <a:pt x="1369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63;p4"/>
            <p:cNvSpPr/>
            <p:nvPr/>
          </p:nvSpPr>
          <p:spPr>
            <a:xfrm>
              <a:off x="6961975" y="2500450"/>
              <a:ext cx="420375" cy="820325"/>
            </a:xfrm>
            <a:custGeom>
              <a:avLst/>
              <a:gdLst/>
              <a:ahLst/>
              <a:cxnLst/>
              <a:rect l="l" t="t" r="r" b="b"/>
              <a:pathLst>
                <a:path w="16815" h="32813" extrusionOk="0">
                  <a:moveTo>
                    <a:pt x="5846" y="1"/>
                  </a:moveTo>
                  <a:lnTo>
                    <a:pt x="5549" y="19"/>
                  </a:lnTo>
                  <a:lnTo>
                    <a:pt x="5030" y="242"/>
                  </a:lnTo>
                  <a:lnTo>
                    <a:pt x="4621" y="632"/>
                  </a:lnTo>
                  <a:lnTo>
                    <a:pt x="4417" y="1151"/>
                  </a:lnTo>
                  <a:lnTo>
                    <a:pt x="4399" y="1448"/>
                  </a:lnTo>
                  <a:lnTo>
                    <a:pt x="4399" y="6515"/>
                  </a:lnTo>
                  <a:lnTo>
                    <a:pt x="1448" y="6515"/>
                  </a:lnTo>
                  <a:lnTo>
                    <a:pt x="1169" y="6533"/>
                  </a:lnTo>
                  <a:lnTo>
                    <a:pt x="650" y="6756"/>
                  </a:lnTo>
                  <a:lnTo>
                    <a:pt x="242" y="7146"/>
                  </a:lnTo>
                  <a:lnTo>
                    <a:pt x="19" y="7665"/>
                  </a:lnTo>
                  <a:lnTo>
                    <a:pt x="0" y="7962"/>
                  </a:lnTo>
                  <a:lnTo>
                    <a:pt x="0" y="10078"/>
                  </a:lnTo>
                  <a:lnTo>
                    <a:pt x="19" y="10375"/>
                  </a:lnTo>
                  <a:lnTo>
                    <a:pt x="242" y="10895"/>
                  </a:lnTo>
                  <a:lnTo>
                    <a:pt x="650" y="11284"/>
                  </a:lnTo>
                  <a:lnTo>
                    <a:pt x="1169" y="11507"/>
                  </a:lnTo>
                  <a:lnTo>
                    <a:pt x="1448" y="11526"/>
                  </a:lnTo>
                  <a:lnTo>
                    <a:pt x="4399" y="11526"/>
                  </a:lnTo>
                  <a:lnTo>
                    <a:pt x="4399" y="23941"/>
                  </a:lnTo>
                  <a:lnTo>
                    <a:pt x="4399" y="24851"/>
                  </a:lnTo>
                  <a:lnTo>
                    <a:pt x="4566" y="26558"/>
                  </a:lnTo>
                  <a:lnTo>
                    <a:pt x="4733" y="27356"/>
                  </a:lnTo>
                  <a:lnTo>
                    <a:pt x="4918" y="28136"/>
                  </a:lnTo>
                  <a:lnTo>
                    <a:pt x="5549" y="29546"/>
                  </a:lnTo>
                  <a:lnTo>
                    <a:pt x="5976" y="30177"/>
                  </a:lnTo>
                  <a:lnTo>
                    <a:pt x="6217" y="30474"/>
                  </a:lnTo>
                  <a:lnTo>
                    <a:pt x="6756" y="31031"/>
                  </a:lnTo>
                  <a:lnTo>
                    <a:pt x="7368" y="31513"/>
                  </a:lnTo>
                  <a:lnTo>
                    <a:pt x="8073" y="31922"/>
                  </a:lnTo>
                  <a:lnTo>
                    <a:pt x="8463" y="32107"/>
                  </a:lnTo>
                  <a:lnTo>
                    <a:pt x="8853" y="32274"/>
                  </a:lnTo>
                  <a:lnTo>
                    <a:pt x="9762" y="32534"/>
                  </a:lnTo>
                  <a:lnTo>
                    <a:pt x="10783" y="32720"/>
                  </a:lnTo>
                  <a:lnTo>
                    <a:pt x="11915" y="32794"/>
                  </a:lnTo>
                  <a:lnTo>
                    <a:pt x="12527" y="32812"/>
                  </a:lnTo>
                  <a:lnTo>
                    <a:pt x="13047" y="32794"/>
                  </a:lnTo>
                  <a:lnTo>
                    <a:pt x="14142" y="32701"/>
                  </a:lnTo>
                  <a:lnTo>
                    <a:pt x="14717" y="32627"/>
                  </a:lnTo>
                  <a:lnTo>
                    <a:pt x="15274" y="32534"/>
                  </a:lnTo>
                  <a:lnTo>
                    <a:pt x="16276" y="32274"/>
                  </a:lnTo>
                  <a:lnTo>
                    <a:pt x="16703" y="32126"/>
                  </a:lnTo>
                  <a:lnTo>
                    <a:pt x="16499" y="27226"/>
                  </a:lnTo>
                  <a:lnTo>
                    <a:pt x="15887" y="27467"/>
                  </a:lnTo>
                  <a:lnTo>
                    <a:pt x="15181" y="27616"/>
                  </a:lnTo>
                  <a:lnTo>
                    <a:pt x="14476" y="27727"/>
                  </a:lnTo>
                  <a:lnTo>
                    <a:pt x="13827" y="27746"/>
                  </a:lnTo>
                  <a:lnTo>
                    <a:pt x="13326" y="27746"/>
                  </a:lnTo>
                  <a:lnTo>
                    <a:pt x="12472" y="27597"/>
                  </a:lnTo>
                  <a:lnTo>
                    <a:pt x="11804" y="27319"/>
                  </a:lnTo>
                  <a:lnTo>
                    <a:pt x="11303" y="26911"/>
                  </a:lnTo>
                  <a:lnTo>
                    <a:pt x="11154" y="26651"/>
                  </a:lnTo>
                  <a:lnTo>
                    <a:pt x="11006" y="26372"/>
                  </a:lnTo>
                  <a:lnTo>
                    <a:pt x="10783" y="25760"/>
                  </a:lnTo>
                  <a:lnTo>
                    <a:pt x="10560" y="24702"/>
                  </a:lnTo>
                  <a:lnTo>
                    <a:pt x="10542" y="23886"/>
                  </a:lnTo>
                  <a:lnTo>
                    <a:pt x="10542" y="11526"/>
                  </a:lnTo>
                  <a:lnTo>
                    <a:pt x="15367" y="11526"/>
                  </a:lnTo>
                  <a:lnTo>
                    <a:pt x="15645" y="11507"/>
                  </a:lnTo>
                  <a:lnTo>
                    <a:pt x="16165" y="11284"/>
                  </a:lnTo>
                  <a:lnTo>
                    <a:pt x="16573" y="10895"/>
                  </a:lnTo>
                  <a:lnTo>
                    <a:pt x="16796" y="10375"/>
                  </a:lnTo>
                  <a:lnTo>
                    <a:pt x="16815" y="10078"/>
                  </a:lnTo>
                  <a:lnTo>
                    <a:pt x="16815" y="7962"/>
                  </a:lnTo>
                  <a:lnTo>
                    <a:pt x="16796" y="7665"/>
                  </a:lnTo>
                  <a:lnTo>
                    <a:pt x="16573" y="7146"/>
                  </a:lnTo>
                  <a:lnTo>
                    <a:pt x="16165" y="6756"/>
                  </a:lnTo>
                  <a:lnTo>
                    <a:pt x="15645" y="6533"/>
                  </a:lnTo>
                  <a:lnTo>
                    <a:pt x="15367" y="6515"/>
                  </a:lnTo>
                  <a:lnTo>
                    <a:pt x="10542" y="6515"/>
                  </a:lnTo>
                  <a:lnTo>
                    <a:pt x="10542" y="1448"/>
                  </a:lnTo>
                  <a:lnTo>
                    <a:pt x="10523" y="1151"/>
                  </a:lnTo>
                  <a:lnTo>
                    <a:pt x="10300" y="632"/>
                  </a:lnTo>
                  <a:lnTo>
                    <a:pt x="9911" y="242"/>
                  </a:lnTo>
                  <a:lnTo>
                    <a:pt x="9391" y="19"/>
                  </a:lnTo>
                  <a:lnTo>
                    <a:pt x="909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" name="Google Shape;64;p4"/>
            <p:cNvSpPr/>
            <p:nvPr/>
          </p:nvSpPr>
          <p:spPr>
            <a:xfrm>
              <a:off x="4511750" y="2466575"/>
              <a:ext cx="655150" cy="841200"/>
            </a:xfrm>
            <a:custGeom>
              <a:avLst/>
              <a:gdLst/>
              <a:ahLst/>
              <a:cxnLst/>
              <a:rect l="l" t="t" r="r" b="b"/>
              <a:pathLst>
                <a:path w="26206" h="33648" extrusionOk="0">
                  <a:moveTo>
                    <a:pt x="1466" y="1"/>
                  </a:moveTo>
                  <a:lnTo>
                    <a:pt x="1169" y="19"/>
                  </a:lnTo>
                  <a:lnTo>
                    <a:pt x="650" y="242"/>
                  </a:lnTo>
                  <a:lnTo>
                    <a:pt x="241" y="632"/>
                  </a:lnTo>
                  <a:lnTo>
                    <a:pt x="19" y="1151"/>
                  </a:lnTo>
                  <a:lnTo>
                    <a:pt x="0" y="1448"/>
                  </a:lnTo>
                  <a:lnTo>
                    <a:pt x="0" y="32200"/>
                  </a:lnTo>
                  <a:lnTo>
                    <a:pt x="19" y="32497"/>
                  </a:lnTo>
                  <a:lnTo>
                    <a:pt x="241" y="33017"/>
                  </a:lnTo>
                  <a:lnTo>
                    <a:pt x="650" y="33406"/>
                  </a:lnTo>
                  <a:lnTo>
                    <a:pt x="1169" y="33629"/>
                  </a:lnTo>
                  <a:lnTo>
                    <a:pt x="1466" y="33648"/>
                  </a:lnTo>
                  <a:lnTo>
                    <a:pt x="4825" y="33648"/>
                  </a:lnTo>
                  <a:lnTo>
                    <a:pt x="5122" y="33629"/>
                  </a:lnTo>
                  <a:lnTo>
                    <a:pt x="5642" y="33406"/>
                  </a:lnTo>
                  <a:lnTo>
                    <a:pt x="6032" y="33017"/>
                  </a:lnTo>
                  <a:lnTo>
                    <a:pt x="6255" y="32497"/>
                  </a:lnTo>
                  <a:lnTo>
                    <a:pt x="6273" y="32200"/>
                  </a:lnTo>
                  <a:lnTo>
                    <a:pt x="6273" y="18133"/>
                  </a:lnTo>
                  <a:lnTo>
                    <a:pt x="19932" y="18133"/>
                  </a:lnTo>
                  <a:lnTo>
                    <a:pt x="19932" y="32200"/>
                  </a:lnTo>
                  <a:lnTo>
                    <a:pt x="19951" y="32497"/>
                  </a:lnTo>
                  <a:lnTo>
                    <a:pt x="20174" y="33017"/>
                  </a:lnTo>
                  <a:lnTo>
                    <a:pt x="20563" y="33406"/>
                  </a:lnTo>
                  <a:lnTo>
                    <a:pt x="21083" y="33629"/>
                  </a:lnTo>
                  <a:lnTo>
                    <a:pt x="21380" y="33648"/>
                  </a:lnTo>
                  <a:lnTo>
                    <a:pt x="24758" y="33648"/>
                  </a:lnTo>
                  <a:lnTo>
                    <a:pt x="25036" y="33629"/>
                  </a:lnTo>
                  <a:lnTo>
                    <a:pt x="25556" y="33406"/>
                  </a:lnTo>
                  <a:lnTo>
                    <a:pt x="25964" y="33017"/>
                  </a:lnTo>
                  <a:lnTo>
                    <a:pt x="26187" y="32497"/>
                  </a:lnTo>
                  <a:lnTo>
                    <a:pt x="26205" y="32200"/>
                  </a:lnTo>
                  <a:lnTo>
                    <a:pt x="26205" y="1448"/>
                  </a:lnTo>
                  <a:lnTo>
                    <a:pt x="26187" y="1151"/>
                  </a:lnTo>
                  <a:lnTo>
                    <a:pt x="25964" y="632"/>
                  </a:lnTo>
                  <a:lnTo>
                    <a:pt x="25556" y="242"/>
                  </a:lnTo>
                  <a:lnTo>
                    <a:pt x="25036" y="19"/>
                  </a:lnTo>
                  <a:lnTo>
                    <a:pt x="24758" y="1"/>
                  </a:lnTo>
                  <a:lnTo>
                    <a:pt x="21380" y="1"/>
                  </a:lnTo>
                  <a:lnTo>
                    <a:pt x="21083" y="19"/>
                  </a:lnTo>
                  <a:lnTo>
                    <a:pt x="20563" y="242"/>
                  </a:lnTo>
                  <a:lnTo>
                    <a:pt x="20174" y="632"/>
                  </a:lnTo>
                  <a:lnTo>
                    <a:pt x="19951" y="1151"/>
                  </a:lnTo>
                  <a:lnTo>
                    <a:pt x="19932" y="1448"/>
                  </a:lnTo>
                  <a:lnTo>
                    <a:pt x="19932" y="13641"/>
                  </a:lnTo>
                  <a:lnTo>
                    <a:pt x="6273" y="13641"/>
                  </a:lnTo>
                  <a:lnTo>
                    <a:pt x="6273" y="1448"/>
                  </a:lnTo>
                  <a:lnTo>
                    <a:pt x="6255" y="1151"/>
                  </a:lnTo>
                  <a:lnTo>
                    <a:pt x="6032" y="632"/>
                  </a:lnTo>
                  <a:lnTo>
                    <a:pt x="5642" y="242"/>
                  </a:lnTo>
                  <a:lnTo>
                    <a:pt x="5122" y="19"/>
                  </a:lnTo>
                  <a:lnTo>
                    <a:pt x="482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" name="Google Shape;65;p4"/>
            <p:cNvSpPr/>
            <p:nvPr/>
          </p:nvSpPr>
          <p:spPr>
            <a:xfrm>
              <a:off x="2392800" y="2663300"/>
              <a:ext cx="633800" cy="662575"/>
            </a:xfrm>
            <a:custGeom>
              <a:avLst/>
              <a:gdLst/>
              <a:ahLst/>
              <a:cxnLst/>
              <a:rect l="l" t="t" r="r" b="b"/>
              <a:pathLst>
                <a:path w="25352" h="26503" extrusionOk="0">
                  <a:moveTo>
                    <a:pt x="13195" y="4696"/>
                  </a:moveTo>
                  <a:lnTo>
                    <a:pt x="13938" y="4715"/>
                  </a:lnTo>
                  <a:lnTo>
                    <a:pt x="15255" y="4974"/>
                  </a:lnTo>
                  <a:lnTo>
                    <a:pt x="15831" y="5197"/>
                  </a:lnTo>
                  <a:lnTo>
                    <a:pt x="16369" y="5457"/>
                  </a:lnTo>
                  <a:lnTo>
                    <a:pt x="17297" y="6125"/>
                  </a:lnTo>
                  <a:lnTo>
                    <a:pt x="17687" y="6515"/>
                  </a:lnTo>
                  <a:lnTo>
                    <a:pt x="18039" y="6942"/>
                  </a:lnTo>
                  <a:lnTo>
                    <a:pt x="18559" y="7907"/>
                  </a:lnTo>
                  <a:lnTo>
                    <a:pt x="18745" y="8445"/>
                  </a:lnTo>
                  <a:lnTo>
                    <a:pt x="18912" y="9002"/>
                  </a:lnTo>
                  <a:lnTo>
                    <a:pt x="19079" y="10152"/>
                  </a:lnTo>
                  <a:lnTo>
                    <a:pt x="19097" y="10746"/>
                  </a:lnTo>
                  <a:lnTo>
                    <a:pt x="6254" y="10746"/>
                  </a:lnTo>
                  <a:lnTo>
                    <a:pt x="6329" y="10097"/>
                  </a:lnTo>
                  <a:lnTo>
                    <a:pt x="6663" y="8890"/>
                  </a:lnTo>
                  <a:lnTo>
                    <a:pt x="7201" y="7795"/>
                  </a:lnTo>
                  <a:lnTo>
                    <a:pt x="7962" y="6830"/>
                  </a:lnTo>
                  <a:lnTo>
                    <a:pt x="8426" y="6403"/>
                  </a:lnTo>
                  <a:lnTo>
                    <a:pt x="8927" y="5995"/>
                  </a:lnTo>
                  <a:lnTo>
                    <a:pt x="10003" y="5346"/>
                  </a:lnTo>
                  <a:lnTo>
                    <a:pt x="11210" y="4937"/>
                  </a:lnTo>
                  <a:lnTo>
                    <a:pt x="12509" y="4715"/>
                  </a:lnTo>
                  <a:lnTo>
                    <a:pt x="13195" y="4696"/>
                  </a:lnTo>
                  <a:close/>
                  <a:moveTo>
                    <a:pt x="13251" y="1"/>
                  </a:moveTo>
                  <a:lnTo>
                    <a:pt x="12546" y="19"/>
                  </a:lnTo>
                  <a:lnTo>
                    <a:pt x="11191" y="131"/>
                  </a:lnTo>
                  <a:lnTo>
                    <a:pt x="9873" y="372"/>
                  </a:lnTo>
                  <a:lnTo>
                    <a:pt x="8611" y="743"/>
                  </a:lnTo>
                  <a:lnTo>
                    <a:pt x="8018" y="966"/>
                  </a:lnTo>
                  <a:lnTo>
                    <a:pt x="7405" y="1226"/>
                  </a:lnTo>
                  <a:lnTo>
                    <a:pt x="6273" y="1801"/>
                  </a:lnTo>
                  <a:lnTo>
                    <a:pt x="5234" y="2469"/>
                  </a:lnTo>
                  <a:lnTo>
                    <a:pt x="4269" y="3248"/>
                  </a:lnTo>
                  <a:lnTo>
                    <a:pt x="3805" y="3675"/>
                  </a:lnTo>
                  <a:lnTo>
                    <a:pt x="3378" y="4121"/>
                  </a:lnTo>
                  <a:lnTo>
                    <a:pt x="2580" y="5086"/>
                  </a:lnTo>
                  <a:lnTo>
                    <a:pt x="1875" y="6144"/>
                  </a:lnTo>
                  <a:lnTo>
                    <a:pt x="1281" y="7294"/>
                  </a:lnTo>
                  <a:lnTo>
                    <a:pt x="1021" y="7907"/>
                  </a:lnTo>
                  <a:lnTo>
                    <a:pt x="780" y="8538"/>
                  </a:lnTo>
                  <a:lnTo>
                    <a:pt x="390" y="9837"/>
                  </a:lnTo>
                  <a:lnTo>
                    <a:pt x="130" y="11210"/>
                  </a:lnTo>
                  <a:lnTo>
                    <a:pt x="19" y="12658"/>
                  </a:lnTo>
                  <a:lnTo>
                    <a:pt x="0" y="13400"/>
                  </a:lnTo>
                  <a:lnTo>
                    <a:pt x="19" y="14161"/>
                  </a:lnTo>
                  <a:lnTo>
                    <a:pt x="130" y="15609"/>
                  </a:lnTo>
                  <a:lnTo>
                    <a:pt x="390" y="17000"/>
                  </a:lnTo>
                  <a:lnTo>
                    <a:pt x="780" y="18300"/>
                  </a:lnTo>
                  <a:lnTo>
                    <a:pt x="1021" y="18912"/>
                  </a:lnTo>
                  <a:lnTo>
                    <a:pt x="1281" y="19506"/>
                  </a:lnTo>
                  <a:lnTo>
                    <a:pt x="1893" y="20619"/>
                  </a:lnTo>
                  <a:lnTo>
                    <a:pt x="2598" y="21659"/>
                  </a:lnTo>
                  <a:lnTo>
                    <a:pt x="3396" y="22587"/>
                  </a:lnTo>
                  <a:lnTo>
                    <a:pt x="3842" y="23013"/>
                  </a:lnTo>
                  <a:lnTo>
                    <a:pt x="4287" y="23422"/>
                  </a:lnTo>
                  <a:lnTo>
                    <a:pt x="5271" y="24146"/>
                  </a:lnTo>
                  <a:lnTo>
                    <a:pt x="6329" y="24795"/>
                  </a:lnTo>
                  <a:lnTo>
                    <a:pt x="7479" y="25352"/>
                  </a:lnTo>
                  <a:lnTo>
                    <a:pt x="8092" y="25593"/>
                  </a:lnTo>
                  <a:lnTo>
                    <a:pt x="8704" y="25797"/>
                  </a:lnTo>
                  <a:lnTo>
                    <a:pt x="9985" y="26150"/>
                  </a:lnTo>
                  <a:lnTo>
                    <a:pt x="11340" y="26373"/>
                  </a:lnTo>
                  <a:lnTo>
                    <a:pt x="12731" y="26484"/>
                  </a:lnTo>
                  <a:lnTo>
                    <a:pt x="13455" y="26503"/>
                  </a:lnTo>
                  <a:lnTo>
                    <a:pt x="14216" y="26484"/>
                  </a:lnTo>
                  <a:lnTo>
                    <a:pt x="15682" y="26373"/>
                  </a:lnTo>
                  <a:lnTo>
                    <a:pt x="17074" y="26131"/>
                  </a:lnTo>
                  <a:lnTo>
                    <a:pt x="18373" y="25760"/>
                  </a:lnTo>
                  <a:lnTo>
                    <a:pt x="19598" y="25296"/>
                  </a:lnTo>
                  <a:lnTo>
                    <a:pt x="20730" y="24684"/>
                  </a:lnTo>
                  <a:lnTo>
                    <a:pt x="21788" y="23960"/>
                  </a:lnTo>
                  <a:lnTo>
                    <a:pt x="22772" y="23125"/>
                  </a:lnTo>
                  <a:lnTo>
                    <a:pt x="23236" y="22661"/>
                  </a:lnTo>
                  <a:lnTo>
                    <a:pt x="23421" y="22420"/>
                  </a:lnTo>
                  <a:lnTo>
                    <a:pt x="23607" y="21863"/>
                  </a:lnTo>
                  <a:lnTo>
                    <a:pt x="23551" y="21288"/>
                  </a:lnTo>
                  <a:lnTo>
                    <a:pt x="23273" y="20768"/>
                  </a:lnTo>
                  <a:lnTo>
                    <a:pt x="23050" y="20564"/>
                  </a:lnTo>
                  <a:lnTo>
                    <a:pt x="21139" y="19042"/>
                  </a:lnTo>
                  <a:lnTo>
                    <a:pt x="20916" y="18875"/>
                  </a:lnTo>
                  <a:lnTo>
                    <a:pt x="20415" y="18726"/>
                  </a:lnTo>
                  <a:lnTo>
                    <a:pt x="19914" y="18745"/>
                  </a:lnTo>
                  <a:lnTo>
                    <a:pt x="19431" y="18949"/>
                  </a:lnTo>
                  <a:lnTo>
                    <a:pt x="19227" y="19135"/>
                  </a:lnTo>
                  <a:lnTo>
                    <a:pt x="18819" y="19543"/>
                  </a:lnTo>
                  <a:lnTo>
                    <a:pt x="17891" y="20230"/>
                  </a:lnTo>
                  <a:lnTo>
                    <a:pt x="17371" y="20527"/>
                  </a:lnTo>
                  <a:lnTo>
                    <a:pt x="16963" y="20731"/>
                  </a:lnTo>
                  <a:lnTo>
                    <a:pt x="16053" y="21046"/>
                  </a:lnTo>
                  <a:lnTo>
                    <a:pt x="15070" y="21269"/>
                  </a:lnTo>
                  <a:lnTo>
                    <a:pt x="13993" y="21380"/>
                  </a:lnTo>
                  <a:lnTo>
                    <a:pt x="13400" y="21380"/>
                  </a:lnTo>
                  <a:lnTo>
                    <a:pt x="12731" y="21362"/>
                  </a:lnTo>
                  <a:lnTo>
                    <a:pt x="11432" y="21120"/>
                  </a:lnTo>
                  <a:lnTo>
                    <a:pt x="10801" y="20916"/>
                  </a:lnTo>
                  <a:lnTo>
                    <a:pt x="10189" y="20657"/>
                  </a:lnTo>
                  <a:lnTo>
                    <a:pt x="9057" y="20026"/>
                  </a:lnTo>
                  <a:lnTo>
                    <a:pt x="8556" y="19636"/>
                  </a:lnTo>
                  <a:lnTo>
                    <a:pt x="8073" y="19209"/>
                  </a:lnTo>
                  <a:lnTo>
                    <a:pt x="7275" y="18244"/>
                  </a:lnTo>
                  <a:lnTo>
                    <a:pt x="6960" y="17706"/>
                  </a:lnTo>
                  <a:lnTo>
                    <a:pt x="6681" y="17130"/>
                  </a:lnTo>
                  <a:lnTo>
                    <a:pt x="6329" y="15905"/>
                  </a:lnTo>
                  <a:lnTo>
                    <a:pt x="6254" y="15237"/>
                  </a:lnTo>
                  <a:lnTo>
                    <a:pt x="23904" y="15237"/>
                  </a:lnTo>
                  <a:lnTo>
                    <a:pt x="24201" y="15200"/>
                  </a:lnTo>
                  <a:lnTo>
                    <a:pt x="24702" y="14996"/>
                  </a:lnTo>
                  <a:lnTo>
                    <a:pt x="25110" y="14606"/>
                  </a:lnTo>
                  <a:lnTo>
                    <a:pt x="25333" y="14087"/>
                  </a:lnTo>
                  <a:lnTo>
                    <a:pt x="25351" y="13790"/>
                  </a:lnTo>
                  <a:lnTo>
                    <a:pt x="25351" y="13567"/>
                  </a:lnTo>
                  <a:lnTo>
                    <a:pt x="25333" y="12713"/>
                  </a:lnTo>
                  <a:lnTo>
                    <a:pt x="25222" y="11136"/>
                  </a:lnTo>
                  <a:lnTo>
                    <a:pt x="24999" y="9651"/>
                  </a:lnTo>
                  <a:lnTo>
                    <a:pt x="24665" y="8278"/>
                  </a:lnTo>
                  <a:lnTo>
                    <a:pt x="24442" y="7647"/>
                  </a:lnTo>
                  <a:lnTo>
                    <a:pt x="24201" y="7016"/>
                  </a:lnTo>
                  <a:lnTo>
                    <a:pt x="23663" y="5847"/>
                  </a:lnTo>
                  <a:lnTo>
                    <a:pt x="23032" y="4807"/>
                  </a:lnTo>
                  <a:lnTo>
                    <a:pt x="22308" y="3842"/>
                  </a:lnTo>
                  <a:lnTo>
                    <a:pt x="21900" y="3415"/>
                  </a:lnTo>
                  <a:lnTo>
                    <a:pt x="21918" y="3415"/>
                  </a:lnTo>
                  <a:lnTo>
                    <a:pt x="21491" y="3007"/>
                  </a:lnTo>
                  <a:lnTo>
                    <a:pt x="20619" y="2265"/>
                  </a:lnTo>
                  <a:lnTo>
                    <a:pt x="19654" y="1615"/>
                  </a:lnTo>
                  <a:lnTo>
                    <a:pt x="18633" y="1096"/>
                  </a:lnTo>
                  <a:lnTo>
                    <a:pt x="18076" y="873"/>
                  </a:lnTo>
                  <a:lnTo>
                    <a:pt x="17520" y="650"/>
                  </a:lnTo>
                  <a:lnTo>
                    <a:pt x="16369" y="335"/>
                  </a:lnTo>
                  <a:lnTo>
                    <a:pt x="15163" y="112"/>
                  </a:lnTo>
                  <a:lnTo>
                    <a:pt x="13901" y="19"/>
                  </a:lnTo>
                  <a:lnTo>
                    <a:pt x="1325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" name="Google Shape;66;p4"/>
            <p:cNvSpPr/>
            <p:nvPr/>
          </p:nvSpPr>
          <p:spPr>
            <a:xfrm>
              <a:off x="237650" y="2349675"/>
              <a:ext cx="1219800" cy="1015625"/>
            </a:xfrm>
            <a:custGeom>
              <a:avLst/>
              <a:gdLst/>
              <a:ahLst/>
              <a:cxnLst/>
              <a:rect l="l" t="t" r="r" b="b"/>
              <a:pathLst>
                <a:path w="48792" h="40625" extrusionOk="0">
                  <a:moveTo>
                    <a:pt x="11915" y="0"/>
                  </a:moveTo>
                  <a:lnTo>
                    <a:pt x="10746" y="93"/>
                  </a:lnTo>
                  <a:lnTo>
                    <a:pt x="9614" y="297"/>
                  </a:lnTo>
                  <a:lnTo>
                    <a:pt x="8500" y="612"/>
                  </a:lnTo>
                  <a:lnTo>
                    <a:pt x="7443" y="1039"/>
                  </a:lnTo>
                  <a:lnTo>
                    <a:pt x="6422" y="1559"/>
                  </a:lnTo>
                  <a:lnTo>
                    <a:pt x="5457" y="2171"/>
                  </a:lnTo>
                  <a:lnTo>
                    <a:pt x="4547" y="2858"/>
                  </a:lnTo>
                  <a:lnTo>
                    <a:pt x="3712" y="3638"/>
                  </a:lnTo>
                  <a:lnTo>
                    <a:pt x="2933" y="4491"/>
                  </a:lnTo>
                  <a:lnTo>
                    <a:pt x="2246" y="5419"/>
                  </a:lnTo>
                  <a:lnTo>
                    <a:pt x="1634" y="6403"/>
                  </a:lnTo>
                  <a:lnTo>
                    <a:pt x="1114" y="7442"/>
                  </a:lnTo>
                  <a:lnTo>
                    <a:pt x="687" y="8556"/>
                  </a:lnTo>
                  <a:lnTo>
                    <a:pt x="372" y="9688"/>
                  </a:lnTo>
                  <a:lnTo>
                    <a:pt x="149" y="10875"/>
                  </a:lnTo>
                  <a:lnTo>
                    <a:pt x="75" y="11488"/>
                  </a:lnTo>
                  <a:lnTo>
                    <a:pt x="0" y="12583"/>
                  </a:lnTo>
                  <a:lnTo>
                    <a:pt x="130" y="14736"/>
                  </a:lnTo>
                  <a:lnTo>
                    <a:pt x="539" y="16870"/>
                  </a:lnTo>
                  <a:lnTo>
                    <a:pt x="1225" y="18967"/>
                  </a:lnTo>
                  <a:lnTo>
                    <a:pt x="2116" y="21008"/>
                  </a:lnTo>
                  <a:lnTo>
                    <a:pt x="3230" y="23013"/>
                  </a:lnTo>
                  <a:lnTo>
                    <a:pt x="4510" y="24961"/>
                  </a:lnTo>
                  <a:lnTo>
                    <a:pt x="5921" y="26836"/>
                  </a:lnTo>
                  <a:lnTo>
                    <a:pt x="7461" y="28636"/>
                  </a:lnTo>
                  <a:lnTo>
                    <a:pt x="9076" y="30362"/>
                  </a:lnTo>
                  <a:lnTo>
                    <a:pt x="11600" y="32793"/>
                  </a:lnTo>
                  <a:lnTo>
                    <a:pt x="14996" y="35688"/>
                  </a:lnTo>
                  <a:lnTo>
                    <a:pt x="18188" y="38120"/>
                  </a:lnTo>
                  <a:lnTo>
                    <a:pt x="19617" y="39140"/>
                  </a:lnTo>
                  <a:lnTo>
                    <a:pt x="20155" y="39493"/>
                  </a:lnTo>
                  <a:lnTo>
                    <a:pt x="21325" y="40050"/>
                  </a:lnTo>
                  <a:lnTo>
                    <a:pt x="22531" y="40439"/>
                  </a:lnTo>
                  <a:lnTo>
                    <a:pt x="23774" y="40625"/>
                  </a:lnTo>
                  <a:lnTo>
                    <a:pt x="25036" y="40625"/>
                  </a:lnTo>
                  <a:lnTo>
                    <a:pt x="26280" y="40439"/>
                  </a:lnTo>
                  <a:lnTo>
                    <a:pt x="27486" y="40050"/>
                  </a:lnTo>
                  <a:lnTo>
                    <a:pt x="28637" y="39493"/>
                  </a:lnTo>
                  <a:lnTo>
                    <a:pt x="29193" y="39140"/>
                  </a:lnTo>
                  <a:lnTo>
                    <a:pt x="30567" y="38157"/>
                  </a:lnTo>
                  <a:lnTo>
                    <a:pt x="33648" y="35818"/>
                  </a:lnTo>
                  <a:lnTo>
                    <a:pt x="36914" y="33053"/>
                  </a:lnTo>
                  <a:lnTo>
                    <a:pt x="39364" y="30733"/>
                  </a:lnTo>
                  <a:lnTo>
                    <a:pt x="40941" y="29081"/>
                  </a:lnTo>
                  <a:lnTo>
                    <a:pt x="42444" y="27356"/>
                  </a:lnTo>
                  <a:lnTo>
                    <a:pt x="43855" y="25555"/>
                  </a:lnTo>
                  <a:lnTo>
                    <a:pt x="45135" y="23699"/>
                  </a:lnTo>
                  <a:lnTo>
                    <a:pt x="46268" y="21788"/>
                  </a:lnTo>
                  <a:lnTo>
                    <a:pt x="47233" y="19839"/>
                  </a:lnTo>
                  <a:lnTo>
                    <a:pt x="47994" y="17835"/>
                  </a:lnTo>
                  <a:lnTo>
                    <a:pt x="48513" y="15793"/>
                  </a:lnTo>
                  <a:lnTo>
                    <a:pt x="48773" y="13715"/>
                  </a:lnTo>
                  <a:lnTo>
                    <a:pt x="48792" y="12676"/>
                  </a:lnTo>
                  <a:lnTo>
                    <a:pt x="48773" y="12082"/>
                  </a:lnTo>
                  <a:lnTo>
                    <a:pt x="48736" y="11488"/>
                  </a:lnTo>
                  <a:lnTo>
                    <a:pt x="48662" y="10820"/>
                  </a:lnTo>
                  <a:lnTo>
                    <a:pt x="48272" y="9224"/>
                  </a:lnTo>
                  <a:lnTo>
                    <a:pt x="47845" y="8017"/>
                  </a:lnTo>
                  <a:lnTo>
                    <a:pt x="47270" y="6830"/>
                  </a:lnTo>
                  <a:lnTo>
                    <a:pt x="46509" y="5753"/>
                  </a:lnTo>
                  <a:lnTo>
                    <a:pt x="45785" y="5104"/>
                  </a:lnTo>
                  <a:lnTo>
                    <a:pt x="45247" y="4788"/>
                  </a:lnTo>
                  <a:lnTo>
                    <a:pt x="44653" y="4547"/>
                  </a:lnTo>
                  <a:lnTo>
                    <a:pt x="44003" y="4417"/>
                  </a:lnTo>
                  <a:lnTo>
                    <a:pt x="43242" y="4417"/>
                  </a:lnTo>
                  <a:lnTo>
                    <a:pt x="42444" y="4565"/>
                  </a:lnTo>
                  <a:lnTo>
                    <a:pt x="41684" y="4881"/>
                  </a:lnTo>
                  <a:lnTo>
                    <a:pt x="40997" y="5345"/>
                  </a:lnTo>
                  <a:lnTo>
                    <a:pt x="40681" y="5642"/>
                  </a:lnTo>
                  <a:lnTo>
                    <a:pt x="27616" y="18707"/>
                  </a:lnTo>
                  <a:lnTo>
                    <a:pt x="27393" y="18930"/>
                  </a:lnTo>
                  <a:lnTo>
                    <a:pt x="27059" y="19450"/>
                  </a:lnTo>
                  <a:lnTo>
                    <a:pt x="26836" y="20006"/>
                  </a:lnTo>
                  <a:lnTo>
                    <a:pt x="26725" y="20582"/>
                  </a:lnTo>
                  <a:lnTo>
                    <a:pt x="26725" y="21175"/>
                  </a:lnTo>
                  <a:lnTo>
                    <a:pt x="26836" y="21751"/>
                  </a:lnTo>
                  <a:lnTo>
                    <a:pt x="27059" y="22308"/>
                  </a:lnTo>
                  <a:lnTo>
                    <a:pt x="27393" y="22809"/>
                  </a:lnTo>
                  <a:lnTo>
                    <a:pt x="27616" y="23050"/>
                  </a:lnTo>
                  <a:lnTo>
                    <a:pt x="27839" y="23254"/>
                  </a:lnTo>
                  <a:lnTo>
                    <a:pt x="28358" y="23607"/>
                  </a:lnTo>
                  <a:lnTo>
                    <a:pt x="28915" y="23829"/>
                  </a:lnTo>
                  <a:lnTo>
                    <a:pt x="29490" y="23941"/>
                  </a:lnTo>
                  <a:lnTo>
                    <a:pt x="30084" y="23941"/>
                  </a:lnTo>
                  <a:lnTo>
                    <a:pt x="30660" y="23829"/>
                  </a:lnTo>
                  <a:lnTo>
                    <a:pt x="31216" y="23607"/>
                  </a:lnTo>
                  <a:lnTo>
                    <a:pt x="31717" y="23254"/>
                  </a:lnTo>
                  <a:lnTo>
                    <a:pt x="31959" y="23050"/>
                  </a:lnTo>
                  <a:lnTo>
                    <a:pt x="43075" y="11933"/>
                  </a:lnTo>
                  <a:lnTo>
                    <a:pt x="43168" y="11840"/>
                  </a:lnTo>
                  <a:lnTo>
                    <a:pt x="43410" y="11748"/>
                  </a:lnTo>
                  <a:lnTo>
                    <a:pt x="43651" y="11748"/>
                  </a:lnTo>
                  <a:lnTo>
                    <a:pt x="43873" y="11840"/>
                  </a:lnTo>
                  <a:lnTo>
                    <a:pt x="43966" y="11933"/>
                  </a:lnTo>
                  <a:lnTo>
                    <a:pt x="44727" y="12694"/>
                  </a:lnTo>
                  <a:lnTo>
                    <a:pt x="44820" y="12787"/>
                  </a:lnTo>
                  <a:lnTo>
                    <a:pt x="44913" y="13010"/>
                  </a:lnTo>
                  <a:lnTo>
                    <a:pt x="44913" y="13269"/>
                  </a:lnTo>
                  <a:lnTo>
                    <a:pt x="44820" y="13492"/>
                  </a:lnTo>
                  <a:lnTo>
                    <a:pt x="44727" y="13585"/>
                  </a:lnTo>
                  <a:lnTo>
                    <a:pt x="33703" y="24627"/>
                  </a:lnTo>
                  <a:lnTo>
                    <a:pt x="33314" y="24999"/>
                  </a:lnTo>
                  <a:lnTo>
                    <a:pt x="32441" y="25592"/>
                  </a:lnTo>
                  <a:lnTo>
                    <a:pt x="31476" y="26019"/>
                  </a:lnTo>
                  <a:lnTo>
                    <a:pt x="30455" y="26261"/>
                  </a:lnTo>
                  <a:lnTo>
                    <a:pt x="29936" y="26298"/>
                  </a:lnTo>
                  <a:lnTo>
                    <a:pt x="29360" y="26298"/>
                  </a:lnTo>
                  <a:lnTo>
                    <a:pt x="28247" y="26094"/>
                  </a:lnTo>
                  <a:lnTo>
                    <a:pt x="27208" y="25667"/>
                  </a:lnTo>
                  <a:lnTo>
                    <a:pt x="26280" y="25017"/>
                  </a:lnTo>
                  <a:lnTo>
                    <a:pt x="25871" y="24627"/>
                  </a:lnTo>
                  <a:lnTo>
                    <a:pt x="25500" y="24201"/>
                  </a:lnTo>
                  <a:lnTo>
                    <a:pt x="24925" y="23291"/>
                  </a:lnTo>
                  <a:lnTo>
                    <a:pt x="24572" y="22326"/>
                  </a:lnTo>
                  <a:lnTo>
                    <a:pt x="24405" y="21287"/>
                  </a:lnTo>
                  <a:lnTo>
                    <a:pt x="24424" y="20248"/>
                  </a:lnTo>
                  <a:lnTo>
                    <a:pt x="24647" y="19227"/>
                  </a:lnTo>
                  <a:lnTo>
                    <a:pt x="25055" y="18262"/>
                  </a:lnTo>
                  <a:lnTo>
                    <a:pt x="25649" y="17352"/>
                  </a:lnTo>
                  <a:lnTo>
                    <a:pt x="26038" y="16963"/>
                  </a:lnTo>
                  <a:lnTo>
                    <a:pt x="33351" y="9651"/>
                  </a:lnTo>
                  <a:lnTo>
                    <a:pt x="39011" y="3972"/>
                  </a:lnTo>
                  <a:lnTo>
                    <a:pt x="39456" y="3563"/>
                  </a:lnTo>
                  <a:lnTo>
                    <a:pt x="40422" y="2895"/>
                  </a:lnTo>
                  <a:lnTo>
                    <a:pt x="41479" y="2413"/>
                  </a:lnTo>
                  <a:lnTo>
                    <a:pt x="42611" y="2134"/>
                  </a:lnTo>
                  <a:lnTo>
                    <a:pt x="43205" y="2079"/>
                  </a:lnTo>
                  <a:lnTo>
                    <a:pt x="42444" y="1577"/>
                  </a:lnTo>
                  <a:lnTo>
                    <a:pt x="40811" y="798"/>
                  </a:lnTo>
                  <a:lnTo>
                    <a:pt x="39067" y="260"/>
                  </a:lnTo>
                  <a:lnTo>
                    <a:pt x="37229" y="0"/>
                  </a:lnTo>
                  <a:lnTo>
                    <a:pt x="36283" y="0"/>
                  </a:lnTo>
                  <a:lnTo>
                    <a:pt x="35299" y="56"/>
                  </a:lnTo>
                  <a:lnTo>
                    <a:pt x="33425" y="371"/>
                  </a:lnTo>
                  <a:lnTo>
                    <a:pt x="31643" y="965"/>
                  </a:lnTo>
                  <a:lnTo>
                    <a:pt x="29991" y="1819"/>
                  </a:lnTo>
                  <a:lnTo>
                    <a:pt x="28507" y="2877"/>
                  </a:lnTo>
                  <a:lnTo>
                    <a:pt x="27171" y="4157"/>
                  </a:lnTo>
                  <a:lnTo>
                    <a:pt x="26057" y="5623"/>
                  </a:lnTo>
                  <a:lnTo>
                    <a:pt x="25129" y="7256"/>
                  </a:lnTo>
                  <a:lnTo>
                    <a:pt x="24776" y="8147"/>
                  </a:lnTo>
                  <a:lnTo>
                    <a:pt x="24721" y="8259"/>
                  </a:lnTo>
                  <a:lnTo>
                    <a:pt x="24517" y="8389"/>
                  </a:lnTo>
                  <a:lnTo>
                    <a:pt x="24294" y="8389"/>
                  </a:lnTo>
                  <a:lnTo>
                    <a:pt x="24090" y="8259"/>
                  </a:lnTo>
                  <a:lnTo>
                    <a:pt x="24034" y="8147"/>
                  </a:lnTo>
                  <a:lnTo>
                    <a:pt x="23663" y="7256"/>
                  </a:lnTo>
                  <a:lnTo>
                    <a:pt x="22754" y="5623"/>
                  </a:lnTo>
                  <a:lnTo>
                    <a:pt x="21640" y="4157"/>
                  </a:lnTo>
                  <a:lnTo>
                    <a:pt x="20304" y="2877"/>
                  </a:lnTo>
                  <a:lnTo>
                    <a:pt x="18819" y="1819"/>
                  </a:lnTo>
                  <a:lnTo>
                    <a:pt x="17167" y="965"/>
                  </a:lnTo>
                  <a:lnTo>
                    <a:pt x="15386" y="371"/>
                  </a:lnTo>
                  <a:lnTo>
                    <a:pt x="13493" y="56"/>
                  </a:lnTo>
                  <a:lnTo>
                    <a:pt x="12528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67" name="Google Shape;67;p4"/>
          <p:cNvPicPr preferRelativeResize="0"/>
          <p:nvPr/>
        </p:nvPicPr>
        <p:blipFill rotWithShape="1">
          <a:blip r:embed="rId2">
            <a:alphaModFix/>
          </a:blip>
          <a:srcRect l="72572" t="8009" r="75094" b="24285"/>
          <a:stretch/>
        </p:blipFill>
        <p:spPr>
          <a:xfrm flipH="1">
            <a:off x="6398033" y="1458167"/>
            <a:ext cx="5811600" cy="5222400"/>
          </a:xfrm>
          <a:prstGeom prst="flowChartDelay">
            <a:avLst/>
          </a:prstGeom>
          <a:noFill/>
          <a:ln>
            <a:noFill/>
          </a:ln>
        </p:spPr>
      </p:pic>
      <p:pic>
        <p:nvPicPr>
          <p:cNvPr id="68" name="Google Shape;68;p4"/>
          <p:cNvPicPr preferRelativeResize="0"/>
          <p:nvPr/>
        </p:nvPicPr>
        <p:blipFill rotWithShape="1">
          <a:blip r:embed="rId3">
            <a:alphaModFix/>
          </a:blip>
          <a:srcRect l="21040" t="-1867" r="25959" b="26860"/>
          <a:stretch/>
        </p:blipFill>
        <p:spPr>
          <a:xfrm>
            <a:off x="5761233" y="476833"/>
            <a:ext cx="6765532" cy="63811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424143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Page B2C 3">
  <p:cSld name="Title Page B2C 3">
    <p:bg>
      <p:bgPr>
        <a:solidFill>
          <a:schemeClr val="lt2"/>
        </a:solidFill>
        <a:effectLst/>
      </p:bgPr>
    </p:bg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5"/>
          <p:cNvSpPr/>
          <p:nvPr/>
        </p:nvSpPr>
        <p:spPr>
          <a:xfrm>
            <a:off x="9742033" y="0"/>
            <a:ext cx="2467500" cy="10329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" name="Google Shape;71;p5"/>
          <p:cNvSpPr txBox="1">
            <a:spLocks noGrp="1"/>
          </p:cNvSpPr>
          <p:nvPr>
            <p:ph type="ctrTitle"/>
          </p:nvPr>
        </p:nvSpPr>
        <p:spPr>
          <a:xfrm>
            <a:off x="747180" y="2056833"/>
            <a:ext cx="3662400" cy="1725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300"/>
              <a:buNone/>
              <a:defRPr sz="4300" b="1">
                <a:solidFill>
                  <a:schemeClr val="dk2"/>
                </a:solidFill>
              </a:defRPr>
            </a:lvl1pPr>
            <a:lvl2pPr lvl="1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900"/>
              <a:buNone/>
              <a:defRPr sz="5900">
                <a:solidFill>
                  <a:schemeClr val="dk1"/>
                </a:solidFill>
              </a:defRPr>
            </a:lvl2pPr>
            <a:lvl3pPr lvl="2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900"/>
              <a:buNone/>
              <a:defRPr sz="5900">
                <a:solidFill>
                  <a:schemeClr val="dk1"/>
                </a:solidFill>
              </a:defRPr>
            </a:lvl3pPr>
            <a:lvl4pPr lvl="3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900"/>
              <a:buNone/>
              <a:defRPr sz="5900">
                <a:solidFill>
                  <a:schemeClr val="dk1"/>
                </a:solidFill>
              </a:defRPr>
            </a:lvl4pPr>
            <a:lvl5pPr lvl="4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900"/>
              <a:buNone/>
              <a:defRPr sz="5900">
                <a:solidFill>
                  <a:schemeClr val="dk1"/>
                </a:solidFill>
              </a:defRPr>
            </a:lvl5pPr>
            <a:lvl6pPr lvl="5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900"/>
              <a:buNone/>
              <a:defRPr sz="5900">
                <a:solidFill>
                  <a:schemeClr val="dk1"/>
                </a:solidFill>
              </a:defRPr>
            </a:lvl6pPr>
            <a:lvl7pPr lvl="6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900"/>
              <a:buNone/>
              <a:defRPr sz="5900">
                <a:solidFill>
                  <a:schemeClr val="dk1"/>
                </a:solidFill>
              </a:defRPr>
            </a:lvl7pPr>
            <a:lvl8pPr lvl="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900"/>
              <a:buNone/>
              <a:defRPr sz="5900">
                <a:solidFill>
                  <a:schemeClr val="dk1"/>
                </a:solidFill>
              </a:defRPr>
            </a:lvl8pPr>
            <a:lvl9pPr lvl="8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900"/>
              <a:buNone/>
              <a:defRPr sz="59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2" name="Google Shape;72;p5"/>
          <p:cNvSpPr txBox="1">
            <a:spLocks noGrp="1"/>
          </p:cNvSpPr>
          <p:nvPr>
            <p:ph type="subTitle" idx="1"/>
          </p:nvPr>
        </p:nvSpPr>
        <p:spPr>
          <a:xfrm>
            <a:off x="740400" y="3964433"/>
            <a:ext cx="3146100" cy="1519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3" name="Google Shape;73;p5"/>
          <p:cNvSpPr/>
          <p:nvPr/>
        </p:nvSpPr>
        <p:spPr>
          <a:xfrm rot="-5400000">
            <a:off x="5086850" y="-303450"/>
            <a:ext cx="6895200" cy="74649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4" name="Google Shape;74;p5"/>
          <p:cNvSpPr txBox="1">
            <a:spLocks noGrp="1"/>
          </p:cNvSpPr>
          <p:nvPr>
            <p:ph type="body" idx="2"/>
          </p:nvPr>
        </p:nvSpPr>
        <p:spPr>
          <a:xfrm>
            <a:off x="1219200" y="6029833"/>
            <a:ext cx="3491700" cy="408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11150" rtl="0">
              <a:spcBef>
                <a:spcPts val="0"/>
              </a:spcBef>
              <a:spcAft>
                <a:spcPts val="0"/>
              </a:spcAft>
              <a:buSzPts val="1300"/>
              <a:buChar char="•"/>
              <a:defRPr sz="1300"/>
            </a:lvl1pPr>
            <a:lvl2pPr marL="914400" lvl="1" indent="-311150" rtl="0">
              <a:spcBef>
                <a:spcPts val="1300"/>
              </a:spcBef>
              <a:spcAft>
                <a:spcPts val="0"/>
              </a:spcAft>
              <a:buSzPts val="1300"/>
              <a:buChar char="○"/>
              <a:defRPr sz="1300"/>
            </a:lvl2pPr>
            <a:lvl3pPr marL="1371600" lvl="2" indent="-311150" rtl="0">
              <a:spcBef>
                <a:spcPts val="1300"/>
              </a:spcBef>
              <a:spcAft>
                <a:spcPts val="0"/>
              </a:spcAft>
              <a:buSzPts val="1300"/>
              <a:buChar char="•"/>
              <a:defRPr sz="1300"/>
            </a:lvl3pPr>
            <a:lvl4pPr marL="1828800" lvl="3" indent="-311150" rtl="0">
              <a:spcBef>
                <a:spcPts val="1300"/>
              </a:spcBef>
              <a:spcAft>
                <a:spcPts val="0"/>
              </a:spcAft>
              <a:buSzPts val="1300"/>
              <a:buChar char="◦"/>
              <a:defRPr sz="1300"/>
            </a:lvl4pPr>
            <a:lvl5pPr marL="2286000" lvl="4" indent="-311150" rtl="0">
              <a:spcBef>
                <a:spcPts val="1300"/>
              </a:spcBef>
              <a:spcAft>
                <a:spcPts val="0"/>
              </a:spcAft>
              <a:buSzPts val="1300"/>
              <a:buChar char="•"/>
              <a:defRPr sz="1300"/>
            </a:lvl5pPr>
            <a:lvl6pPr marL="2743200" lvl="5" indent="-298450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/>
            </a:lvl6pPr>
            <a:lvl7pPr marL="3200400" lvl="6" indent="-311150" rtl="0">
              <a:spcBef>
                <a:spcPts val="1300"/>
              </a:spcBef>
              <a:spcAft>
                <a:spcPts val="0"/>
              </a:spcAft>
              <a:buSzPts val="1300"/>
              <a:buChar char="•"/>
              <a:defRPr sz="1300"/>
            </a:lvl7pPr>
            <a:lvl8pPr marL="3657600" lvl="7" indent="-311150" rtl="0">
              <a:spcBef>
                <a:spcPts val="1300"/>
              </a:spcBef>
              <a:spcAft>
                <a:spcPts val="0"/>
              </a:spcAft>
              <a:buSzPts val="1300"/>
              <a:buChar char="○"/>
              <a:defRPr sz="1300"/>
            </a:lvl8pPr>
            <a:lvl9pPr marL="4114800" lvl="8" indent="-311150" rtl="0">
              <a:spcBef>
                <a:spcPts val="1300"/>
              </a:spcBef>
              <a:spcAft>
                <a:spcPts val="1300"/>
              </a:spcAft>
              <a:buSzPts val="1300"/>
              <a:buChar char="•"/>
              <a:defRPr sz="1300"/>
            </a:lvl9pPr>
          </a:lstStyle>
          <a:p>
            <a:endParaRPr/>
          </a:p>
        </p:txBody>
      </p:sp>
      <p:grpSp>
        <p:nvGrpSpPr>
          <p:cNvPr id="75" name="Google Shape;75;p5"/>
          <p:cNvGrpSpPr/>
          <p:nvPr/>
        </p:nvGrpSpPr>
        <p:grpSpPr>
          <a:xfrm>
            <a:off x="1211296" y="342443"/>
            <a:ext cx="2449918" cy="348461"/>
            <a:chOff x="237650" y="2349675"/>
            <a:chExt cx="7144700" cy="1015625"/>
          </a:xfrm>
        </p:grpSpPr>
        <p:sp>
          <p:nvSpPr>
            <p:cNvPr id="76" name="Google Shape;76;p5"/>
            <p:cNvSpPr/>
            <p:nvPr/>
          </p:nvSpPr>
          <p:spPr>
            <a:xfrm>
              <a:off x="3096625" y="2466575"/>
              <a:ext cx="156400" cy="841200"/>
            </a:xfrm>
            <a:custGeom>
              <a:avLst/>
              <a:gdLst/>
              <a:ahLst/>
              <a:cxnLst/>
              <a:rect l="l" t="t" r="r" b="b"/>
              <a:pathLst>
                <a:path w="6256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2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1" y="1448"/>
                  </a:lnTo>
                  <a:lnTo>
                    <a:pt x="1" y="32182"/>
                  </a:lnTo>
                  <a:lnTo>
                    <a:pt x="19" y="32479"/>
                  </a:lnTo>
                  <a:lnTo>
                    <a:pt x="242" y="33017"/>
                  </a:lnTo>
                  <a:lnTo>
                    <a:pt x="632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08" y="33648"/>
                  </a:lnTo>
                  <a:lnTo>
                    <a:pt x="5105" y="33629"/>
                  </a:lnTo>
                  <a:lnTo>
                    <a:pt x="5624" y="33406"/>
                  </a:lnTo>
                  <a:lnTo>
                    <a:pt x="6014" y="33017"/>
                  </a:lnTo>
                  <a:lnTo>
                    <a:pt x="6237" y="32479"/>
                  </a:lnTo>
                  <a:lnTo>
                    <a:pt x="6255" y="32182"/>
                  </a:lnTo>
                  <a:lnTo>
                    <a:pt x="6255" y="1448"/>
                  </a:lnTo>
                  <a:lnTo>
                    <a:pt x="6237" y="1151"/>
                  </a:lnTo>
                  <a:lnTo>
                    <a:pt x="6014" y="632"/>
                  </a:lnTo>
                  <a:lnTo>
                    <a:pt x="5624" y="242"/>
                  </a:lnTo>
                  <a:lnTo>
                    <a:pt x="5105" y="19"/>
                  </a:lnTo>
                  <a:lnTo>
                    <a:pt x="480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" name="Google Shape;77;p5"/>
            <p:cNvSpPr/>
            <p:nvPr/>
          </p:nvSpPr>
          <p:spPr>
            <a:xfrm>
              <a:off x="1673175" y="2466575"/>
              <a:ext cx="655150" cy="841200"/>
            </a:xfrm>
            <a:custGeom>
              <a:avLst/>
              <a:gdLst/>
              <a:ahLst/>
              <a:cxnLst/>
              <a:rect l="l" t="t" r="r" b="b"/>
              <a:pathLst>
                <a:path w="26206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1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0" y="1448"/>
                  </a:lnTo>
                  <a:lnTo>
                    <a:pt x="0" y="32200"/>
                  </a:lnTo>
                  <a:lnTo>
                    <a:pt x="19" y="32497"/>
                  </a:lnTo>
                  <a:lnTo>
                    <a:pt x="242" y="33017"/>
                  </a:lnTo>
                  <a:lnTo>
                    <a:pt x="631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26" y="33648"/>
                  </a:lnTo>
                  <a:lnTo>
                    <a:pt x="5104" y="33629"/>
                  </a:lnTo>
                  <a:lnTo>
                    <a:pt x="5624" y="33406"/>
                  </a:lnTo>
                  <a:lnTo>
                    <a:pt x="6032" y="33017"/>
                  </a:lnTo>
                  <a:lnTo>
                    <a:pt x="6255" y="32497"/>
                  </a:lnTo>
                  <a:lnTo>
                    <a:pt x="6273" y="32200"/>
                  </a:lnTo>
                  <a:lnTo>
                    <a:pt x="6273" y="18133"/>
                  </a:lnTo>
                  <a:lnTo>
                    <a:pt x="19933" y="18133"/>
                  </a:lnTo>
                  <a:lnTo>
                    <a:pt x="19933" y="32200"/>
                  </a:lnTo>
                  <a:lnTo>
                    <a:pt x="19951" y="32497"/>
                  </a:lnTo>
                  <a:lnTo>
                    <a:pt x="20174" y="33017"/>
                  </a:lnTo>
                  <a:lnTo>
                    <a:pt x="20564" y="33406"/>
                  </a:lnTo>
                  <a:lnTo>
                    <a:pt x="21083" y="33629"/>
                  </a:lnTo>
                  <a:lnTo>
                    <a:pt x="21380" y="33648"/>
                  </a:lnTo>
                  <a:lnTo>
                    <a:pt x="24739" y="33648"/>
                  </a:lnTo>
                  <a:lnTo>
                    <a:pt x="25036" y="33629"/>
                  </a:lnTo>
                  <a:lnTo>
                    <a:pt x="25556" y="33406"/>
                  </a:lnTo>
                  <a:lnTo>
                    <a:pt x="25964" y="33017"/>
                  </a:lnTo>
                  <a:lnTo>
                    <a:pt x="26168" y="32497"/>
                  </a:lnTo>
                  <a:lnTo>
                    <a:pt x="26205" y="32200"/>
                  </a:lnTo>
                  <a:lnTo>
                    <a:pt x="26205" y="1448"/>
                  </a:lnTo>
                  <a:lnTo>
                    <a:pt x="26168" y="1151"/>
                  </a:lnTo>
                  <a:lnTo>
                    <a:pt x="25964" y="632"/>
                  </a:lnTo>
                  <a:lnTo>
                    <a:pt x="25556" y="242"/>
                  </a:lnTo>
                  <a:lnTo>
                    <a:pt x="25036" y="19"/>
                  </a:lnTo>
                  <a:lnTo>
                    <a:pt x="24739" y="1"/>
                  </a:lnTo>
                  <a:lnTo>
                    <a:pt x="21380" y="1"/>
                  </a:lnTo>
                  <a:lnTo>
                    <a:pt x="21083" y="19"/>
                  </a:lnTo>
                  <a:lnTo>
                    <a:pt x="20564" y="242"/>
                  </a:lnTo>
                  <a:lnTo>
                    <a:pt x="20174" y="632"/>
                  </a:lnTo>
                  <a:lnTo>
                    <a:pt x="19951" y="1151"/>
                  </a:lnTo>
                  <a:lnTo>
                    <a:pt x="19933" y="1448"/>
                  </a:lnTo>
                  <a:lnTo>
                    <a:pt x="19933" y="13641"/>
                  </a:lnTo>
                  <a:lnTo>
                    <a:pt x="6273" y="13641"/>
                  </a:lnTo>
                  <a:lnTo>
                    <a:pt x="6273" y="1448"/>
                  </a:lnTo>
                  <a:lnTo>
                    <a:pt x="6255" y="1151"/>
                  </a:lnTo>
                  <a:lnTo>
                    <a:pt x="6032" y="632"/>
                  </a:lnTo>
                  <a:lnTo>
                    <a:pt x="5624" y="242"/>
                  </a:lnTo>
                  <a:lnTo>
                    <a:pt x="5104" y="19"/>
                  </a:lnTo>
                  <a:lnTo>
                    <a:pt x="482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" name="Google Shape;78;p5"/>
            <p:cNvSpPr/>
            <p:nvPr/>
          </p:nvSpPr>
          <p:spPr>
            <a:xfrm>
              <a:off x="3382900" y="2466575"/>
              <a:ext cx="156375" cy="841200"/>
            </a:xfrm>
            <a:custGeom>
              <a:avLst/>
              <a:gdLst/>
              <a:ahLst/>
              <a:cxnLst/>
              <a:rect l="l" t="t" r="r" b="b"/>
              <a:pathLst>
                <a:path w="6255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2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1" y="1448"/>
                  </a:lnTo>
                  <a:lnTo>
                    <a:pt x="1" y="32182"/>
                  </a:lnTo>
                  <a:lnTo>
                    <a:pt x="19" y="32479"/>
                  </a:lnTo>
                  <a:lnTo>
                    <a:pt x="242" y="33017"/>
                  </a:lnTo>
                  <a:lnTo>
                    <a:pt x="632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07" y="33648"/>
                  </a:lnTo>
                  <a:lnTo>
                    <a:pt x="5104" y="33629"/>
                  </a:lnTo>
                  <a:lnTo>
                    <a:pt x="5624" y="33406"/>
                  </a:lnTo>
                  <a:lnTo>
                    <a:pt x="6014" y="33017"/>
                  </a:lnTo>
                  <a:lnTo>
                    <a:pt x="6236" y="32479"/>
                  </a:lnTo>
                  <a:lnTo>
                    <a:pt x="6255" y="32182"/>
                  </a:lnTo>
                  <a:lnTo>
                    <a:pt x="6255" y="1448"/>
                  </a:lnTo>
                  <a:lnTo>
                    <a:pt x="6236" y="1151"/>
                  </a:lnTo>
                  <a:lnTo>
                    <a:pt x="6014" y="632"/>
                  </a:lnTo>
                  <a:lnTo>
                    <a:pt x="5624" y="242"/>
                  </a:lnTo>
                  <a:lnTo>
                    <a:pt x="5104" y="19"/>
                  </a:lnTo>
                  <a:lnTo>
                    <a:pt x="48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" name="Google Shape;79;p5"/>
            <p:cNvSpPr/>
            <p:nvPr/>
          </p:nvSpPr>
          <p:spPr>
            <a:xfrm>
              <a:off x="3610700" y="2663300"/>
              <a:ext cx="680675" cy="662575"/>
            </a:xfrm>
            <a:custGeom>
              <a:avLst/>
              <a:gdLst/>
              <a:ahLst/>
              <a:cxnLst/>
              <a:rect l="l" t="t" r="r" b="b"/>
              <a:pathLst>
                <a:path w="27227" h="26503" extrusionOk="0">
                  <a:moveTo>
                    <a:pt x="14087" y="5123"/>
                  </a:moveTo>
                  <a:lnTo>
                    <a:pt x="14959" y="5216"/>
                  </a:lnTo>
                  <a:lnTo>
                    <a:pt x="15757" y="5383"/>
                  </a:lnTo>
                  <a:lnTo>
                    <a:pt x="16500" y="5661"/>
                  </a:lnTo>
                  <a:lnTo>
                    <a:pt x="16852" y="5828"/>
                  </a:lnTo>
                  <a:lnTo>
                    <a:pt x="17521" y="6199"/>
                  </a:lnTo>
                  <a:lnTo>
                    <a:pt x="18634" y="7127"/>
                  </a:lnTo>
                  <a:lnTo>
                    <a:pt x="19098" y="7665"/>
                  </a:lnTo>
                  <a:lnTo>
                    <a:pt x="19525" y="8259"/>
                  </a:lnTo>
                  <a:lnTo>
                    <a:pt x="20193" y="9558"/>
                  </a:lnTo>
                  <a:lnTo>
                    <a:pt x="20434" y="10264"/>
                  </a:lnTo>
                  <a:lnTo>
                    <a:pt x="20638" y="10969"/>
                  </a:lnTo>
                  <a:lnTo>
                    <a:pt x="20861" y="12416"/>
                  </a:lnTo>
                  <a:lnTo>
                    <a:pt x="20880" y="13159"/>
                  </a:lnTo>
                  <a:lnTo>
                    <a:pt x="20861" y="13883"/>
                  </a:lnTo>
                  <a:lnTo>
                    <a:pt x="20638" y="15349"/>
                  </a:lnTo>
                  <a:lnTo>
                    <a:pt x="20434" y="16073"/>
                  </a:lnTo>
                  <a:lnTo>
                    <a:pt x="20193" y="16796"/>
                  </a:lnTo>
                  <a:lnTo>
                    <a:pt x="19525" y="18095"/>
                  </a:lnTo>
                  <a:lnTo>
                    <a:pt x="19098" y="18671"/>
                  </a:lnTo>
                  <a:lnTo>
                    <a:pt x="18634" y="19228"/>
                  </a:lnTo>
                  <a:lnTo>
                    <a:pt x="17521" y="20174"/>
                  </a:lnTo>
                  <a:lnTo>
                    <a:pt x="16852" y="20564"/>
                  </a:lnTo>
                  <a:lnTo>
                    <a:pt x="16500" y="20731"/>
                  </a:lnTo>
                  <a:lnTo>
                    <a:pt x="15757" y="21009"/>
                  </a:lnTo>
                  <a:lnTo>
                    <a:pt x="14959" y="21195"/>
                  </a:lnTo>
                  <a:lnTo>
                    <a:pt x="14087" y="21269"/>
                  </a:lnTo>
                  <a:lnTo>
                    <a:pt x="13623" y="21288"/>
                  </a:lnTo>
                  <a:lnTo>
                    <a:pt x="13159" y="21269"/>
                  </a:lnTo>
                  <a:lnTo>
                    <a:pt x="12287" y="21195"/>
                  </a:lnTo>
                  <a:lnTo>
                    <a:pt x="11470" y="21009"/>
                  </a:lnTo>
                  <a:lnTo>
                    <a:pt x="10728" y="20731"/>
                  </a:lnTo>
                  <a:lnTo>
                    <a:pt x="10394" y="20564"/>
                  </a:lnTo>
                  <a:lnTo>
                    <a:pt x="9726" y="20174"/>
                  </a:lnTo>
                  <a:lnTo>
                    <a:pt x="8612" y="19228"/>
                  </a:lnTo>
                  <a:lnTo>
                    <a:pt x="8148" y="18671"/>
                  </a:lnTo>
                  <a:lnTo>
                    <a:pt x="7721" y="18095"/>
                  </a:lnTo>
                  <a:lnTo>
                    <a:pt x="7053" y="16778"/>
                  </a:lnTo>
                  <a:lnTo>
                    <a:pt x="6812" y="16073"/>
                  </a:lnTo>
                  <a:lnTo>
                    <a:pt x="6608" y="15349"/>
                  </a:lnTo>
                  <a:lnTo>
                    <a:pt x="6385" y="13883"/>
                  </a:lnTo>
                  <a:lnTo>
                    <a:pt x="6367" y="13159"/>
                  </a:lnTo>
                  <a:lnTo>
                    <a:pt x="6385" y="12416"/>
                  </a:lnTo>
                  <a:lnTo>
                    <a:pt x="6608" y="10969"/>
                  </a:lnTo>
                  <a:lnTo>
                    <a:pt x="6812" y="10264"/>
                  </a:lnTo>
                  <a:lnTo>
                    <a:pt x="7053" y="9558"/>
                  </a:lnTo>
                  <a:lnTo>
                    <a:pt x="7721" y="8259"/>
                  </a:lnTo>
                  <a:lnTo>
                    <a:pt x="8148" y="7665"/>
                  </a:lnTo>
                  <a:lnTo>
                    <a:pt x="8612" y="7127"/>
                  </a:lnTo>
                  <a:lnTo>
                    <a:pt x="9726" y="6199"/>
                  </a:lnTo>
                  <a:lnTo>
                    <a:pt x="10394" y="5828"/>
                  </a:lnTo>
                  <a:lnTo>
                    <a:pt x="10728" y="5661"/>
                  </a:lnTo>
                  <a:lnTo>
                    <a:pt x="11470" y="5383"/>
                  </a:lnTo>
                  <a:lnTo>
                    <a:pt x="12287" y="5216"/>
                  </a:lnTo>
                  <a:lnTo>
                    <a:pt x="13159" y="5123"/>
                  </a:lnTo>
                  <a:close/>
                  <a:moveTo>
                    <a:pt x="13623" y="1"/>
                  </a:moveTo>
                  <a:lnTo>
                    <a:pt x="12918" y="19"/>
                  </a:lnTo>
                  <a:lnTo>
                    <a:pt x="11545" y="131"/>
                  </a:lnTo>
                  <a:lnTo>
                    <a:pt x="10227" y="372"/>
                  </a:lnTo>
                  <a:lnTo>
                    <a:pt x="8928" y="724"/>
                  </a:lnTo>
                  <a:lnTo>
                    <a:pt x="8297" y="947"/>
                  </a:lnTo>
                  <a:lnTo>
                    <a:pt x="7684" y="1188"/>
                  </a:lnTo>
                  <a:lnTo>
                    <a:pt x="6515" y="1745"/>
                  </a:lnTo>
                  <a:lnTo>
                    <a:pt x="5439" y="2413"/>
                  </a:lnTo>
                  <a:lnTo>
                    <a:pt x="4437" y="3174"/>
                  </a:lnTo>
                  <a:lnTo>
                    <a:pt x="3973" y="3601"/>
                  </a:lnTo>
                  <a:lnTo>
                    <a:pt x="3527" y="4046"/>
                  </a:lnTo>
                  <a:lnTo>
                    <a:pt x="2692" y="4993"/>
                  </a:lnTo>
                  <a:lnTo>
                    <a:pt x="1968" y="6032"/>
                  </a:lnTo>
                  <a:lnTo>
                    <a:pt x="1356" y="7146"/>
                  </a:lnTo>
                  <a:lnTo>
                    <a:pt x="1077" y="7758"/>
                  </a:lnTo>
                  <a:lnTo>
                    <a:pt x="818" y="8371"/>
                  </a:lnTo>
                  <a:lnTo>
                    <a:pt x="409" y="9651"/>
                  </a:lnTo>
                  <a:lnTo>
                    <a:pt x="149" y="10987"/>
                  </a:lnTo>
                  <a:lnTo>
                    <a:pt x="20" y="12416"/>
                  </a:lnTo>
                  <a:lnTo>
                    <a:pt x="1" y="13159"/>
                  </a:lnTo>
                  <a:lnTo>
                    <a:pt x="20" y="13883"/>
                  </a:lnTo>
                  <a:lnTo>
                    <a:pt x="149" y="15312"/>
                  </a:lnTo>
                  <a:lnTo>
                    <a:pt x="409" y="16666"/>
                  </a:lnTo>
                  <a:lnTo>
                    <a:pt x="818" y="17947"/>
                  </a:lnTo>
                  <a:lnTo>
                    <a:pt x="1077" y="18578"/>
                  </a:lnTo>
                  <a:lnTo>
                    <a:pt x="1356" y="19172"/>
                  </a:lnTo>
                  <a:lnTo>
                    <a:pt x="1968" y="20322"/>
                  </a:lnTo>
                  <a:lnTo>
                    <a:pt x="2692" y="21362"/>
                  </a:lnTo>
                  <a:lnTo>
                    <a:pt x="3527" y="22327"/>
                  </a:lnTo>
                  <a:lnTo>
                    <a:pt x="3973" y="22772"/>
                  </a:lnTo>
                  <a:lnTo>
                    <a:pt x="4437" y="23199"/>
                  </a:lnTo>
                  <a:lnTo>
                    <a:pt x="5439" y="23979"/>
                  </a:lnTo>
                  <a:lnTo>
                    <a:pt x="6515" y="24665"/>
                  </a:lnTo>
                  <a:lnTo>
                    <a:pt x="7684" y="25259"/>
                  </a:lnTo>
                  <a:lnTo>
                    <a:pt x="8297" y="25519"/>
                  </a:lnTo>
                  <a:lnTo>
                    <a:pt x="8928" y="25742"/>
                  </a:lnTo>
                  <a:lnTo>
                    <a:pt x="10227" y="26113"/>
                  </a:lnTo>
                  <a:lnTo>
                    <a:pt x="11545" y="26373"/>
                  </a:lnTo>
                  <a:lnTo>
                    <a:pt x="12918" y="26484"/>
                  </a:lnTo>
                  <a:lnTo>
                    <a:pt x="13623" y="26503"/>
                  </a:lnTo>
                  <a:lnTo>
                    <a:pt x="14328" y="26484"/>
                  </a:lnTo>
                  <a:lnTo>
                    <a:pt x="15683" y="26373"/>
                  </a:lnTo>
                  <a:lnTo>
                    <a:pt x="17019" y="26113"/>
                  </a:lnTo>
                  <a:lnTo>
                    <a:pt x="18300" y="25742"/>
                  </a:lnTo>
                  <a:lnTo>
                    <a:pt x="18931" y="25519"/>
                  </a:lnTo>
                  <a:lnTo>
                    <a:pt x="19562" y="25259"/>
                  </a:lnTo>
                  <a:lnTo>
                    <a:pt x="20731" y="24665"/>
                  </a:lnTo>
                  <a:lnTo>
                    <a:pt x="21808" y="23979"/>
                  </a:lnTo>
                  <a:lnTo>
                    <a:pt x="22810" y="23199"/>
                  </a:lnTo>
                  <a:lnTo>
                    <a:pt x="23274" y="22772"/>
                  </a:lnTo>
                  <a:lnTo>
                    <a:pt x="23719" y="22327"/>
                  </a:lnTo>
                  <a:lnTo>
                    <a:pt x="24536" y="21362"/>
                  </a:lnTo>
                  <a:lnTo>
                    <a:pt x="25260" y="20322"/>
                  </a:lnTo>
                  <a:lnTo>
                    <a:pt x="25891" y="19172"/>
                  </a:lnTo>
                  <a:lnTo>
                    <a:pt x="26169" y="18578"/>
                  </a:lnTo>
                  <a:lnTo>
                    <a:pt x="26429" y="17947"/>
                  </a:lnTo>
                  <a:lnTo>
                    <a:pt x="26818" y="16666"/>
                  </a:lnTo>
                  <a:lnTo>
                    <a:pt x="27097" y="15312"/>
                  </a:lnTo>
                  <a:lnTo>
                    <a:pt x="27227" y="13883"/>
                  </a:lnTo>
                  <a:lnTo>
                    <a:pt x="27227" y="13159"/>
                  </a:lnTo>
                  <a:lnTo>
                    <a:pt x="27227" y="12416"/>
                  </a:lnTo>
                  <a:lnTo>
                    <a:pt x="27097" y="10987"/>
                  </a:lnTo>
                  <a:lnTo>
                    <a:pt x="26818" y="9651"/>
                  </a:lnTo>
                  <a:lnTo>
                    <a:pt x="26429" y="8371"/>
                  </a:lnTo>
                  <a:lnTo>
                    <a:pt x="26169" y="7758"/>
                  </a:lnTo>
                  <a:lnTo>
                    <a:pt x="25891" y="7146"/>
                  </a:lnTo>
                  <a:lnTo>
                    <a:pt x="25260" y="6032"/>
                  </a:lnTo>
                  <a:lnTo>
                    <a:pt x="24536" y="4993"/>
                  </a:lnTo>
                  <a:lnTo>
                    <a:pt x="23719" y="4046"/>
                  </a:lnTo>
                  <a:lnTo>
                    <a:pt x="23274" y="3601"/>
                  </a:lnTo>
                  <a:lnTo>
                    <a:pt x="22810" y="3174"/>
                  </a:lnTo>
                  <a:lnTo>
                    <a:pt x="21808" y="2413"/>
                  </a:lnTo>
                  <a:lnTo>
                    <a:pt x="20731" y="1745"/>
                  </a:lnTo>
                  <a:lnTo>
                    <a:pt x="19562" y="1188"/>
                  </a:lnTo>
                  <a:lnTo>
                    <a:pt x="18931" y="947"/>
                  </a:lnTo>
                  <a:lnTo>
                    <a:pt x="18300" y="724"/>
                  </a:lnTo>
                  <a:lnTo>
                    <a:pt x="17019" y="372"/>
                  </a:lnTo>
                  <a:lnTo>
                    <a:pt x="15683" y="131"/>
                  </a:lnTo>
                  <a:lnTo>
                    <a:pt x="14328" y="19"/>
                  </a:lnTo>
                  <a:lnTo>
                    <a:pt x="1362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" name="Google Shape;80;p5"/>
            <p:cNvSpPr/>
            <p:nvPr/>
          </p:nvSpPr>
          <p:spPr>
            <a:xfrm>
              <a:off x="5231350" y="2663300"/>
              <a:ext cx="633825" cy="662575"/>
            </a:xfrm>
            <a:custGeom>
              <a:avLst/>
              <a:gdLst/>
              <a:ahLst/>
              <a:cxnLst/>
              <a:rect l="l" t="t" r="r" b="b"/>
              <a:pathLst>
                <a:path w="25353" h="26503" extrusionOk="0">
                  <a:moveTo>
                    <a:pt x="13196" y="4696"/>
                  </a:moveTo>
                  <a:lnTo>
                    <a:pt x="13939" y="4715"/>
                  </a:lnTo>
                  <a:lnTo>
                    <a:pt x="15256" y="4974"/>
                  </a:lnTo>
                  <a:lnTo>
                    <a:pt x="15832" y="5197"/>
                  </a:lnTo>
                  <a:lnTo>
                    <a:pt x="16388" y="5457"/>
                  </a:lnTo>
                  <a:lnTo>
                    <a:pt x="17298" y="6125"/>
                  </a:lnTo>
                  <a:lnTo>
                    <a:pt x="17687" y="6515"/>
                  </a:lnTo>
                  <a:lnTo>
                    <a:pt x="18040" y="6942"/>
                  </a:lnTo>
                  <a:lnTo>
                    <a:pt x="18578" y="7907"/>
                  </a:lnTo>
                  <a:lnTo>
                    <a:pt x="18764" y="8445"/>
                  </a:lnTo>
                  <a:lnTo>
                    <a:pt x="18912" y="9002"/>
                  </a:lnTo>
                  <a:lnTo>
                    <a:pt x="19079" y="10152"/>
                  </a:lnTo>
                  <a:lnTo>
                    <a:pt x="19098" y="10746"/>
                  </a:lnTo>
                  <a:lnTo>
                    <a:pt x="6274" y="10746"/>
                  </a:lnTo>
                  <a:lnTo>
                    <a:pt x="6329" y="10097"/>
                  </a:lnTo>
                  <a:lnTo>
                    <a:pt x="6664" y="8890"/>
                  </a:lnTo>
                  <a:lnTo>
                    <a:pt x="7202" y="7795"/>
                  </a:lnTo>
                  <a:lnTo>
                    <a:pt x="7963" y="6830"/>
                  </a:lnTo>
                  <a:lnTo>
                    <a:pt x="8427" y="6403"/>
                  </a:lnTo>
                  <a:lnTo>
                    <a:pt x="8928" y="5995"/>
                  </a:lnTo>
                  <a:lnTo>
                    <a:pt x="10023" y="5346"/>
                  </a:lnTo>
                  <a:lnTo>
                    <a:pt x="11210" y="4937"/>
                  </a:lnTo>
                  <a:lnTo>
                    <a:pt x="12510" y="4715"/>
                  </a:lnTo>
                  <a:lnTo>
                    <a:pt x="13196" y="4696"/>
                  </a:lnTo>
                  <a:close/>
                  <a:moveTo>
                    <a:pt x="13252" y="1"/>
                  </a:moveTo>
                  <a:lnTo>
                    <a:pt x="12565" y="19"/>
                  </a:lnTo>
                  <a:lnTo>
                    <a:pt x="11192" y="131"/>
                  </a:lnTo>
                  <a:lnTo>
                    <a:pt x="9893" y="372"/>
                  </a:lnTo>
                  <a:lnTo>
                    <a:pt x="8631" y="743"/>
                  </a:lnTo>
                  <a:lnTo>
                    <a:pt x="8018" y="966"/>
                  </a:lnTo>
                  <a:lnTo>
                    <a:pt x="7406" y="1226"/>
                  </a:lnTo>
                  <a:lnTo>
                    <a:pt x="6292" y="1801"/>
                  </a:lnTo>
                  <a:lnTo>
                    <a:pt x="5235" y="2469"/>
                  </a:lnTo>
                  <a:lnTo>
                    <a:pt x="4269" y="3248"/>
                  </a:lnTo>
                  <a:lnTo>
                    <a:pt x="3824" y="3675"/>
                  </a:lnTo>
                  <a:lnTo>
                    <a:pt x="3379" y="4121"/>
                  </a:lnTo>
                  <a:lnTo>
                    <a:pt x="2581" y="5086"/>
                  </a:lnTo>
                  <a:lnTo>
                    <a:pt x="1894" y="6144"/>
                  </a:lnTo>
                  <a:lnTo>
                    <a:pt x="1281" y="7294"/>
                  </a:lnTo>
                  <a:lnTo>
                    <a:pt x="1022" y="7907"/>
                  </a:lnTo>
                  <a:lnTo>
                    <a:pt x="780" y="8538"/>
                  </a:lnTo>
                  <a:lnTo>
                    <a:pt x="391" y="9837"/>
                  </a:lnTo>
                  <a:lnTo>
                    <a:pt x="149" y="11210"/>
                  </a:lnTo>
                  <a:lnTo>
                    <a:pt x="19" y="12658"/>
                  </a:lnTo>
                  <a:lnTo>
                    <a:pt x="1" y="13400"/>
                  </a:lnTo>
                  <a:lnTo>
                    <a:pt x="19" y="14161"/>
                  </a:lnTo>
                  <a:lnTo>
                    <a:pt x="149" y="15609"/>
                  </a:lnTo>
                  <a:lnTo>
                    <a:pt x="391" y="17000"/>
                  </a:lnTo>
                  <a:lnTo>
                    <a:pt x="780" y="18300"/>
                  </a:lnTo>
                  <a:lnTo>
                    <a:pt x="1022" y="18912"/>
                  </a:lnTo>
                  <a:lnTo>
                    <a:pt x="1281" y="19506"/>
                  </a:lnTo>
                  <a:lnTo>
                    <a:pt x="1894" y="20619"/>
                  </a:lnTo>
                  <a:lnTo>
                    <a:pt x="2599" y="21659"/>
                  </a:lnTo>
                  <a:lnTo>
                    <a:pt x="3397" y="22587"/>
                  </a:lnTo>
                  <a:lnTo>
                    <a:pt x="3843" y="23013"/>
                  </a:lnTo>
                  <a:lnTo>
                    <a:pt x="4288" y="23422"/>
                  </a:lnTo>
                  <a:lnTo>
                    <a:pt x="5272" y="24146"/>
                  </a:lnTo>
                  <a:lnTo>
                    <a:pt x="6348" y="24795"/>
                  </a:lnTo>
                  <a:lnTo>
                    <a:pt x="7480" y="25352"/>
                  </a:lnTo>
                  <a:lnTo>
                    <a:pt x="8093" y="25593"/>
                  </a:lnTo>
                  <a:lnTo>
                    <a:pt x="8705" y="25797"/>
                  </a:lnTo>
                  <a:lnTo>
                    <a:pt x="10004" y="26150"/>
                  </a:lnTo>
                  <a:lnTo>
                    <a:pt x="11340" y="26373"/>
                  </a:lnTo>
                  <a:lnTo>
                    <a:pt x="12732" y="26484"/>
                  </a:lnTo>
                  <a:lnTo>
                    <a:pt x="13475" y="26503"/>
                  </a:lnTo>
                  <a:lnTo>
                    <a:pt x="14236" y="26484"/>
                  </a:lnTo>
                  <a:lnTo>
                    <a:pt x="15683" y="26373"/>
                  </a:lnTo>
                  <a:lnTo>
                    <a:pt x="17075" y="26131"/>
                  </a:lnTo>
                  <a:lnTo>
                    <a:pt x="18374" y="25760"/>
                  </a:lnTo>
                  <a:lnTo>
                    <a:pt x="19599" y="25296"/>
                  </a:lnTo>
                  <a:lnTo>
                    <a:pt x="20731" y="24684"/>
                  </a:lnTo>
                  <a:lnTo>
                    <a:pt x="21789" y="23960"/>
                  </a:lnTo>
                  <a:lnTo>
                    <a:pt x="22773" y="23125"/>
                  </a:lnTo>
                  <a:lnTo>
                    <a:pt x="23237" y="22661"/>
                  </a:lnTo>
                  <a:lnTo>
                    <a:pt x="23422" y="22420"/>
                  </a:lnTo>
                  <a:lnTo>
                    <a:pt x="23608" y="21863"/>
                  </a:lnTo>
                  <a:lnTo>
                    <a:pt x="23552" y="21288"/>
                  </a:lnTo>
                  <a:lnTo>
                    <a:pt x="23274" y="20768"/>
                  </a:lnTo>
                  <a:lnTo>
                    <a:pt x="23051" y="20564"/>
                  </a:lnTo>
                  <a:lnTo>
                    <a:pt x="21158" y="19042"/>
                  </a:lnTo>
                  <a:lnTo>
                    <a:pt x="20935" y="18875"/>
                  </a:lnTo>
                  <a:lnTo>
                    <a:pt x="20434" y="18726"/>
                  </a:lnTo>
                  <a:lnTo>
                    <a:pt x="19915" y="18745"/>
                  </a:lnTo>
                  <a:lnTo>
                    <a:pt x="19432" y="18949"/>
                  </a:lnTo>
                  <a:lnTo>
                    <a:pt x="19246" y="19135"/>
                  </a:lnTo>
                  <a:lnTo>
                    <a:pt x="18820" y="19543"/>
                  </a:lnTo>
                  <a:lnTo>
                    <a:pt x="17892" y="20230"/>
                  </a:lnTo>
                  <a:lnTo>
                    <a:pt x="17372" y="20527"/>
                  </a:lnTo>
                  <a:lnTo>
                    <a:pt x="16964" y="20731"/>
                  </a:lnTo>
                  <a:lnTo>
                    <a:pt x="16073" y="21046"/>
                  </a:lnTo>
                  <a:lnTo>
                    <a:pt x="15071" y="21269"/>
                  </a:lnTo>
                  <a:lnTo>
                    <a:pt x="13994" y="21380"/>
                  </a:lnTo>
                  <a:lnTo>
                    <a:pt x="13419" y="21380"/>
                  </a:lnTo>
                  <a:lnTo>
                    <a:pt x="12732" y="21362"/>
                  </a:lnTo>
                  <a:lnTo>
                    <a:pt x="11433" y="21120"/>
                  </a:lnTo>
                  <a:lnTo>
                    <a:pt x="10802" y="20916"/>
                  </a:lnTo>
                  <a:lnTo>
                    <a:pt x="10190" y="20657"/>
                  </a:lnTo>
                  <a:lnTo>
                    <a:pt x="9076" y="20026"/>
                  </a:lnTo>
                  <a:lnTo>
                    <a:pt x="8557" y="19636"/>
                  </a:lnTo>
                  <a:lnTo>
                    <a:pt x="8074" y="19209"/>
                  </a:lnTo>
                  <a:lnTo>
                    <a:pt x="7295" y="18244"/>
                  </a:lnTo>
                  <a:lnTo>
                    <a:pt x="6979" y="17706"/>
                  </a:lnTo>
                  <a:lnTo>
                    <a:pt x="6682" y="17130"/>
                  </a:lnTo>
                  <a:lnTo>
                    <a:pt x="6329" y="15905"/>
                  </a:lnTo>
                  <a:lnTo>
                    <a:pt x="6274" y="15237"/>
                  </a:lnTo>
                  <a:lnTo>
                    <a:pt x="23905" y="15237"/>
                  </a:lnTo>
                  <a:lnTo>
                    <a:pt x="24202" y="15200"/>
                  </a:lnTo>
                  <a:lnTo>
                    <a:pt x="24721" y="14996"/>
                  </a:lnTo>
                  <a:lnTo>
                    <a:pt x="25111" y="14606"/>
                  </a:lnTo>
                  <a:lnTo>
                    <a:pt x="25334" y="14087"/>
                  </a:lnTo>
                  <a:lnTo>
                    <a:pt x="25352" y="13790"/>
                  </a:lnTo>
                  <a:lnTo>
                    <a:pt x="25352" y="13567"/>
                  </a:lnTo>
                  <a:lnTo>
                    <a:pt x="25352" y="12713"/>
                  </a:lnTo>
                  <a:lnTo>
                    <a:pt x="25222" y="11136"/>
                  </a:lnTo>
                  <a:lnTo>
                    <a:pt x="25000" y="9651"/>
                  </a:lnTo>
                  <a:lnTo>
                    <a:pt x="24666" y="8278"/>
                  </a:lnTo>
                  <a:lnTo>
                    <a:pt x="24443" y="7647"/>
                  </a:lnTo>
                  <a:lnTo>
                    <a:pt x="24202" y="7016"/>
                  </a:lnTo>
                  <a:lnTo>
                    <a:pt x="23663" y="5847"/>
                  </a:lnTo>
                  <a:lnTo>
                    <a:pt x="23032" y="4807"/>
                  </a:lnTo>
                  <a:lnTo>
                    <a:pt x="22309" y="3842"/>
                  </a:lnTo>
                  <a:lnTo>
                    <a:pt x="21919" y="3415"/>
                  </a:lnTo>
                  <a:lnTo>
                    <a:pt x="21511" y="3007"/>
                  </a:lnTo>
                  <a:lnTo>
                    <a:pt x="20620" y="2265"/>
                  </a:lnTo>
                  <a:lnTo>
                    <a:pt x="19655" y="1615"/>
                  </a:lnTo>
                  <a:lnTo>
                    <a:pt x="18634" y="1096"/>
                  </a:lnTo>
                  <a:lnTo>
                    <a:pt x="18077" y="873"/>
                  </a:lnTo>
                  <a:lnTo>
                    <a:pt x="17520" y="650"/>
                  </a:lnTo>
                  <a:lnTo>
                    <a:pt x="16370" y="335"/>
                  </a:lnTo>
                  <a:lnTo>
                    <a:pt x="15163" y="112"/>
                  </a:lnTo>
                  <a:lnTo>
                    <a:pt x="13901" y="19"/>
                  </a:lnTo>
                  <a:lnTo>
                    <a:pt x="1325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" name="Google Shape;81;p5"/>
            <p:cNvSpPr/>
            <p:nvPr/>
          </p:nvSpPr>
          <p:spPr>
            <a:xfrm>
              <a:off x="5884625" y="2663300"/>
              <a:ext cx="579075" cy="659800"/>
            </a:xfrm>
            <a:custGeom>
              <a:avLst/>
              <a:gdLst/>
              <a:ahLst/>
              <a:cxnLst/>
              <a:rect l="l" t="t" r="r" b="b"/>
              <a:pathLst>
                <a:path w="23163" h="26392" extrusionOk="0">
                  <a:moveTo>
                    <a:pt x="17223" y="14347"/>
                  </a:moveTo>
                  <a:lnTo>
                    <a:pt x="17223" y="15237"/>
                  </a:lnTo>
                  <a:lnTo>
                    <a:pt x="17205" y="15961"/>
                  </a:lnTo>
                  <a:lnTo>
                    <a:pt x="17001" y="17297"/>
                  </a:lnTo>
                  <a:lnTo>
                    <a:pt x="16574" y="18467"/>
                  </a:lnTo>
                  <a:lnTo>
                    <a:pt x="15943" y="19487"/>
                  </a:lnTo>
                  <a:lnTo>
                    <a:pt x="15553" y="19933"/>
                  </a:lnTo>
                  <a:lnTo>
                    <a:pt x="15108" y="20341"/>
                  </a:lnTo>
                  <a:lnTo>
                    <a:pt x="14087" y="20991"/>
                  </a:lnTo>
                  <a:lnTo>
                    <a:pt x="12862" y="21417"/>
                  </a:lnTo>
                  <a:lnTo>
                    <a:pt x="11433" y="21640"/>
                  </a:lnTo>
                  <a:lnTo>
                    <a:pt x="10653" y="21659"/>
                  </a:lnTo>
                  <a:lnTo>
                    <a:pt x="9855" y="21622"/>
                  </a:lnTo>
                  <a:lnTo>
                    <a:pt x="9076" y="21492"/>
                  </a:lnTo>
                  <a:lnTo>
                    <a:pt x="8705" y="21417"/>
                  </a:lnTo>
                  <a:lnTo>
                    <a:pt x="8000" y="21158"/>
                  </a:lnTo>
                  <a:lnTo>
                    <a:pt x="7666" y="20972"/>
                  </a:lnTo>
                  <a:lnTo>
                    <a:pt x="7369" y="20786"/>
                  </a:lnTo>
                  <a:lnTo>
                    <a:pt x="6867" y="20304"/>
                  </a:lnTo>
                  <a:lnTo>
                    <a:pt x="6645" y="20007"/>
                  </a:lnTo>
                  <a:lnTo>
                    <a:pt x="6478" y="19691"/>
                  </a:lnTo>
                  <a:lnTo>
                    <a:pt x="6274" y="18949"/>
                  </a:lnTo>
                  <a:lnTo>
                    <a:pt x="6255" y="18522"/>
                  </a:lnTo>
                  <a:lnTo>
                    <a:pt x="6274" y="18170"/>
                  </a:lnTo>
                  <a:lnTo>
                    <a:pt x="6385" y="17557"/>
                  </a:lnTo>
                  <a:lnTo>
                    <a:pt x="6626" y="17000"/>
                  </a:lnTo>
                  <a:lnTo>
                    <a:pt x="6979" y="16518"/>
                  </a:lnTo>
                  <a:lnTo>
                    <a:pt x="7202" y="16314"/>
                  </a:lnTo>
                  <a:lnTo>
                    <a:pt x="7684" y="15924"/>
                  </a:lnTo>
                  <a:lnTo>
                    <a:pt x="8872" y="15293"/>
                  </a:lnTo>
                  <a:lnTo>
                    <a:pt x="9540" y="15052"/>
                  </a:lnTo>
                  <a:lnTo>
                    <a:pt x="10264" y="14848"/>
                  </a:lnTo>
                  <a:lnTo>
                    <a:pt x="11804" y="14551"/>
                  </a:lnTo>
                  <a:lnTo>
                    <a:pt x="12621" y="14476"/>
                  </a:lnTo>
                  <a:lnTo>
                    <a:pt x="14272" y="14365"/>
                  </a:lnTo>
                  <a:lnTo>
                    <a:pt x="15813" y="14347"/>
                  </a:lnTo>
                  <a:close/>
                  <a:moveTo>
                    <a:pt x="12008" y="1"/>
                  </a:moveTo>
                  <a:lnTo>
                    <a:pt x="11284" y="19"/>
                  </a:lnTo>
                  <a:lnTo>
                    <a:pt x="9855" y="131"/>
                  </a:lnTo>
                  <a:lnTo>
                    <a:pt x="8445" y="390"/>
                  </a:lnTo>
                  <a:lnTo>
                    <a:pt x="7035" y="762"/>
                  </a:lnTo>
                  <a:lnTo>
                    <a:pt x="6348" y="1003"/>
                  </a:lnTo>
                  <a:lnTo>
                    <a:pt x="5327" y="1374"/>
                  </a:lnTo>
                  <a:lnTo>
                    <a:pt x="3434" y="2376"/>
                  </a:lnTo>
                  <a:lnTo>
                    <a:pt x="2580" y="3007"/>
                  </a:lnTo>
                  <a:lnTo>
                    <a:pt x="2339" y="3193"/>
                  </a:lnTo>
                  <a:lnTo>
                    <a:pt x="2061" y="3712"/>
                  </a:lnTo>
                  <a:lnTo>
                    <a:pt x="2005" y="4269"/>
                  </a:lnTo>
                  <a:lnTo>
                    <a:pt x="2191" y="4845"/>
                  </a:lnTo>
                  <a:lnTo>
                    <a:pt x="2358" y="5086"/>
                  </a:lnTo>
                  <a:lnTo>
                    <a:pt x="3712" y="6663"/>
                  </a:lnTo>
                  <a:lnTo>
                    <a:pt x="3898" y="6867"/>
                  </a:lnTo>
                  <a:lnTo>
                    <a:pt x="4381" y="7127"/>
                  </a:lnTo>
                  <a:lnTo>
                    <a:pt x="4900" y="7183"/>
                  </a:lnTo>
                  <a:lnTo>
                    <a:pt x="5420" y="7053"/>
                  </a:lnTo>
                  <a:lnTo>
                    <a:pt x="5661" y="6905"/>
                  </a:lnTo>
                  <a:lnTo>
                    <a:pt x="6107" y="6589"/>
                  </a:lnTo>
                  <a:lnTo>
                    <a:pt x="7127" y="5995"/>
                  </a:lnTo>
                  <a:lnTo>
                    <a:pt x="7684" y="5735"/>
                  </a:lnTo>
                  <a:lnTo>
                    <a:pt x="8129" y="5550"/>
                  </a:lnTo>
                  <a:lnTo>
                    <a:pt x="9057" y="5234"/>
                  </a:lnTo>
                  <a:lnTo>
                    <a:pt x="10022" y="5012"/>
                  </a:lnTo>
                  <a:lnTo>
                    <a:pt x="10988" y="4919"/>
                  </a:lnTo>
                  <a:lnTo>
                    <a:pt x="11489" y="4900"/>
                  </a:lnTo>
                  <a:lnTo>
                    <a:pt x="12064" y="4919"/>
                  </a:lnTo>
                  <a:lnTo>
                    <a:pt x="13159" y="5049"/>
                  </a:lnTo>
                  <a:lnTo>
                    <a:pt x="14161" y="5346"/>
                  </a:lnTo>
                  <a:lnTo>
                    <a:pt x="15089" y="5754"/>
                  </a:lnTo>
                  <a:lnTo>
                    <a:pt x="15534" y="6032"/>
                  </a:lnTo>
                  <a:lnTo>
                    <a:pt x="15924" y="6311"/>
                  </a:lnTo>
                  <a:lnTo>
                    <a:pt x="16574" y="7034"/>
                  </a:lnTo>
                  <a:lnTo>
                    <a:pt x="16982" y="7907"/>
                  </a:lnTo>
                  <a:lnTo>
                    <a:pt x="17205" y="8927"/>
                  </a:lnTo>
                  <a:lnTo>
                    <a:pt x="17223" y="9484"/>
                  </a:lnTo>
                  <a:lnTo>
                    <a:pt x="17223" y="10115"/>
                  </a:lnTo>
                  <a:lnTo>
                    <a:pt x="15757" y="10134"/>
                  </a:lnTo>
                  <a:lnTo>
                    <a:pt x="12769" y="10282"/>
                  </a:lnTo>
                  <a:lnTo>
                    <a:pt x="11247" y="10412"/>
                  </a:lnTo>
                  <a:lnTo>
                    <a:pt x="9744" y="10579"/>
                  </a:lnTo>
                  <a:lnTo>
                    <a:pt x="7647" y="11006"/>
                  </a:lnTo>
                  <a:lnTo>
                    <a:pt x="6329" y="11359"/>
                  </a:lnTo>
                  <a:lnTo>
                    <a:pt x="5698" y="11581"/>
                  </a:lnTo>
                  <a:lnTo>
                    <a:pt x="5067" y="11804"/>
                  </a:lnTo>
                  <a:lnTo>
                    <a:pt x="3935" y="12361"/>
                  </a:lnTo>
                  <a:lnTo>
                    <a:pt x="2914" y="12992"/>
                  </a:lnTo>
                  <a:lnTo>
                    <a:pt x="2005" y="13734"/>
                  </a:lnTo>
                  <a:lnTo>
                    <a:pt x="1597" y="14142"/>
                  </a:lnTo>
                  <a:lnTo>
                    <a:pt x="1207" y="14569"/>
                  </a:lnTo>
                  <a:lnTo>
                    <a:pt x="613" y="15553"/>
                  </a:lnTo>
                  <a:lnTo>
                    <a:pt x="223" y="16666"/>
                  </a:lnTo>
                  <a:lnTo>
                    <a:pt x="19" y="17928"/>
                  </a:lnTo>
                  <a:lnTo>
                    <a:pt x="1" y="18615"/>
                  </a:lnTo>
                  <a:lnTo>
                    <a:pt x="19" y="19172"/>
                  </a:lnTo>
                  <a:lnTo>
                    <a:pt x="131" y="20174"/>
                  </a:lnTo>
                  <a:lnTo>
                    <a:pt x="353" y="21083"/>
                  </a:lnTo>
                  <a:lnTo>
                    <a:pt x="706" y="21919"/>
                  </a:lnTo>
                  <a:lnTo>
                    <a:pt x="910" y="22308"/>
                  </a:lnTo>
                  <a:lnTo>
                    <a:pt x="1151" y="22661"/>
                  </a:lnTo>
                  <a:lnTo>
                    <a:pt x="1671" y="23348"/>
                  </a:lnTo>
                  <a:lnTo>
                    <a:pt x="2246" y="23941"/>
                  </a:lnTo>
                  <a:lnTo>
                    <a:pt x="2877" y="24461"/>
                  </a:lnTo>
                  <a:lnTo>
                    <a:pt x="3211" y="24702"/>
                  </a:lnTo>
                  <a:lnTo>
                    <a:pt x="3917" y="25129"/>
                  </a:lnTo>
                  <a:lnTo>
                    <a:pt x="5420" y="25779"/>
                  </a:lnTo>
                  <a:lnTo>
                    <a:pt x="6236" y="26001"/>
                  </a:lnTo>
                  <a:lnTo>
                    <a:pt x="7053" y="26187"/>
                  </a:lnTo>
                  <a:lnTo>
                    <a:pt x="8631" y="26373"/>
                  </a:lnTo>
                  <a:lnTo>
                    <a:pt x="9391" y="26391"/>
                  </a:lnTo>
                  <a:lnTo>
                    <a:pt x="10060" y="26391"/>
                  </a:lnTo>
                  <a:lnTo>
                    <a:pt x="11303" y="26243"/>
                  </a:lnTo>
                  <a:lnTo>
                    <a:pt x="12491" y="25983"/>
                  </a:lnTo>
                  <a:lnTo>
                    <a:pt x="13604" y="25575"/>
                  </a:lnTo>
                  <a:lnTo>
                    <a:pt x="14143" y="25315"/>
                  </a:lnTo>
                  <a:lnTo>
                    <a:pt x="14644" y="25055"/>
                  </a:lnTo>
                  <a:lnTo>
                    <a:pt x="15553" y="24442"/>
                  </a:lnTo>
                  <a:lnTo>
                    <a:pt x="16314" y="23756"/>
                  </a:lnTo>
                  <a:lnTo>
                    <a:pt x="16926" y="22995"/>
                  </a:lnTo>
                  <a:lnTo>
                    <a:pt x="17168" y="22587"/>
                  </a:lnTo>
                  <a:lnTo>
                    <a:pt x="17316" y="22587"/>
                  </a:lnTo>
                  <a:lnTo>
                    <a:pt x="17316" y="24313"/>
                  </a:lnTo>
                  <a:lnTo>
                    <a:pt x="17335" y="24610"/>
                  </a:lnTo>
                  <a:lnTo>
                    <a:pt x="17557" y="25129"/>
                  </a:lnTo>
                  <a:lnTo>
                    <a:pt x="17947" y="25519"/>
                  </a:lnTo>
                  <a:lnTo>
                    <a:pt x="18467" y="25742"/>
                  </a:lnTo>
                  <a:lnTo>
                    <a:pt x="18764" y="25760"/>
                  </a:lnTo>
                  <a:lnTo>
                    <a:pt x="21715" y="25760"/>
                  </a:lnTo>
                  <a:lnTo>
                    <a:pt x="22011" y="25742"/>
                  </a:lnTo>
                  <a:lnTo>
                    <a:pt x="22531" y="25519"/>
                  </a:lnTo>
                  <a:lnTo>
                    <a:pt x="22921" y="25129"/>
                  </a:lnTo>
                  <a:lnTo>
                    <a:pt x="23144" y="24610"/>
                  </a:lnTo>
                  <a:lnTo>
                    <a:pt x="23162" y="24313"/>
                  </a:lnTo>
                  <a:lnTo>
                    <a:pt x="23162" y="10542"/>
                  </a:lnTo>
                  <a:lnTo>
                    <a:pt x="23144" y="9596"/>
                  </a:lnTo>
                  <a:lnTo>
                    <a:pt x="22902" y="7721"/>
                  </a:lnTo>
                  <a:lnTo>
                    <a:pt x="22661" y="6775"/>
                  </a:lnTo>
                  <a:lnTo>
                    <a:pt x="22531" y="6311"/>
                  </a:lnTo>
                  <a:lnTo>
                    <a:pt x="22197" y="5420"/>
                  </a:lnTo>
                  <a:lnTo>
                    <a:pt x="21752" y="4566"/>
                  </a:lnTo>
                  <a:lnTo>
                    <a:pt x="21232" y="3768"/>
                  </a:lnTo>
                  <a:lnTo>
                    <a:pt x="20917" y="3378"/>
                  </a:lnTo>
                  <a:lnTo>
                    <a:pt x="20917" y="3397"/>
                  </a:lnTo>
                  <a:lnTo>
                    <a:pt x="20601" y="3026"/>
                  </a:lnTo>
                  <a:lnTo>
                    <a:pt x="19859" y="2339"/>
                  </a:lnTo>
                  <a:lnTo>
                    <a:pt x="19005" y="1727"/>
                  </a:lnTo>
                  <a:lnTo>
                    <a:pt x="18040" y="1188"/>
                  </a:lnTo>
                  <a:lnTo>
                    <a:pt x="17502" y="947"/>
                  </a:lnTo>
                  <a:lnTo>
                    <a:pt x="16945" y="724"/>
                  </a:lnTo>
                  <a:lnTo>
                    <a:pt x="15720" y="372"/>
                  </a:lnTo>
                  <a:lnTo>
                    <a:pt x="14347" y="131"/>
                  </a:lnTo>
                  <a:lnTo>
                    <a:pt x="12825" y="19"/>
                  </a:lnTo>
                  <a:lnTo>
                    <a:pt x="1200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" name="Google Shape;82;p5"/>
            <p:cNvSpPr/>
            <p:nvPr/>
          </p:nvSpPr>
          <p:spPr>
            <a:xfrm>
              <a:off x="6545800" y="2664225"/>
              <a:ext cx="373975" cy="643550"/>
            </a:xfrm>
            <a:custGeom>
              <a:avLst/>
              <a:gdLst/>
              <a:ahLst/>
              <a:cxnLst/>
              <a:rect l="l" t="t" r="r" b="b"/>
              <a:pathLst>
                <a:path w="14959" h="25742" extrusionOk="0">
                  <a:moveTo>
                    <a:pt x="13400" y="1"/>
                  </a:moveTo>
                  <a:lnTo>
                    <a:pt x="13400" y="19"/>
                  </a:lnTo>
                  <a:lnTo>
                    <a:pt x="12639" y="75"/>
                  </a:lnTo>
                  <a:lnTo>
                    <a:pt x="11339" y="279"/>
                  </a:lnTo>
                  <a:lnTo>
                    <a:pt x="10300" y="613"/>
                  </a:lnTo>
                  <a:lnTo>
                    <a:pt x="9409" y="1059"/>
                  </a:lnTo>
                  <a:lnTo>
                    <a:pt x="9020" y="1318"/>
                  </a:lnTo>
                  <a:lnTo>
                    <a:pt x="8556" y="1671"/>
                  </a:lnTo>
                  <a:lnTo>
                    <a:pt x="7721" y="2451"/>
                  </a:lnTo>
                  <a:lnTo>
                    <a:pt x="6997" y="3341"/>
                  </a:lnTo>
                  <a:lnTo>
                    <a:pt x="6366" y="4325"/>
                  </a:lnTo>
                  <a:lnTo>
                    <a:pt x="6106" y="4863"/>
                  </a:lnTo>
                  <a:lnTo>
                    <a:pt x="5995" y="4863"/>
                  </a:lnTo>
                  <a:lnTo>
                    <a:pt x="5995" y="2135"/>
                  </a:lnTo>
                  <a:lnTo>
                    <a:pt x="5976" y="1838"/>
                  </a:lnTo>
                  <a:lnTo>
                    <a:pt x="5753" y="1318"/>
                  </a:lnTo>
                  <a:lnTo>
                    <a:pt x="5364" y="929"/>
                  </a:lnTo>
                  <a:lnTo>
                    <a:pt x="4844" y="706"/>
                  </a:lnTo>
                  <a:lnTo>
                    <a:pt x="4547" y="687"/>
                  </a:lnTo>
                  <a:lnTo>
                    <a:pt x="1448" y="687"/>
                  </a:lnTo>
                  <a:lnTo>
                    <a:pt x="1151" y="706"/>
                  </a:lnTo>
                  <a:lnTo>
                    <a:pt x="631" y="929"/>
                  </a:lnTo>
                  <a:lnTo>
                    <a:pt x="241" y="1318"/>
                  </a:lnTo>
                  <a:lnTo>
                    <a:pt x="19" y="1838"/>
                  </a:lnTo>
                  <a:lnTo>
                    <a:pt x="0" y="2135"/>
                  </a:lnTo>
                  <a:lnTo>
                    <a:pt x="0" y="24276"/>
                  </a:lnTo>
                  <a:lnTo>
                    <a:pt x="19" y="24573"/>
                  </a:lnTo>
                  <a:lnTo>
                    <a:pt x="241" y="25092"/>
                  </a:lnTo>
                  <a:lnTo>
                    <a:pt x="631" y="25500"/>
                  </a:lnTo>
                  <a:lnTo>
                    <a:pt x="1151" y="25705"/>
                  </a:lnTo>
                  <a:lnTo>
                    <a:pt x="1448" y="25742"/>
                  </a:lnTo>
                  <a:lnTo>
                    <a:pt x="4807" y="25742"/>
                  </a:lnTo>
                  <a:lnTo>
                    <a:pt x="5104" y="25705"/>
                  </a:lnTo>
                  <a:lnTo>
                    <a:pt x="5623" y="25500"/>
                  </a:lnTo>
                  <a:lnTo>
                    <a:pt x="6013" y="25092"/>
                  </a:lnTo>
                  <a:lnTo>
                    <a:pt x="6236" y="24573"/>
                  </a:lnTo>
                  <a:lnTo>
                    <a:pt x="6254" y="24276"/>
                  </a:lnTo>
                  <a:lnTo>
                    <a:pt x="6254" y="12324"/>
                  </a:lnTo>
                  <a:lnTo>
                    <a:pt x="6273" y="11971"/>
                  </a:lnTo>
                  <a:lnTo>
                    <a:pt x="6403" y="11062"/>
                  </a:lnTo>
                  <a:lnTo>
                    <a:pt x="6514" y="10505"/>
                  </a:lnTo>
                  <a:lnTo>
                    <a:pt x="6663" y="9930"/>
                  </a:lnTo>
                  <a:lnTo>
                    <a:pt x="7164" y="8816"/>
                  </a:lnTo>
                  <a:lnTo>
                    <a:pt x="7516" y="8259"/>
                  </a:lnTo>
                  <a:lnTo>
                    <a:pt x="7906" y="7721"/>
                  </a:lnTo>
                  <a:lnTo>
                    <a:pt x="8908" y="6775"/>
                  </a:lnTo>
                  <a:lnTo>
                    <a:pt x="9539" y="6385"/>
                  </a:lnTo>
                  <a:lnTo>
                    <a:pt x="10170" y="6014"/>
                  </a:lnTo>
                  <a:lnTo>
                    <a:pt x="11636" y="5439"/>
                  </a:lnTo>
                  <a:lnTo>
                    <a:pt x="12917" y="5142"/>
                  </a:lnTo>
                  <a:lnTo>
                    <a:pt x="13678" y="5030"/>
                  </a:lnTo>
                  <a:lnTo>
                    <a:pt x="13938" y="4993"/>
                  </a:lnTo>
                  <a:lnTo>
                    <a:pt x="14420" y="4752"/>
                  </a:lnTo>
                  <a:lnTo>
                    <a:pt x="14754" y="4344"/>
                  </a:lnTo>
                  <a:lnTo>
                    <a:pt x="14940" y="3861"/>
                  </a:lnTo>
                  <a:lnTo>
                    <a:pt x="14958" y="3583"/>
                  </a:lnTo>
                  <a:lnTo>
                    <a:pt x="14940" y="1430"/>
                  </a:lnTo>
                  <a:lnTo>
                    <a:pt x="14903" y="1133"/>
                  </a:lnTo>
                  <a:lnTo>
                    <a:pt x="14661" y="595"/>
                  </a:lnTo>
                  <a:lnTo>
                    <a:pt x="14253" y="205"/>
                  </a:lnTo>
                  <a:lnTo>
                    <a:pt x="1369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" name="Google Shape;83;p5"/>
            <p:cNvSpPr/>
            <p:nvPr/>
          </p:nvSpPr>
          <p:spPr>
            <a:xfrm>
              <a:off x="6961975" y="2500450"/>
              <a:ext cx="420375" cy="820325"/>
            </a:xfrm>
            <a:custGeom>
              <a:avLst/>
              <a:gdLst/>
              <a:ahLst/>
              <a:cxnLst/>
              <a:rect l="l" t="t" r="r" b="b"/>
              <a:pathLst>
                <a:path w="16815" h="32813" extrusionOk="0">
                  <a:moveTo>
                    <a:pt x="5846" y="1"/>
                  </a:moveTo>
                  <a:lnTo>
                    <a:pt x="5549" y="19"/>
                  </a:lnTo>
                  <a:lnTo>
                    <a:pt x="5030" y="242"/>
                  </a:lnTo>
                  <a:lnTo>
                    <a:pt x="4621" y="632"/>
                  </a:lnTo>
                  <a:lnTo>
                    <a:pt x="4417" y="1151"/>
                  </a:lnTo>
                  <a:lnTo>
                    <a:pt x="4399" y="1448"/>
                  </a:lnTo>
                  <a:lnTo>
                    <a:pt x="4399" y="6515"/>
                  </a:lnTo>
                  <a:lnTo>
                    <a:pt x="1448" y="6515"/>
                  </a:lnTo>
                  <a:lnTo>
                    <a:pt x="1169" y="6533"/>
                  </a:lnTo>
                  <a:lnTo>
                    <a:pt x="650" y="6756"/>
                  </a:lnTo>
                  <a:lnTo>
                    <a:pt x="242" y="7146"/>
                  </a:lnTo>
                  <a:lnTo>
                    <a:pt x="19" y="7665"/>
                  </a:lnTo>
                  <a:lnTo>
                    <a:pt x="0" y="7962"/>
                  </a:lnTo>
                  <a:lnTo>
                    <a:pt x="0" y="10078"/>
                  </a:lnTo>
                  <a:lnTo>
                    <a:pt x="19" y="10375"/>
                  </a:lnTo>
                  <a:lnTo>
                    <a:pt x="242" y="10895"/>
                  </a:lnTo>
                  <a:lnTo>
                    <a:pt x="650" y="11284"/>
                  </a:lnTo>
                  <a:lnTo>
                    <a:pt x="1169" y="11507"/>
                  </a:lnTo>
                  <a:lnTo>
                    <a:pt x="1448" y="11526"/>
                  </a:lnTo>
                  <a:lnTo>
                    <a:pt x="4399" y="11526"/>
                  </a:lnTo>
                  <a:lnTo>
                    <a:pt x="4399" y="23941"/>
                  </a:lnTo>
                  <a:lnTo>
                    <a:pt x="4399" y="24851"/>
                  </a:lnTo>
                  <a:lnTo>
                    <a:pt x="4566" y="26558"/>
                  </a:lnTo>
                  <a:lnTo>
                    <a:pt x="4733" y="27356"/>
                  </a:lnTo>
                  <a:lnTo>
                    <a:pt x="4918" y="28136"/>
                  </a:lnTo>
                  <a:lnTo>
                    <a:pt x="5549" y="29546"/>
                  </a:lnTo>
                  <a:lnTo>
                    <a:pt x="5976" y="30177"/>
                  </a:lnTo>
                  <a:lnTo>
                    <a:pt x="6217" y="30474"/>
                  </a:lnTo>
                  <a:lnTo>
                    <a:pt x="6756" y="31031"/>
                  </a:lnTo>
                  <a:lnTo>
                    <a:pt x="7368" y="31513"/>
                  </a:lnTo>
                  <a:lnTo>
                    <a:pt x="8073" y="31922"/>
                  </a:lnTo>
                  <a:lnTo>
                    <a:pt x="8463" y="32107"/>
                  </a:lnTo>
                  <a:lnTo>
                    <a:pt x="8853" y="32274"/>
                  </a:lnTo>
                  <a:lnTo>
                    <a:pt x="9762" y="32534"/>
                  </a:lnTo>
                  <a:lnTo>
                    <a:pt x="10783" y="32720"/>
                  </a:lnTo>
                  <a:lnTo>
                    <a:pt x="11915" y="32794"/>
                  </a:lnTo>
                  <a:lnTo>
                    <a:pt x="12527" y="32812"/>
                  </a:lnTo>
                  <a:lnTo>
                    <a:pt x="13047" y="32794"/>
                  </a:lnTo>
                  <a:lnTo>
                    <a:pt x="14142" y="32701"/>
                  </a:lnTo>
                  <a:lnTo>
                    <a:pt x="14717" y="32627"/>
                  </a:lnTo>
                  <a:lnTo>
                    <a:pt x="15274" y="32534"/>
                  </a:lnTo>
                  <a:lnTo>
                    <a:pt x="16276" y="32274"/>
                  </a:lnTo>
                  <a:lnTo>
                    <a:pt x="16703" y="32126"/>
                  </a:lnTo>
                  <a:lnTo>
                    <a:pt x="16499" y="27226"/>
                  </a:lnTo>
                  <a:lnTo>
                    <a:pt x="15887" y="27467"/>
                  </a:lnTo>
                  <a:lnTo>
                    <a:pt x="15181" y="27616"/>
                  </a:lnTo>
                  <a:lnTo>
                    <a:pt x="14476" y="27727"/>
                  </a:lnTo>
                  <a:lnTo>
                    <a:pt x="13827" y="27746"/>
                  </a:lnTo>
                  <a:lnTo>
                    <a:pt x="13326" y="27746"/>
                  </a:lnTo>
                  <a:lnTo>
                    <a:pt x="12472" y="27597"/>
                  </a:lnTo>
                  <a:lnTo>
                    <a:pt x="11804" y="27319"/>
                  </a:lnTo>
                  <a:lnTo>
                    <a:pt x="11303" y="26911"/>
                  </a:lnTo>
                  <a:lnTo>
                    <a:pt x="11154" y="26651"/>
                  </a:lnTo>
                  <a:lnTo>
                    <a:pt x="11006" y="26372"/>
                  </a:lnTo>
                  <a:lnTo>
                    <a:pt x="10783" y="25760"/>
                  </a:lnTo>
                  <a:lnTo>
                    <a:pt x="10560" y="24702"/>
                  </a:lnTo>
                  <a:lnTo>
                    <a:pt x="10542" y="23886"/>
                  </a:lnTo>
                  <a:lnTo>
                    <a:pt x="10542" y="11526"/>
                  </a:lnTo>
                  <a:lnTo>
                    <a:pt x="15367" y="11526"/>
                  </a:lnTo>
                  <a:lnTo>
                    <a:pt x="15645" y="11507"/>
                  </a:lnTo>
                  <a:lnTo>
                    <a:pt x="16165" y="11284"/>
                  </a:lnTo>
                  <a:lnTo>
                    <a:pt x="16573" y="10895"/>
                  </a:lnTo>
                  <a:lnTo>
                    <a:pt x="16796" y="10375"/>
                  </a:lnTo>
                  <a:lnTo>
                    <a:pt x="16815" y="10078"/>
                  </a:lnTo>
                  <a:lnTo>
                    <a:pt x="16815" y="7962"/>
                  </a:lnTo>
                  <a:lnTo>
                    <a:pt x="16796" y="7665"/>
                  </a:lnTo>
                  <a:lnTo>
                    <a:pt x="16573" y="7146"/>
                  </a:lnTo>
                  <a:lnTo>
                    <a:pt x="16165" y="6756"/>
                  </a:lnTo>
                  <a:lnTo>
                    <a:pt x="15645" y="6533"/>
                  </a:lnTo>
                  <a:lnTo>
                    <a:pt x="15367" y="6515"/>
                  </a:lnTo>
                  <a:lnTo>
                    <a:pt x="10542" y="6515"/>
                  </a:lnTo>
                  <a:lnTo>
                    <a:pt x="10542" y="1448"/>
                  </a:lnTo>
                  <a:lnTo>
                    <a:pt x="10523" y="1151"/>
                  </a:lnTo>
                  <a:lnTo>
                    <a:pt x="10300" y="632"/>
                  </a:lnTo>
                  <a:lnTo>
                    <a:pt x="9911" y="242"/>
                  </a:lnTo>
                  <a:lnTo>
                    <a:pt x="9391" y="19"/>
                  </a:lnTo>
                  <a:lnTo>
                    <a:pt x="909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" name="Google Shape;84;p5"/>
            <p:cNvSpPr/>
            <p:nvPr/>
          </p:nvSpPr>
          <p:spPr>
            <a:xfrm>
              <a:off x="4511750" y="2466575"/>
              <a:ext cx="655150" cy="841200"/>
            </a:xfrm>
            <a:custGeom>
              <a:avLst/>
              <a:gdLst/>
              <a:ahLst/>
              <a:cxnLst/>
              <a:rect l="l" t="t" r="r" b="b"/>
              <a:pathLst>
                <a:path w="26206" h="33648" extrusionOk="0">
                  <a:moveTo>
                    <a:pt x="1466" y="1"/>
                  </a:moveTo>
                  <a:lnTo>
                    <a:pt x="1169" y="19"/>
                  </a:lnTo>
                  <a:lnTo>
                    <a:pt x="650" y="242"/>
                  </a:lnTo>
                  <a:lnTo>
                    <a:pt x="241" y="632"/>
                  </a:lnTo>
                  <a:lnTo>
                    <a:pt x="19" y="1151"/>
                  </a:lnTo>
                  <a:lnTo>
                    <a:pt x="0" y="1448"/>
                  </a:lnTo>
                  <a:lnTo>
                    <a:pt x="0" y="32200"/>
                  </a:lnTo>
                  <a:lnTo>
                    <a:pt x="19" y="32497"/>
                  </a:lnTo>
                  <a:lnTo>
                    <a:pt x="241" y="33017"/>
                  </a:lnTo>
                  <a:lnTo>
                    <a:pt x="650" y="33406"/>
                  </a:lnTo>
                  <a:lnTo>
                    <a:pt x="1169" y="33629"/>
                  </a:lnTo>
                  <a:lnTo>
                    <a:pt x="1466" y="33648"/>
                  </a:lnTo>
                  <a:lnTo>
                    <a:pt x="4825" y="33648"/>
                  </a:lnTo>
                  <a:lnTo>
                    <a:pt x="5122" y="33629"/>
                  </a:lnTo>
                  <a:lnTo>
                    <a:pt x="5642" y="33406"/>
                  </a:lnTo>
                  <a:lnTo>
                    <a:pt x="6032" y="33017"/>
                  </a:lnTo>
                  <a:lnTo>
                    <a:pt x="6255" y="32497"/>
                  </a:lnTo>
                  <a:lnTo>
                    <a:pt x="6273" y="32200"/>
                  </a:lnTo>
                  <a:lnTo>
                    <a:pt x="6273" y="18133"/>
                  </a:lnTo>
                  <a:lnTo>
                    <a:pt x="19932" y="18133"/>
                  </a:lnTo>
                  <a:lnTo>
                    <a:pt x="19932" y="32200"/>
                  </a:lnTo>
                  <a:lnTo>
                    <a:pt x="19951" y="32497"/>
                  </a:lnTo>
                  <a:lnTo>
                    <a:pt x="20174" y="33017"/>
                  </a:lnTo>
                  <a:lnTo>
                    <a:pt x="20563" y="33406"/>
                  </a:lnTo>
                  <a:lnTo>
                    <a:pt x="21083" y="33629"/>
                  </a:lnTo>
                  <a:lnTo>
                    <a:pt x="21380" y="33648"/>
                  </a:lnTo>
                  <a:lnTo>
                    <a:pt x="24758" y="33648"/>
                  </a:lnTo>
                  <a:lnTo>
                    <a:pt x="25036" y="33629"/>
                  </a:lnTo>
                  <a:lnTo>
                    <a:pt x="25556" y="33406"/>
                  </a:lnTo>
                  <a:lnTo>
                    <a:pt x="25964" y="33017"/>
                  </a:lnTo>
                  <a:lnTo>
                    <a:pt x="26187" y="32497"/>
                  </a:lnTo>
                  <a:lnTo>
                    <a:pt x="26205" y="32200"/>
                  </a:lnTo>
                  <a:lnTo>
                    <a:pt x="26205" y="1448"/>
                  </a:lnTo>
                  <a:lnTo>
                    <a:pt x="26187" y="1151"/>
                  </a:lnTo>
                  <a:lnTo>
                    <a:pt x="25964" y="632"/>
                  </a:lnTo>
                  <a:lnTo>
                    <a:pt x="25556" y="242"/>
                  </a:lnTo>
                  <a:lnTo>
                    <a:pt x="25036" y="19"/>
                  </a:lnTo>
                  <a:lnTo>
                    <a:pt x="24758" y="1"/>
                  </a:lnTo>
                  <a:lnTo>
                    <a:pt x="21380" y="1"/>
                  </a:lnTo>
                  <a:lnTo>
                    <a:pt x="21083" y="19"/>
                  </a:lnTo>
                  <a:lnTo>
                    <a:pt x="20563" y="242"/>
                  </a:lnTo>
                  <a:lnTo>
                    <a:pt x="20174" y="632"/>
                  </a:lnTo>
                  <a:lnTo>
                    <a:pt x="19951" y="1151"/>
                  </a:lnTo>
                  <a:lnTo>
                    <a:pt x="19932" y="1448"/>
                  </a:lnTo>
                  <a:lnTo>
                    <a:pt x="19932" y="13641"/>
                  </a:lnTo>
                  <a:lnTo>
                    <a:pt x="6273" y="13641"/>
                  </a:lnTo>
                  <a:lnTo>
                    <a:pt x="6273" y="1448"/>
                  </a:lnTo>
                  <a:lnTo>
                    <a:pt x="6255" y="1151"/>
                  </a:lnTo>
                  <a:lnTo>
                    <a:pt x="6032" y="632"/>
                  </a:lnTo>
                  <a:lnTo>
                    <a:pt x="5642" y="242"/>
                  </a:lnTo>
                  <a:lnTo>
                    <a:pt x="5122" y="19"/>
                  </a:lnTo>
                  <a:lnTo>
                    <a:pt x="482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" name="Google Shape;85;p5"/>
            <p:cNvSpPr/>
            <p:nvPr/>
          </p:nvSpPr>
          <p:spPr>
            <a:xfrm>
              <a:off x="2392800" y="2663300"/>
              <a:ext cx="633800" cy="662575"/>
            </a:xfrm>
            <a:custGeom>
              <a:avLst/>
              <a:gdLst/>
              <a:ahLst/>
              <a:cxnLst/>
              <a:rect l="l" t="t" r="r" b="b"/>
              <a:pathLst>
                <a:path w="25352" h="26503" extrusionOk="0">
                  <a:moveTo>
                    <a:pt x="13195" y="4696"/>
                  </a:moveTo>
                  <a:lnTo>
                    <a:pt x="13938" y="4715"/>
                  </a:lnTo>
                  <a:lnTo>
                    <a:pt x="15255" y="4974"/>
                  </a:lnTo>
                  <a:lnTo>
                    <a:pt x="15831" y="5197"/>
                  </a:lnTo>
                  <a:lnTo>
                    <a:pt x="16369" y="5457"/>
                  </a:lnTo>
                  <a:lnTo>
                    <a:pt x="17297" y="6125"/>
                  </a:lnTo>
                  <a:lnTo>
                    <a:pt x="17687" y="6515"/>
                  </a:lnTo>
                  <a:lnTo>
                    <a:pt x="18039" y="6942"/>
                  </a:lnTo>
                  <a:lnTo>
                    <a:pt x="18559" y="7907"/>
                  </a:lnTo>
                  <a:lnTo>
                    <a:pt x="18745" y="8445"/>
                  </a:lnTo>
                  <a:lnTo>
                    <a:pt x="18912" y="9002"/>
                  </a:lnTo>
                  <a:lnTo>
                    <a:pt x="19079" y="10152"/>
                  </a:lnTo>
                  <a:lnTo>
                    <a:pt x="19097" y="10746"/>
                  </a:lnTo>
                  <a:lnTo>
                    <a:pt x="6254" y="10746"/>
                  </a:lnTo>
                  <a:lnTo>
                    <a:pt x="6329" y="10097"/>
                  </a:lnTo>
                  <a:lnTo>
                    <a:pt x="6663" y="8890"/>
                  </a:lnTo>
                  <a:lnTo>
                    <a:pt x="7201" y="7795"/>
                  </a:lnTo>
                  <a:lnTo>
                    <a:pt x="7962" y="6830"/>
                  </a:lnTo>
                  <a:lnTo>
                    <a:pt x="8426" y="6403"/>
                  </a:lnTo>
                  <a:lnTo>
                    <a:pt x="8927" y="5995"/>
                  </a:lnTo>
                  <a:lnTo>
                    <a:pt x="10003" y="5346"/>
                  </a:lnTo>
                  <a:lnTo>
                    <a:pt x="11210" y="4937"/>
                  </a:lnTo>
                  <a:lnTo>
                    <a:pt x="12509" y="4715"/>
                  </a:lnTo>
                  <a:lnTo>
                    <a:pt x="13195" y="4696"/>
                  </a:lnTo>
                  <a:close/>
                  <a:moveTo>
                    <a:pt x="13251" y="1"/>
                  </a:moveTo>
                  <a:lnTo>
                    <a:pt x="12546" y="19"/>
                  </a:lnTo>
                  <a:lnTo>
                    <a:pt x="11191" y="131"/>
                  </a:lnTo>
                  <a:lnTo>
                    <a:pt x="9873" y="372"/>
                  </a:lnTo>
                  <a:lnTo>
                    <a:pt x="8611" y="743"/>
                  </a:lnTo>
                  <a:lnTo>
                    <a:pt x="8018" y="966"/>
                  </a:lnTo>
                  <a:lnTo>
                    <a:pt x="7405" y="1226"/>
                  </a:lnTo>
                  <a:lnTo>
                    <a:pt x="6273" y="1801"/>
                  </a:lnTo>
                  <a:lnTo>
                    <a:pt x="5234" y="2469"/>
                  </a:lnTo>
                  <a:lnTo>
                    <a:pt x="4269" y="3248"/>
                  </a:lnTo>
                  <a:lnTo>
                    <a:pt x="3805" y="3675"/>
                  </a:lnTo>
                  <a:lnTo>
                    <a:pt x="3378" y="4121"/>
                  </a:lnTo>
                  <a:lnTo>
                    <a:pt x="2580" y="5086"/>
                  </a:lnTo>
                  <a:lnTo>
                    <a:pt x="1875" y="6144"/>
                  </a:lnTo>
                  <a:lnTo>
                    <a:pt x="1281" y="7294"/>
                  </a:lnTo>
                  <a:lnTo>
                    <a:pt x="1021" y="7907"/>
                  </a:lnTo>
                  <a:lnTo>
                    <a:pt x="780" y="8538"/>
                  </a:lnTo>
                  <a:lnTo>
                    <a:pt x="390" y="9837"/>
                  </a:lnTo>
                  <a:lnTo>
                    <a:pt x="130" y="11210"/>
                  </a:lnTo>
                  <a:lnTo>
                    <a:pt x="19" y="12658"/>
                  </a:lnTo>
                  <a:lnTo>
                    <a:pt x="0" y="13400"/>
                  </a:lnTo>
                  <a:lnTo>
                    <a:pt x="19" y="14161"/>
                  </a:lnTo>
                  <a:lnTo>
                    <a:pt x="130" y="15609"/>
                  </a:lnTo>
                  <a:lnTo>
                    <a:pt x="390" y="17000"/>
                  </a:lnTo>
                  <a:lnTo>
                    <a:pt x="780" y="18300"/>
                  </a:lnTo>
                  <a:lnTo>
                    <a:pt x="1021" y="18912"/>
                  </a:lnTo>
                  <a:lnTo>
                    <a:pt x="1281" y="19506"/>
                  </a:lnTo>
                  <a:lnTo>
                    <a:pt x="1893" y="20619"/>
                  </a:lnTo>
                  <a:lnTo>
                    <a:pt x="2598" y="21659"/>
                  </a:lnTo>
                  <a:lnTo>
                    <a:pt x="3396" y="22587"/>
                  </a:lnTo>
                  <a:lnTo>
                    <a:pt x="3842" y="23013"/>
                  </a:lnTo>
                  <a:lnTo>
                    <a:pt x="4287" y="23422"/>
                  </a:lnTo>
                  <a:lnTo>
                    <a:pt x="5271" y="24146"/>
                  </a:lnTo>
                  <a:lnTo>
                    <a:pt x="6329" y="24795"/>
                  </a:lnTo>
                  <a:lnTo>
                    <a:pt x="7479" y="25352"/>
                  </a:lnTo>
                  <a:lnTo>
                    <a:pt x="8092" y="25593"/>
                  </a:lnTo>
                  <a:lnTo>
                    <a:pt x="8704" y="25797"/>
                  </a:lnTo>
                  <a:lnTo>
                    <a:pt x="9985" y="26150"/>
                  </a:lnTo>
                  <a:lnTo>
                    <a:pt x="11340" y="26373"/>
                  </a:lnTo>
                  <a:lnTo>
                    <a:pt x="12731" y="26484"/>
                  </a:lnTo>
                  <a:lnTo>
                    <a:pt x="13455" y="26503"/>
                  </a:lnTo>
                  <a:lnTo>
                    <a:pt x="14216" y="26484"/>
                  </a:lnTo>
                  <a:lnTo>
                    <a:pt x="15682" y="26373"/>
                  </a:lnTo>
                  <a:lnTo>
                    <a:pt x="17074" y="26131"/>
                  </a:lnTo>
                  <a:lnTo>
                    <a:pt x="18373" y="25760"/>
                  </a:lnTo>
                  <a:lnTo>
                    <a:pt x="19598" y="25296"/>
                  </a:lnTo>
                  <a:lnTo>
                    <a:pt x="20730" y="24684"/>
                  </a:lnTo>
                  <a:lnTo>
                    <a:pt x="21788" y="23960"/>
                  </a:lnTo>
                  <a:lnTo>
                    <a:pt x="22772" y="23125"/>
                  </a:lnTo>
                  <a:lnTo>
                    <a:pt x="23236" y="22661"/>
                  </a:lnTo>
                  <a:lnTo>
                    <a:pt x="23421" y="22420"/>
                  </a:lnTo>
                  <a:lnTo>
                    <a:pt x="23607" y="21863"/>
                  </a:lnTo>
                  <a:lnTo>
                    <a:pt x="23551" y="21288"/>
                  </a:lnTo>
                  <a:lnTo>
                    <a:pt x="23273" y="20768"/>
                  </a:lnTo>
                  <a:lnTo>
                    <a:pt x="23050" y="20564"/>
                  </a:lnTo>
                  <a:lnTo>
                    <a:pt x="21139" y="19042"/>
                  </a:lnTo>
                  <a:lnTo>
                    <a:pt x="20916" y="18875"/>
                  </a:lnTo>
                  <a:lnTo>
                    <a:pt x="20415" y="18726"/>
                  </a:lnTo>
                  <a:lnTo>
                    <a:pt x="19914" y="18745"/>
                  </a:lnTo>
                  <a:lnTo>
                    <a:pt x="19431" y="18949"/>
                  </a:lnTo>
                  <a:lnTo>
                    <a:pt x="19227" y="19135"/>
                  </a:lnTo>
                  <a:lnTo>
                    <a:pt x="18819" y="19543"/>
                  </a:lnTo>
                  <a:lnTo>
                    <a:pt x="17891" y="20230"/>
                  </a:lnTo>
                  <a:lnTo>
                    <a:pt x="17371" y="20527"/>
                  </a:lnTo>
                  <a:lnTo>
                    <a:pt x="16963" y="20731"/>
                  </a:lnTo>
                  <a:lnTo>
                    <a:pt x="16053" y="21046"/>
                  </a:lnTo>
                  <a:lnTo>
                    <a:pt x="15070" y="21269"/>
                  </a:lnTo>
                  <a:lnTo>
                    <a:pt x="13993" y="21380"/>
                  </a:lnTo>
                  <a:lnTo>
                    <a:pt x="13400" y="21380"/>
                  </a:lnTo>
                  <a:lnTo>
                    <a:pt x="12731" y="21362"/>
                  </a:lnTo>
                  <a:lnTo>
                    <a:pt x="11432" y="21120"/>
                  </a:lnTo>
                  <a:lnTo>
                    <a:pt x="10801" y="20916"/>
                  </a:lnTo>
                  <a:lnTo>
                    <a:pt x="10189" y="20657"/>
                  </a:lnTo>
                  <a:lnTo>
                    <a:pt x="9057" y="20026"/>
                  </a:lnTo>
                  <a:lnTo>
                    <a:pt x="8556" y="19636"/>
                  </a:lnTo>
                  <a:lnTo>
                    <a:pt x="8073" y="19209"/>
                  </a:lnTo>
                  <a:lnTo>
                    <a:pt x="7275" y="18244"/>
                  </a:lnTo>
                  <a:lnTo>
                    <a:pt x="6960" y="17706"/>
                  </a:lnTo>
                  <a:lnTo>
                    <a:pt x="6681" y="17130"/>
                  </a:lnTo>
                  <a:lnTo>
                    <a:pt x="6329" y="15905"/>
                  </a:lnTo>
                  <a:lnTo>
                    <a:pt x="6254" y="15237"/>
                  </a:lnTo>
                  <a:lnTo>
                    <a:pt x="23904" y="15237"/>
                  </a:lnTo>
                  <a:lnTo>
                    <a:pt x="24201" y="15200"/>
                  </a:lnTo>
                  <a:lnTo>
                    <a:pt x="24702" y="14996"/>
                  </a:lnTo>
                  <a:lnTo>
                    <a:pt x="25110" y="14606"/>
                  </a:lnTo>
                  <a:lnTo>
                    <a:pt x="25333" y="14087"/>
                  </a:lnTo>
                  <a:lnTo>
                    <a:pt x="25351" y="13790"/>
                  </a:lnTo>
                  <a:lnTo>
                    <a:pt x="25351" y="13567"/>
                  </a:lnTo>
                  <a:lnTo>
                    <a:pt x="25333" y="12713"/>
                  </a:lnTo>
                  <a:lnTo>
                    <a:pt x="25222" y="11136"/>
                  </a:lnTo>
                  <a:lnTo>
                    <a:pt x="24999" y="9651"/>
                  </a:lnTo>
                  <a:lnTo>
                    <a:pt x="24665" y="8278"/>
                  </a:lnTo>
                  <a:lnTo>
                    <a:pt x="24442" y="7647"/>
                  </a:lnTo>
                  <a:lnTo>
                    <a:pt x="24201" y="7016"/>
                  </a:lnTo>
                  <a:lnTo>
                    <a:pt x="23663" y="5847"/>
                  </a:lnTo>
                  <a:lnTo>
                    <a:pt x="23032" y="4807"/>
                  </a:lnTo>
                  <a:lnTo>
                    <a:pt x="22308" y="3842"/>
                  </a:lnTo>
                  <a:lnTo>
                    <a:pt x="21900" y="3415"/>
                  </a:lnTo>
                  <a:lnTo>
                    <a:pt x="21918" y="3415"/>
                  </a:lnTo>
                  <a:lnTo>
                    <a:pt x="21491" y="3007"/>
                  </a:lnTo>
                  <a:lnTo>
                    <a:pt x="20619" y="2265"/>
                  </a:lnTo>
                  <a:lnTo>
                    <a:pt x="19654" y="1615"/>
                  </a:lnTo>
                  <a:lnTo>
                    <a:pt x="18633" y="1096"/>
                  </a:lnTo>
                  <a:lnTo>
                    <a:pt x="18076" y="873"/>
                  </a:lnTo>
                  <a:lnTo>
                    <a:pt x="17520" y="650"/>
                  </a:lnTo>
                  <a:lnTo>
                    <a:pt x="16369" y="335"/>
                  </a:lnTo>
                  <a:lnTo>
                    <a:pt x="15163" y="112"/>
                  </a:lnTo>
                  <a:lnTo>
                    <a:pt x="13901" y="19"/>
                  </a:lnTo>
                  <a:lnTo>
                    <a:pt x="1325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" name="Google Shape;86;p5"/>
            <p:cNvSpPr/>
            <p:nvPr/>
          </p:nvSpPr>
          <p:spPr>
            <a:xfrm>
              <a:off x="237650" y="2349675"/>
              <a:ext cx="1219800" cy="1015625"/>
            </a:xfrm>
            <a:custGeom>
              <a:avLst/>
              <a:gdLst/>
              <a:ahLst/>
              <a:cxnLst/>
              <a:rect l="l" t="t" r="r" b="b"/>
              <a:pathLst>
                <a:path w="48792" h="40625" extrusionOk="0">
                  <a:moveTo>
                    <a:pt x="11915" y="0"/>
                  </a:moveTo>
                  <a:lnTo>
                    <a:pt x="10746" y="93"/>
                  </a:lnTo>
                  <a:lnTo>
                    <a:pt x="9614" y="297"/>
                  </a:lnTo>
                  <a:lnTo>
                    <a:pt x="8500" y="612"/>
                  </a:lnTo>
                  <a:lnTo>
                    <a:pt x="7443" y="1039"/>
                  </a:lnTo>
                  <a:lnTo>
                    <a:pt x="6422" y="1559"/>
                  </a:lnTo>
                  <a:lnTo>
                    <a:pt x="5457" y="2171"/>
                  </a:lnTo>
                  <a:lnTo>
                    <a:pt x="4547" y="2858"/>
                  </a:lnTo>
                  <a:lnTo>
                    <a:pt x="3712" y="3638"/>
                  </a:lnTo>
                  <a:lnTo>
                    <a:pt x="2933" y="4491"/>
                  </a:lnTo>
                  <a:lnTo>
                    <a:pt x="2246" y="5419"/>
                  </a:lnTo>
                  <a:lnTo>
                    <a:pt x="1634" y="6403"/>
                  </a:lnTo>
                  <a:lnTo>
                    <a:pt x="1114" y="7442"/>
                  </a:lnTo>
                  <a:lnTo>
                    <a:pt x="687" y="8556"/>
                  </a:lnTo>
                  <a:lnTo>
                    <a:pt x="372" y="9688"/>
                  </a:lnTo>
                  <a:lnTo>
                    <a:pt x="149" y="10875"/>
                  </a:lnTo>
                  <a:lnTo>
                    <a:pt x="75" y="11488"/>
                  </a:lnTo>
                  <a:lnTo>
                    <a:pt x="0" y="12583"/>
                  </a:lnTo>
                  <a:lnTo>
                    <a:pt x="130" y="14736"/>
                  </a:lnTo>
                  <a:lnTo>
                    <a:pt x="539" y="16870"/>
                  </a:lnTo>
                  <a:lnTo>
                    <a:pt x="1225" y="18967"/>
                  </a:lnTo>
                  <a:lnTo>
                    <a:pt x="2116" y="21008"/>
                  </a:lnTo>
                  <a:lnTo>
                    <a:pt x="3230" y="23013"/>
                  </a:lnTo>
                  <a:lnTo>
                    <a:pt x="4510" y="24961"/>
                  </a:lnTo>
                  <a:lnTo>
                    <a:pt x="5921" y="26836"/>
                  </a:lnTo>
                  <a:lnTo>
                    <a:pt x="7461" y="28636"/>
                  </a:lnTo>
                  <a:lnTo>
                    <a:pt x="9076" y="30362"/>
                  </a:lnTo>
                  <a:lnTo>
                    <a:pt x="11600" y="32793"/>
                  </a:lnTo>
                  <a:lnTo>
                    <a:pt x="14996" y="35688"/>
                  </a:lnTo>
                  <a:lnTo>
                    <a:pt x="18188" y="38120"/>
                  </a:lnTo>
                  <a:lnTo>
                    <a:pt x="19617" y="39140"/>
                  </a:lnTo>
                  <a:lnTo>
                    <a:pt x="20155" y="39493"/>
                  </a:lnTo>
                  <a:lnTo>
                    <a:pt x="21325" y="40050"/>
                  </a:lnTo>
                  <a:lnTo>
                    <a:pt x="22531" y="40439"/>
                  </a:lnTo>
                  <a:lnTo>
                    <a:pt x="23774" y="40625"/>
                  </a:lnTo>
                  <a:lnTo>
                    <a:pt x="25036" y="40625"/>
                  </a:lnTo>
                  <a:lnTo>
                    <a:pt x="26280" y="40439"/>
                  </a:lnTo>
                  <a:lnTo>
                    <a:pt x="27486" y="40050"/>
                  </a:lnTo>
                  <a:lnTo>
                    <a:pt x="28637" y="39493"/>
                  </a:lnTo>
                  <a:lnTo>
                    <a:pt x="29193" y="39140"/>
                  </a:lnTo>
                  <a:lnTo>
                    <a:pt x="30567" y="38157"/>
                  </a:lnTo>
                  <a:lnTo>
                    <a:pt x="33648" y="35818"/>
                  </a:lnTo>
                  <a:lnTo>
                    <a:pt x="36914" y="33053"/>
                  </a:lnTo>
                  <a:lnTo>
                    <a:pt x="39364" y="30733"/>
                  </a:lnTo>
                  <a:lnTo>
                    <a:pt x="40941" y="29081"/>
                  </a:lnTo>
                  <a:lnTo>
                    <a:pt x="42444" y="27356"/>
                  </a:lnTo>
                  <a:lnTo>
                    <a:pt x="43855" y="25555"/>
                  </a:lnTo>
                  <a:lnTo>
                    <a:pt x="45135" y="23699"/>
                  </a:lnTo>
                  <a:lnTo>
                    <a:pt x="46268" y="21788"/>
                  </a:lnTo>
                  <a:lnTo>
                    <a:pt x="47233" y="19839"/>
                  </a:lnTo>
                  <a:lnTo>
                    <a:pt x="47994" y="17835"/>
                  </a:lnTo>
                  <a:lnTo>
                    <a:pt x="48513" y="15793"/>
                  </a:lnTo>
                  <a:lnTo>
                    <a:pt x="48773" y="13715"/>
                  </a:lnTo>
                  <a:lnTo>
                    <a:pt x="48792" y="12676"/>
                  </a:lnTo>
                  <a:lnTo>
                    <a:pt x="48773" y="12082"/>
                  </a:lnTo>
                  <a:lnTo>
                    <a:pt x="48736" y="11488"/>
                  </a:lnTo>
                  <a:lnTo>
                    <a:pt x="48662" y="10820"/>
                  </a:lnTo>
                  <a:lnTo>
                    <a:pt x="48272" y="9224"/>
                  </a:lnTo>
                  <a:lnTo>
                    <a:pt x="47845" y="8017"/>
                  </a:lnTo>
                  <a:lnTo>
                    <a:pt x="47270" y="6830"/>
                  </a:lnTo>
                  <a:lnTo>
                    <a:pt x="46509" y="5753"/>
                  </a:lnTo>
                  <a:lnTo>
                    <a:pt x="45785" y="5104"/>
                  </a:lnTo>
                  <a:lnTo>
                    <a:pt x="45247" y="4788"/>
                  </a:lnTo>
                  <a:lnTo>
                    <a:pt x="44653" y="4547"/>
                  </a:lnTo>
                  <a:lnTo>
                    <a:pt x="44003" y="4417"/>
                  </a:lnTo>
                  <a:lnTo>
                    <a:pt x="43242" y="4417"/>
                  </a:lnTo>
                  <a:lnTo>
                    <a:pt x="42444" y="4565"/>
                  </a:lnTo>
                  <a:lnTo>
                    <a:pt x="41684" y="4881"/>
                  </a:lnTo>
                  <a:lnTo>
                    <a:pt x="40997" y="5345"/>
                  </a:lnTo>
                  <a:lnTo>
                    <a:pt x="40681" y="5642"/>
                  </a:lnTo>
                  <a:lnTo>
                    <a:pt x="27616" y="18707"/>
                  </a:lnTo>
                  <a:lnTo>
                    <a:pt x="27393" y="18930"/>
                  </a:lnTo>
                  <a:lnTo>
                    <a:pt x="27059" y="19450"/>
                  </a:lnTo>
                  <a:lnTo>
                    <a:pt x="26836" y="20006"/>
                  </a:lnTo>
                  <a:lnTo>
                    <a:pt x="26725" y="20582"/>
                  </a:lnTo>
                  <a:lnTo>
                    <a:pt x="26725" y="21175"/>
                  </a:lnTo>
                  <a:lnTo>
                    <a:pt x="26836" y="21751"/>
                  </a:lnTo>
                  <a:lnTo>
                    <a:pt x="27059" y="22308"/>
                  </a:lnTo>
                  <a:lnTo>
                    <a:pt x="27393" y="22809"/>
                  </a:lnTo>
                  <a:lnTo>
                    <a:pt x="27616" y="23050"/>
                  </a:lnTo>
                  <a:lnTo>
                    <a:pt x="27839" y="23254"/>
                  </a:lnTo>
                  <a:lnTo>
                    <a:pt x="28358" y="23607"/>
                  </a:lnTo>
                  <a:lnTo>
                    <a:pt x="28915" y="23829"/>
                  </a:lnTo>
                  <a:lnTo>
                    <a:pt x="29490" y="23941"/>
                  </a:lnTo>
                  <a:lnTo>
                    <a:pt x="30084" y="23941"/>
                  </a:lnTo>
                  <a:lnTo>
                    <a:pt x="30660" y="23829"/>
                  </a:lnTo>
                  <a:lnTo>
                    <a:pt x="31216" y="23607"/>
                  </a:lnTo>
                  <a:lnTo>
                    <a:pt x="31717" y="23254"/>
                  </a:lnTo>
                  <a:lnTo>
                    <a:pt x="31959" y="23050"/>
                  </a:lnTo>
                  <a:lnTo>
                    <a:pt x="43075" y="11933"/>
                  </a:lnTo>
                  <a:lnTo>
                    <a:pt x="43168" y="11840"/>
                  </a:lnTo>
                  <a:lnTo>
                    <a:pt x="43410" y="11748"/>
                  </a:lnTo>
                  <a:lnTo>
                    <a:pt x="43651" y="11748"/>
                  </a:lnTo>
                  <a:lnTo>
                    <a:pt x="43873" y="11840"/>
                  </a:lnTo>
                  <a:lnTo>
                    <a:pt x="43966" y="11933"/>
                  </a:lnTo>
                  <a:lnTo>
                    <a:pt x="44727" y="12694"/>
                  </a:lnTo>
                  <a:lnTo>
                    <a:pt x="44820" y="12787"/>
                  </a:lnTo>
                  <a:lnTo>
                    <a:pt x="44913" y="13010"/>
                  </a:lnTo>
                  <a:lnTo>
                    <a:pt x="44913" y="13269"/>
                  </a:lnTo>
                  <a:lnTo>
                    <a:pt x="44820" y="13492"/>
                  </a:lnTo>
                  <a:lnTo>
                    <a:pt x="44727" y="13585"/>
                  </a:lnTo>
                  <a:lnTo>
                    <a:pt x="33703" y="24627"/>
                  </a:lnTo>
                  <a:lnTo>
                    <a:pt x="33314" y="24999"/>
                  </a:lnTo>
                  <a:lnTo>
                    <a:pt x="32441" y="25592"/>
                  </a:lnTo>
                  <a:lnTo>
                    <a:pt x="31476" y="26019"/>
                  </a:lnTo>
                  <a:lnTo>
                    <a:pt x="30455" y="26261"/>
                  </a:lnTo>
                  <a:lnTo>
                    <a:pt x="29936" y="26298"/>
                  </a:lnTo>
                  <a:lnTo>
                    <a:pt x="29360" y="26298"/>
                  </a:lnTo>
                  <a:lnTo>
                    <a:pt x="28247" y="26094"/>
                  </a:lnTo>
                  <a:lnTo>
                    <a:pt x="27208" y="25667"/>
                  </a:lnTo>
                  <a:lnTo>
                    <a:pt x="26280" y="25017"/>
                  </a:lnTo>
                  <a:lnTo>
                    <a:pt x="25871" y="24627"/>
                  </a:lnTo>
                  <a:lnTo>
                    <a:pt x="25500" y="24201"/>
                  </a:lnTo>
                  <a:lnTo>
                    <a:pt x="24925" y="23291"/>
                  </a:lnTo>
                  <a:lnTo>
                    <a:pt x="24572" y="22326"/>
                  </a:lnTo>
                  <a:lnTo>
                    <a:pt x="24405" y="21287"/>
                  </a:lnTo>
                  <a:lnTo>
                    <a:pt x="24424" y="20248"/>
                  </a:lnTo>
                  <a:lnTo>
                    <a:pt x="24647" y="19227"/>
                  </a:lnTo>
                  <a:lnTo>
                    <a:pt x="25055" y="18262"/>
                  </a:lnTo>
                  <a:lnTo>
                    <a:pt x="25649" y="17352"/>
                  </a:lnTo>
                  <a:lnTo>
                    <a:pt x="26038" y="16963"/>
                  </a:lnTo>
                  <a:lnTo>
                    <a:pt x="33351" y="9651"/>
                  </a:lnTo>
                  <a:lnTo>
                    <a:pt x="39011" y="3972"/>
                  </a:lnTo>
                  <a:lnTo>
                    <a:pt x="39456" y="3563"/>
                  </a:lnTo>
                  <a:lnTo>
                    <a:pt x="40422" y="2895"/>
                  </a:lnTo>
                  <a:lnTo>
                    <a:pt x="41479" y="2413"/>
                  </a:lnTo>
                  <a:lnTo>
                    <a:pt x="42611" y="2134"/>
                  </a:lnTo>
                  <a:lnTo>
                    <a:pt x="43205" y="2079"/>
                  </a:lnTo>
                  <a:lnTo>
                    <a:pt x="42444" y="1577"/>
                  </a:lnTo>
                  <a:lnTo>
                    <a:pt x="40811" y="798"/>
                  </a:lnTo>
                  <a:lnTo>
                    <a:pt x="39067" y="260"/>
                  </a:lnTo>
                  <a:lnTo>
                    <a:pt x="37229" y="0"/>
                  </a:lnTo>
                  <a:lnTo>
                    <a:pt x="36283" y="0"/>
                  </a:lnTo>
                  <a:lnTo>
                    <a:pt x="35299" y="56"/>
                  </a:lnTo>
                  <a:lnTo>
                    <a:pt x="33425" y="371"/>
                  </a:lnTo>
                  <a:lnTo>
                    <a:pt x="31643" y="965"/>
                  </a:lnTo>
                  <a:lnTo>
                    <a:pt x="29991" y="1819"/>
                  </a:lnTo>
                  <a:lnTo>
                    <a:pt x="28507" y="2877"/>
                  </a:lnTo>
                  <a:lnTo>
                    <a:pt x="27171" y="4157"/>
                  </a:lnTo>
                  <a:lnTo>
                    <a:pt x="26057" y="5623"/>
                  </a:lnTo>
                  <a:lnTo>
                    <a:pt x="25129" y="7256"/>
                  </a:lnTo>
                  <a:lnTo>
                    <a:pt x="24776" y="8147"/>
                  </a:lnTo>
                  <a:lnTo>
                    <a:pt x="24721" y="8259"/>
                  </a:lnTo>
                  <a:lnTo>
                    <a:pt x="24517" y="8389"/>
                  </a:lnTo>
                  <a:lnTo>
                    <a:pt x="24294" y="8389"/>
                  </a:lnTo>
                  <a:lnTo>
                    <a:pt x="24090" y="8259"/>
                  </a:lnTo>
                  <a:lnTo>
                    <a:pt x="24034" y="8147"/>
                  </a:lnTo>
                  <a:lnTo>
                    <a:pt x="23663" y="7256"/>
                  </a:lnTo>
                  <a:lnTo>
                    <a:pt x="22754" y="5623"/>
                  </a:lnTo>
                  <a:lnTo>
                    <a:pt x="21640" y="4157"/>
                  </a:lnTo>
                  <a:lnTo>
                    <a:pt x="20304" y="2877"/>
                  </a:lnTo>
                  <a:lnTo>
                    <a:pt x="18819" y="1819"/>
                  </a:lnTo>
                  <a:lnTo>
                    <a:pt x="17167" y="965"/>
                  </a:lnTo>
                  <a:lnTo>
                    <a:pt x="15386" y="371"/>
                  </a:lnTo>
                  <a:lnTo>
                    <a:pt x="13493" y="56"/>
                  </a:lnTo>
                  <a:lnTo>
                    <a:pt x="12528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7" name="Google Shape;87;p5"/>
          <p:cNvGrpSpPr/>
          <p:nvPr/>
        </p:nvGrpSpPr>
        <p:grpSpPr>
          <a:xfrm>
            <a:off x="747189" y="690659"/>
            <a:ext cx="3663088" cy="520813"/>
            <a:chOff x="237650" y="2349675"/>
            <a:chExt cx="7144700" cy="1015625"/>
          </a:xfrm>
        </p:grpSpPr>
        <p:sp>
          <p:nvSpPr>
            <p:cNvPr id="88" name="Google Shape;88;p5"/>
            <p:cNvSpPr/>
            <p:nvPr/>
          </p:nvSpPr>
          <p:spPr>
            <a:xfrm>
              <a:off x="3096625" y="2466575"/>
              <a:ext cx="156400" cy="841200"/>
            </a:xfrm>
            <a:custGeom>
              <a:avLst/>
              <a:gdLst/>
              <a:ahLst/>
              <a:cxnLst/>
              <a:rect l="l" t="t" r="r" b="b"/>
              <a:pathLst>
                <a:path w="6256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2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1" y="1448"/>
                  </a:lnTo>
                  <a:lnTo>
                    <a:pt x="1" y="32182"/>
                  </a:lnTo>
                  <a:lnTo>
                    <a:pt x="19" y="32479"/>
                  </a:lnTo>
                  <a:lnTo>
                    <a:pt x="242" y="33017"/>
                  </a:lnTo>
                  <a:lnTo>
                    <a:pt x="632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08" y="33648"/>
                  </a:lnTo>
                  <a:lnTo>
                    <a:pt x="5105" y="33629"/>
                  </a:lnTo>
                  <a:lnTo>
                    <a:pt x="5624" y="33406"/>
                  </a:lnTo>
                  <a:lnTo>
                    <a:pt x="6014" y="33017"/>
                  </a:lnTo>
                  <a:lnTo>
                    <a:pt x="6237" y="32479"/>
                  </a:lnTo>
                  <a:lnTo>
                    <a:pt x="6255" y="32182"/>
                  </a:lnTo>
                  <a:lnTo>
                    <a:pt x="6255" y="1448"/>
                  </a:lnTo>
                  <a:lnTo>
                    <a:pt x="6237" y="1151"/>
                  </a:lnTo>
                  <a:lnTo>
                    <a:pt x="6014" y="632"/>
                  </a:lnTo>
                  <a:lnTo>
                    <a:pt x="5624" y="242"/>
                  </a:lnTo>
                  <a:lnTo>
                    <a:pt x="5105" y="19"/>
                  </a:lnTo>
                  <a:lnTo>
                    <a:pt x="4808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" name="Google Shape;89;p5"/>
            <p:cNvSpPr/>
            <p:nvPr/>
          </p:nvSpPr>
          <p:spPr>
            <a:xfrm>
              <a:off x="1673175" y="2466575"/>
              <a:ext cx="655150" cy="841200"/>
            </a:xfrm>
            <a:custGeom>
              <a:avLst/>
              <a:gdLst/>
              <a:ahLst/>
              <a:cxnLst/>
              <a:rect l="l" t="t" r="r" b="b"/>
              <a:pathLst>
                <a:path w="26206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1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0" y="1448"/>
                  </a:lnTo>
                  <a:lnTo>
                    <a:pt x="0" y="32200"/>
                  </a:lnTo>
                  <a:lnTo>
                    <a:pt x="19" y="32497"/>
                  </a:lnTo>
                  <a:lnTo>
                    <a:pt x="242" y="33017"/>
                  </a:lnTo>
                  <a:lnTo>
                    <a:pt x="631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26" y="33648"/>
                  </a:lnTo>
                  <a:lnTo>
                    <a:pt x="5104" y="33629"/>
                  </a:lnTo>
                  <a:lnTo>
                    <a:pt x="5624" y="33406"/>
                  </a:lnTo>
                  <a:lnTo>
                    <a:pt x="6032" y="33017"/>
                  </a:lnTo>
                  <a:lnTo>
                    <a:pt x="6255" y="32497"/>
                  </a:lnTo>
                  <a:lnTo>
                    <a:pt x="6273" y="32200"/>
                  </a:lnTo>
                  <a:lnTo>
                    <a:pt x="6273" y="18133"/>
                  </a:lnTo>
                  <a:lnTo>
                    <a:pt x="19933" y="18133"/>
                  </a:lnTo>
                  <a:lnTo>
                    <a:pt x="19933" y="32200"/>
                  </a:lnTo>
                  <a:lnTo>
                    <a:pt x="19951" y="32497"/>
                  </a:lnTo>
                  <a:lnTo>
                    <a:pt x="20174" y="33017"/>
                  </a:lnTo>
                  <a:lnTo>
                    <a:pt x="20564" y="33406"/>
                  </a:lnTo>
                  <a:lnTo>
                    <a:pt x="21083" y="33629"/>
                  </a:lnTo>
                  <a:lnTo>
                    <a:pt x="21380" y="33648"/>
                  </a:lnTo>
                  <a:lnTo>
                    <a:pt x="24739" y="33648"/>
                  </a:lnTo>
                  <a:lnTo>
                    <a:pt x="25036" y="33629"/>
                  </a:lnTo>
                  <a:lnTo>
                    <a:pt x="25556" y="33406"/>
                  </a:lnTo>
                  <a:lnTo>
                    <a:pt x="25964" y="33017"/>
                  </a:lnTo>
                  <a:lnTo>
                    <a:pt x="26168" y="32497"/>
                  </a:lnTo>
                  <a:lnTo>
                    <a:pt x="26205" y="32200"/>
                  </a:lnTo>
                  <a:lnTo>
                    <a:pt x="26205" y="1448"/>
                  </a:lnTo>
                  <a:lnTo>
                    <a:pt x="26168" y="1151"/>
                  </a:lnTo>
                  <a:lnTo>
                    <a:pt x="25964" y="632"/>
                  </a:lnTo>
                  <a:lnTo>
                    <a:pt x="25556" y="242"/>
                  </a:lnTo>
                  <a:lnTo>
                    <a:pt x="25036" y="19"/>
                  </a:lnTo>
                  <a:lnTo>
                    <a:pt x="24739" y="1"/>
                  </a:lnTo>
                  <a:lnTo>
                    <a:pt x="21380" y="1"/>
                  </a:lnTo>
                  <a:lnTo>
                    <a:pt x="21083" y="19"/>
                  </a:lnTo>
                  <a:lnTo>
                    <a:pt x="20564" y="242"/>
                  </a:lnTo>
                  <a:lnTo>
                    <a:pt x="20174" y="632"/>
                  </a:lnTo>
                  <a:lnTo>
                    <a:pt x="19951" y="1151"/>
                  </a:lnTo>
                  <a:lnTo>
                    <a:pt x="19933" y="1448"/>
                  </a:lnTo>
                  <a:lnTo>
                    <a:pt x="19933" y="13641"/>
                  </a:lnTo>
                  <a:lnTo>
                    <a:pt x="6273" y="13641"/>
                  </a:lnTo>
                  <a:lnTo>
                    <a:pt x="6273" y="1448"/>
                  </a:lnTo>
                  <a:lnTo>
                    <a:pt x="6255" y="1151"/>
                  </a:lnTo>
                  <a:lnTo>
                    <a:pt x="6032" y="632"/>
                  </a:lnTo>
                  <a:lnTo>
                    <a:pt x="5624" y="242"/>
                  </a:lnTo>
                  <a:lnTo>
                    <a:pt x="5104" y="19"/>
                  </a:lnTo>
                  <a:lnTo>
                    <a:pt x="4826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" name="Google Shape;90;p5"/>
            <p:cNvSpPr/>
            <p:nvPr/>
          </p:nvSpPr>
          <p:spPr>
            <a:xfrm>
              <a:off x="3382900" y="2466575"/>
              <a:ext cx="156375" cy="841200"/>
            </a:xfrm>
            <a:custGeom>
              <a:avLst/>
              <a:gdLst/>
              <a:ahLst/>
              <a:cxnLst/>
              <a:rect l="l" t="t" r="r" b="b"/>
              <a:pathLst>
                <a:path w="6255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2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1" y="1448"/>
                  </a:lnTo>
                  <a:lnTo>
                    <a:pt x="1" y="32182"/>
                  </a:lnTo>
                  <a:lnTo>
                    <a:pt x="19" y="32479"/>
                  </a:lnTo>
                  <a:lnTo>
                    <a:pt x="242" y="33017"/>
                  </a:lnTo>
                  <a:lnTo>
                    <a:pt x="632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07" y="33648"/>
                  </a:lnTo>
                  <a:lnTo>
                    <a:pt x="5104" y="33629"/>
                  </a:lnTo>
                  <a:lnTo>
                    <a:pt x="5624" y="33406"/>
                  </a:lnTo>
                  <a:lnTo>
                    <a:pt x="6014" y="33017"/>
                  </a:lnTo>
                  <a:lnTo>
                    <a:pt x="6236" y="32479"/>
                  </a:lnTo>
                  <a:lnTo>
                    <a:pt x="6255" y="32182"/>
                  </a:lnTo>
                  <a:lnTo>
                    <a:pt x="6255" y="1448"/>
                  </a:lnTo>
                  <a:lnTo>
                    <a:pt x="6236" y="1151"/>
                  </a:lnTo>
                  <a:lnTo>
                    <a:pt x="6014" y="632"/>
                  </a:lnTo>
                  <a:lnTo>
                    <a:pt x="5624" y="242"/>
                  </a:lnTo>
                  <a:lnTo>
                    <a:pt x="5104" y="19"/>
                  </a:lnTo>
                  <a:lnTo>
                    <a:pt x="4807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" name="Google Shape;91;p5"/>
            <p:cNvSpPr/>
            <p:nvPr/>
          </p:nvSpPr>
          <p:spPr>
            <a:xfrm>
              <a:off x="3610700" y="2663300"/>
              <a:ext cx="680675" cy="662575"/>
            </a:xfrm>
            <a:custGeom>
              <a:avLst/>
              <a:gdLst/>
              <a:ahLst/>
              <a:cxnLst/>
              <a:rect l="l" t="t" r="r" b="b"/>
              <a:pathLst>
                <a:path w="27227" h="26503" extrusionOk="0">
                  <a:moveTo>
                    <a:pt x="14087" y="5123"/>
                  </a:moveTo>
                  <a:lnTo>
                    <a:pt x="14959" y="5216"/>
                  </a:lnTo>
                  <a:lnTo>
                    <a:pt x="15757" y="5383"/>
                  </a:lnTo>
                  <a:lnTo>
                    <a:pt x="16500" y="5661"/>
                  </a:lnTo>
                  <a:lnTo>
                    <a:pt x="16852" y="5828"/>
                  </a:lnTo>
                  <a:lnTo>
                    <a:pt x="17521" y="6199"/>
                  </a:lnTo>
                  <a:lnTo>
                    <a:pt x="18634" y="7127"/>
                  </a:lnTo>
                  <a:lnTo>
                    <a:pt x="19098" y="7665"/>
                  </a:lnTo>
                  <a:lnTo>
                    <a:pt x="19525" y="8259"/>
                  </a:lnTo>
                  <a:lnTo>
                    <a:pt x="20193" y="9558"/>
                  </a:lnTo>
                  <a:lnTo>
                    <a:pt x="20434" y="10264"/>
                  </a:lnTo>
                  <a:lnTo>
                    <a:pt x="20638" y="10969"/>
                  </a:lnTo>
                  <a:lnTo>
                    <a:pt x="20861" y="12416"/>
                  </a:lnTo>
                  <a:lnTo>
                    <a:pt x="20880" y="13159"/>
                  </a:lnTo>
                  <a:lnTo>
                    <a:pt x="20861" y="13883"/>
                  </a:lnTo>
                  <a:lnTo>
                    <a:pt x="20638" y="15349"/>
                  </a:lnTo>
                  <a:lnTo>
                    <a:pt x="20434" y="16073"/>
                  </a:lnTo>
                  <a:lnTo>
                    <a:pt x="20193" y="16796"/>
                  </a:lnTo>
                  <a:lnTo>
                    <a:pt x="19525" y="18095"/>
                  </a:lnTo>
                  <a:lnTo>
                    <a:pt x="19098" y="18671"/>
                  </a:lnTo>
                  <a:lnTo>
                    <a:pt x="18634" y="19228"/>
                  </a:lnTo>
                  <a:lnTo>
                    <a:pt x="17521" y="20174"/>
                  </a:lnTo>
                  <a:lnTo>
                    <a:pt x="16852" y="20564"/>
                  </a:lnTo>
                  <a:lnTo>
                    <a:pt x="16500" y="20731"/>
                  </a:lnTo>
                  <a:lnTo>
                    <a:pt x="15757" y="21009"/>
                  </a:lnTo>
                  <a:lnTo>
                    <a:pt x="14959" y="21195"/>
                  </a:lnTo>
                  <a:lnTo>
                    <a:pt x="14087" y="21269"/>
                  </a:lnTo>
                  <a:lnTo>
                    <a:pt x="13623" y="21288"/>
                  </a:lnTo>
                  <a:lnTo>
                    <a:pt x="13159" y="21269"/>
                  </a:lnTo>
                  <a:lnTo>
                    <a:pt x="12287" y="21195"/>
                  </a:lnTo>
                  <a:lnTo>
                    <a:pt x="11470" y="21009"/>
                  </a:lnTo>
                  <a:lnTo>
                    <a:pt x="10728" y="20731"/>
                  </a:lnTo>
                  <a:lnTo>
                    <a:pt x="10394" y="20564"/>
                  </a:lnTo>
                  <a:lnTo>
                    <a:pt x="9726" y="20174"/>
                  </a:lnTo>
                  <a:lnTo>
                    <a:pt x="8612" y="19228"/>
                  </a:lnTo>
                  <a:lnTo>
                    <a:pt x="8148" y="18671"/>
                  </a:lnTo>
                  <a:lnTo>
                    <a:pt x="7721" y="18095"/>
                  </a:lnTo>
                  <a:lnTo>
                    <a:pt x="7053" y="16778"/>
                  </a:lnTo>
                  <a:lnTo>
                    <a:pt x="6812" y="16073"/>
                  </a:lnTo>
                  <a:lnTo>
                    <a:pt x="6608" y="15349"/>
                  </a:lnTo>
                  <a:lnTo>
                    <a:pt x="6385" y="13883"/>
                  </a:lnTo>
                  <a:lnTo>
                    <a:pt x="6367" y="13159"/>
                  </a:lnTo>
                  <a:lnTo>
                    <a:pt x="6385" y="12416"/>
                  </a:lnTo>
                  <a:lnTo>
                    <a:pt x="6608" y="10969"/>
                  </a:lnTo>
                  <a:lnTo>
                    <a:pt x="6812" y="10264"/>
                  </a:lnTo>
                  <a:lnTo>
                    <a:pt x="7053" y="9558"/>
                  </a:lnTo>
                  <a:lnTo>
                    <a:pt x="7721" y="8259"/>
                  </a:lnTo>
                  <a:lnTo>
                    <a:pt x="8148" y="7665"/>
                  </a:lnTo>
                  <a:lnTo>
                    <a:pt x="8612" y="7127"/>
                  </a:lnTo>
                  <a:lnTo>
                    <a:pt x="9726" y="6199"/>
                  </a:lnTo>
                  <a:lnTo>
                    <a:pt x="10394" y="5828"/>
                  </a:lnTo>
                  <a:lnTo>
                    <a:pt x="10728" y="5661"/>
                  </a:lnTo>
                  <a:lnTo>
                    <a:pt x="11470" y="5383"/>
                  </a:lnTo>
                  <a:lnTo>
                    <a:pt x="12287" y="5216"/>
                  </a:lnTo>
                  <a:lnTo>
                    <a:pt x="13159" y="5123"/>
                  </a:lnTo>
                  <a:close/>
                  <a:moveTo>
                    <a:pt x="13623" y="1"/>
                  </a:moveTo>
                  <a:lnTo>
                    <a:pt x="12918" y="19"/>
                  </a:lnTo>
                  <a:lnTo>
                    <a:pt x="11545" y="131"/>
                  </a:lnTo>
                  <a:lnTo>
                    <a:pt x="10227" y="372"/>
                  </a:lnTo>
                  <a:lnTo>
                    <a:pt x="8928" y="724"/>
                  </a:lnTo>
                  <a:lnTo>
                    <a:pt x="8297" y="947"/>
                  </a:lnTo>
                  <a:lnTo>
                    <a:pt x="7684" y="1188"/>
                  </a:lnTo>
                  <a:lnTo>
                    <a:pt x="6515" y="1745"/>
                  </a:lnTo>
                  <a:lnTo>
                    <a:pt x="5439" y="2413"/>
                  </a:lnTo>
                  <a:lnTo>
                    <a:pt x="4437" y="3174"/>
                  </a:lnTo>
                  <a:lnTo>
                    <a:pt x="3973" y="3601"/>
                  </a:lnTo>
                  <a:lnTo>
                    <a:pt x="3527" y="4046"/>
                  </a:lnTo>
                  <a:lnTo>
                    <a:pt x="2692" y="4993"/>
                  </a:lnTo>
                  <a:lnTo>
                    <a:pt x="1968" y="6032"/>
                  </a:lnTo>
                  <a:lnTo>
                    <a:pt x="1356" y="7146"/>
                  </a:lnTo>
                  <a:lnTo>
                    <a:pt x="1077" y="7758"/>
                  </a:lnTo>
                  <a:lnTo>
                    <a:pt x="818" y="8371"/>
                  </a:lnTo>
                  <a:lnTo>
                    <a:pt x="409" y="9651"/>
                  </a:lnTo>
                  <a:lnTo>
                    <a:pt x="149" y="10987"/>
                  </a:lnTo>
                  <a:lnTo>
                    <a:pt x="20" y="12416"/>
                  </a:lnTo>
                  <a:lnTo>
                    <a:pt x="1" y="13159"/>
                  </a:lnTo>
                  <a:lnTo>
                    <a:pt x="20" y="13883"/>
                  </a:lnTo>
                  <a:lnTo>
                    <a:pt x="149" y="15312"/>
                  </a:lnTo>
                  <a:lnTo>
                    <a:pt x="409" y="16666"/>
                  </a:lnTo>
                  <a:lnTo>
                    <a:pt x="818" y="17947"/>
                  </a:lnTo>
                  <a:lnTo>
                    <a:pt x="1077" y="18578"/>
                  </a:lnTo>
                  <a:lnTo>
                    <a:pt x="1356" y="19172"/>
                  </a:lnTo>
                  <a:lnTo>
                    <a:pt x="1968" y="20322"/>
                  </a:lnTo>
                  <a:lnTo>
                    <a:pt x="2692" y="21362"/>
                  </a:lnTo>
                  <a:lnTo>
                    <a:pt x="3527" y="22327"/>
                  </a:lnTo>
                  <a:lnTo>
                    <a:pt x="3973" y="22772"/>
                  </a:lnTo>
                  <a:lnTo>
                    <a:pt x="4437" y="23199"/>
                  </a:lnTo>
                  <a:lnTo>
                    <a:pt x="5439" y="23979"/>
                  </a:lnTo>
                  <a:lnTo>
                    <a:pt x="6515" y="24665"/>
                  </a:lnTo>
                  <a:lnTo>
                    <a:pt x="7684" y="25259"/>
                  </a:lnTo>
                  <a:lnTo>
                    <a:pt x="8297" y="25519"/>
                  </a:lnTo>
                  <a:lnTo>
                    <a:pt x="8928" y="25742"/>
                  </a:lnTo>
                  <a:lnTo>
                    <a:pt x="10227" y="26113"/>
                  </a:lnTo>
                  <a:lnTo>
                    <a:pt x="11545" y="26373"/>
                  </a:lnTo>
                  <a:lnTo>
                    <a:pt x="12918" y="26484"/>
                  </a:lnTo>
                  <a:lnTo>
                    <a:pt x="13623" y="26503"/>
                  </a:lnTo>
                  <a:lnTo>
                    <a:pt x="14328" y="26484"/>
                  </a:lnTo>
                  <a:lnTo>
                    <a:pt x="15683" y="26373"/>
                  </a:lnTo>
                  <a:lnTo>
                    <a:pt x="17019" y="26113"/>
                  </a:lnTo>
                  <a:lnTo>
                    <a:pt x="18300" y="25742"/>
                  </a:lnTo>
                  <a:lnTo>
                    <a:pt x="18931" y="25519"/>
                  </a:lnTo>
                  <a:lnTo>
                    <a:pt x="19562" y="25259"/>
                  </a:lnTo>
                  <a:lnTo>
                    <a:pt x="20731" y="24665"/>
                  </a:lnTo>
                  <a:lnTo>
                    <a:pt x="21808" y="23979"/>
                  </a:lnTo>
                  <a:lnTo>
                    <a:pt x="22810" y="23199"/>
                  </a:lnTo>
                  <a:lnTo>
                    <a:pt x="23274" y="22772"/>
                  </a:lnTo>
                  <a:lnTo>
                    <a:pt x="23719" y="22327"/>
                  </a:lnTo>
                  <a:lnTo>
                    <a:pt x="24536" y="21362"/>
                  </a:lnTo>
                  <a:lnTo>
                    <a:pt x="25260" y="20322"/>
                  </a:lnTo>
                  <a:lnTo>
                    <a:pt x="25891" y="19172"/>
                  </a:lnTo>
                  <a:lnTo>
                    <a:pt x="26169" y="18578"/>
                  </a:lnTo>
                  <a:lnTo>
                    <a:pt x="26429" y="17947"/>
                  </a:lnTo>
                  <a:lnTo>
                    <a:pt x="26818" y="16666"/>
                  </a:lnTo>
                  <a:lnTo>
                    <a:pt x="27097" y="15312"/>
                  </a:lnTo>
                  <a:lnTo>
                    <a:pt x="27227" y="13883"/>
                  </a:lnTo>
                  <a:lnTo>
                    <a:pt x="27227" y="13159"/>
                  </a:lnTo>
                  <a:lnTo>
                    <a:pt x="27227" y="12416"/>
                  </a:lnTo>
                  <a:lnTo>
                    <a:pt x="27097" y="10987"/>
                  </a:lnTo>
                  <a:lnTo>
                    <a:pt x="26818" y="9651"/>
                  </a:lnTo>
                  <a:lnTo>
                    <a:pt x="26429" y="8371"/>
                  </a:lnTo>
                  <a:lnTo>
                    <a:pt x="26169" y="7758"/>
                  </a:lnTo>
                  <a:lnTo>
                    <a:pt x="25891" y="7146"/>
                  </a:lnTo>
                  <a:lnTo>
                    <a:pt x="25260" y="6032"/>
                  </a:lnTo>
                  <a:lnTo>
                    <a:pt x="24536" y="4993"/>
                  </a:lnTo>
                  <a:lnTo>
                    <a:pt x="23719" y="4046"/>
                  </a:lnTo>
                  <a:lnTo>
                    <a:pt x="23274" y="3601"/>
                  </a:lnTo>
                  <a:lnTo>
                    <a:pt x="22810" y="3174"/>
                  </a:lnTo>
                  <a:lnTo>
                    <a:pt x="21808" y="2413"/>
                  </a:lnTo>
                  <a:lnTo>
                    <a:pt x="20731" y="1745"/>
                  </a:lnTo>
                  <a:lnTo>
                    <a:pt x="19562" y="1188"/>
                  </a:lnTo>
                  <a:lnTo>
                    <a:pt x="18931" y="947"/>
                  </a:lnTo>
                  <a:lnTo>
                    <a:pt x="18300" y="724"/>
                  </a:lnTo>
                  <a:lnTo>
                    <a:pt x="17019" y="372"/>
                  </a:lnTo>
                  <a:lnTo>
                    <a:pt x="15683" y="131"/>
                  </a:lnTo>
                  <a:lnTo>
                    <a:pt x="14328" y="19"/>
                  </a:lnTo>
                  <a:lnTo>
                    <a:pt x="13623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" name="Google Shape;92;p5"/>
            <p:cNvSpPr/>
            <p:nvPr/>
          </p:nvSpPr>
          <p:spPr>
            <a:xfrm>
              <a:off x="5231350" y="2663300"/>
              <a:ext cx="633825" cy="662575"/>
            </a:xfrm>
            <a:custGeom>
              <a:avLst/>
              <a:gdLst/>
              <a:ahLst/>
              <a:cxnLst/>
              <a:rect l="l" t="t" r="r" b="b"/>
              <a:pathLst>
                <a:path w="25353" h="26503" extrusionOk="0">
                  <a:moveTo>
                    <a:pt x="13196" y="4696"/>
                  </a:moveTo>
                  <a:lnTo>
                    <a:pt x="13939" y="4715"/>
                  </a:lnTo>
                  <a:lnTo>
                    <a:pt x="15256" y="4974"/>
                  </a:lnTo>
                  <a:lnTo>
                    <a:pt x="15832" y="5197"/>
                  </a:lnTo>
                  <a:lnTo>
                    <a:pt x="16388" y="5457"/>
                  </a:lnTo>
                  <a:lnTo>
                    <a:pt x="17298" y="6125"/>
                  </a:lnTo>
                  <a:lnTo>
                    <a:pt x="17687" y="6515"/>
                  </a:lnTo>
                  <a:lnTo>
                    <a:pt x="18040" y="6942"/>
                  </a:lnTo>
                  <a:lnTo>
                    <a:pt x="18578" y="7907"/>
                  </a:lnTo>
                  <a:lnTo>
                    <a:pt x="18764" y="8445"/>
                  </a:lnTo>
                  <a:lnTo>
                    <a:pt x="18912" y="9002"/>
                  </a:lnTo>
                  <a:lnTo>
                    <a:pt x="19079" y="10152"/>
                  </a:lnTo>
                  <a:lnTo>
                    <a:pt x="19098" y="10746"/>
                  </a:lnTo>
                  <a:lnTo>
                    <a:pt x="6274" y="10746"/>
                  </a:lnTo>
                  <a:lnTo>
                    <a:pt x="6329" y="10097"/>
                  </a:lnTo>
                  <a:lnTo>
                    <a:pt x="6664" y="8890"/>
                  </a:lnTo>
                  <a:lnTo>
                    <a:pt x="7202" y="7795"/>
                  </a:lnTo>
                  <a:lnTo>
                    <a:pt x="7963" y="6830"/>
                  </a:lnTo>
                  <a:lnTo>
                    <a:pt x="8427" y="6403"/>
                  </a:lnTo>
                  <a:lnTo>
                    <a:pt x="8928" y="5995"/>
                  </a:lnTo>
                  <a:lnTo>
                    <a:pt x="10023" y="5346"/>
                  </a:lnTo>
                  <a:lnTo>
                    <a:pt x="11210" y="4937"/>
                  </a:lnTo>
                  <a:lnTo>
                    <a:pt x="12510" y="4715"/>
                  </a:lnTo>
                  <a:lnTo>
                    <a:pt x="13196" y="4696"/>
                  </a:lnTo>
                  <a:close/>
                  <a:moveTo>
                    <a:pt x="13252" y="1"/>
                  </a:moveTo>
                  <a:lnTo>
                    <a:pt x="12565" y="19"/>
                  </a:lnTo>
                  <a:lnTo>
                    <a:pt x="11192" y="131"/>
                  </a:lnTo>
                  <a:lnTo>
                    <a:pt x="9893" y="372"/>
                  </a:lnTo>
                  <a:lnTo>
                    <a:pt x="8631" y="743"/>
                  </a:lnTo>
                  <a:lnTo>
                    <a:pt x="8018" y="966"/>
                  </a:lnTo>
                  <a:lnTo>
                    <a:pt x="7406" y="1226"/>
                  </a:lnTo>
                  <a:lnTo>
                    <a:pt x="6292" y="1801"/>
                  </a:lnTo>
                  <a:lnTo>
                    <a:pt x="5235" y="2469"/>
                  </a:lnTo>
                  <a:lnTo>
                    <a:pt x="4269" y="3248"/>
                  </a:lnTo>
                  <a:lnTo>
                    <a:pt x="3824" y="3675"/>
                  </a:lnTo>
                  <a:lnTo>
                    <a:pt x="3379" y="4121"/>
                  </a:lnTo>
                  <a:lnTo>
                    <a:pt x="2581" y="5086"/>
                  </a:lnTo>
                  <a:lnTo>
                    <a:pt x="1894" y="6144"/>
                  </a:lnTo>
                  <a:lnTo>
                    <a:pt x="1281" y="7294"/>
                  </a:lnTo>
                  <a:lnTo>
                    <a:pt x="1022" y="7907"/>
                  </a:lnTo>
                  <a:lnTo>
                    <a:pt x="780" y="8538"/>
                  </a:lnTo>
                  <a:lnTo>
                    <a:pt x="391" y="9837"/>
                  </a:lnTo>
                  <a:lnTo>
                    <a:pt x="149" y="11210"/>
                  </a:lnTo>
                  <a:lnTo>
                    <a:pt x="19" y="12658"/>
                  </a:lnTo>
                  <a:lnTo>
                    <a:pt x="1" y="13400"/>
                  </a:lnTo>
                  <a:lnTo>
                    <a:pt x="19" y="14161"/>
                  </a:lnTo>
                  <a:lnTo>
                    <a:pt x="149" y="15609"/>
                  </a:lnTo>
                  <a:lnTo>
                    <a:pt x="391" y="17000"/>
                  </a:lnTo>
                  <a:lnTo>
                    <a:pt x="780" y="18300"/>
                  </a:lnTo>
                  <a:lnTo>
                    <a:pt x="1022" y="18912"/>
                  </a:lnTo>
                  <a:lnTo>
                    <a:pt x="1281" y="19506"/>
                  </a:lnTo>
                  <a:lnTo>
                    <a:pt x="1894" y="20619"/>
                  </a:lnTo>
                  <a:lnTo>
                    <a:pt x="2599" y="21659"/>
                  </a:lnTo>
                  <a:lnTo>
                    <a:pt x="3397" y="22587"/>
                  </a:lnTo>
                  <a:lnTo>
                    <a:pt x="3843" y="23013"/>
                  </a:lnTo>
                  <a:lnTo>
                    <a:pt x="4288" y="23422"/>
                  </a:lnTo>
                  <a:lnTo>
                    <a:pt x="5272" y="24146"/>
                  </a:lnTo>
                  <a:lnTo>
                    <a:pt x="6348" y="24795"/>
                  </a:lnTo>
                  <a:lnTo>
                    <a:pt x="7480" y="25352"/>
                  </a:lnTo>
                  <a:lnTo>
                    <a:pt x="8093" y="25593"/>
                  </a:lnTo>
                  <a:lnTo>
                    <a:pt x="8705" y="25797"/>
                  </a:lnTo>
                  <a:lnTo>
                    <a:pt x="10004" y="26150"/>
                  </a:lnTo>
                  <a:lnTo>
                    <a:pt x="11340" y="26373"/>
                  </a:lnTo>
                  <a:lnTo>
                    <a:pt x="12732" y="26484"/>
                  </a:lnTo>
                  <a:lnTo>
                    <a:pt x="13475" y="26503"/>
                  </a:lnTo>
                  <a:lnTo>
                    <a:pt x="14236" y="26484"/>
                  </a:lnTo>
                  <a:lnTo>
                    <a:pt x="15683" y="26373"/>
                  </a:lnTo>
                  <a:lnTo>
                    <a:pt x="17075" y="26131"/>
                  </a:lnTo>
                  <a:lnTo>
                    <a:pt x="18374" y="25760"/>
                  </a:lnTo>
                  <a:lnTo>
                    <a:pt x="19599" y="25296"/>
                  </a:lnTo>
                  <a:lnTo>
                    <a:pt x="20731" y="24684"/>
                  </a:lnTo>
                  <a:lnTo>
                    <a:pt x="21789" y="23960"/>
                  </a:lnTo>
                  <a:lnTo>
                    <a:pt x="22773" y="23125"/>
                  </a:lnTo>
                  <a:lnTo>
                    <a:pt x="23237" y="22661"/>
                  </a:lnTo>
                  <a:lnTo>
                    <a:pt x="23422" y="22420"/>
                  </a:lnTo>
                  <a:lnTo>
                    <a:pt x="23608" y="21863"/>
                  </a:lnTo>
                  <a:lnTo>
                    <a:pt x="23552" y="21288"/>
                  </a:lnTo>
                  <a:lnTo>
                    <a:pt x="23274" y="20768"/>
                  </a:lnTo>
                  <a:lnTo>
                    <a:pt x="23051" y="20564"/>
                  </a:lnTo>
                  <a:lnTo>
                    <a:pt x="21158" y="19042"/>
                  </a:lnTo>
                  <a:lnTo>
                    <a:pt x="20935" y="18875"/>
                  </a:lnTo>
                  <a:lnTo>
                    <a:pt x="20434" y="18726"/>
                  </a:lnTo>
                  <a:lnTo>
                    <a:pt x="19915" y="18745"/>
                  </a:lnTo>
                  <a:lnTo>
                    <a:pt x="19432" y="18949"/>
                  </a:lnTo>
                  <a:lnTo>
                    <a:pt x="19246" y="19135"/>
                  </a:lnTo>
                  <a:lnTo>
                    <a:pt x="18820" y="19543"/>
                  </a:lnTo>
                  <a:lnTo>
                    <a:pt x="17892" y="20230"/>
                  </a:lnTo>
                  <a:lnTo>
                    <a:pt x="17372" y="20527"/>
                  </a:lnTo>
                  <a:lnTo>
                    <a:pt x="16964" y="20731"/>
                  </a:lnTo>
                  <a:lnTo>
                    <a:pt x="16073" y="21046"/>
                  </a:lnTo>
                  <a:lnTo>
                    <a:pt x="15071" y="21269"/>
                  </a:lnTo>
                  <a:lnTo>
                    <a:pt x="13994" y="21380"/>
                  </a:lnTo>
                  <a:lnTo>
                    <a:pt x="13419" y="21380"/>
                  </a:lnTo>
                  <a:lnTo>
                    <a:pt x="12732" y="21362"/>
                  </a:lnTo>
                  <a:lnTo>
                    <a:pt x="11433" y="21120"/>
                  </a:lnTo>
                  <a:lnTo>
                    <a:pt x="10802" y="20916"/>
                  </a:lnTo>
                  <a:lnTo>
                    <a:pt x="10190" y="20657"/>
                  </a:lnTo>
                  <a:lnTo>
                    <a:pt x="9076" y="20026"/>
                  </a:lnTo>
                  <a:lnTo>
                    <a:pt x="8557" y="19636"/>
                  </a:lnTo>
                  <a:lnTo>
                    <a:pt x="8074" y="19209"/>
                  </a:lnTo>
                  <a:lnTo>
                    <a:pt x="7295" y="18244"/>
                  </a:lnTo>
                  <a:lnTo>
                    <a:pt x="6979" y="17706"/>
                  </a:lnTo>
                  <a:lnTo>
                    <a:pt x="6682" y="17130"/>
                  </a:lnTo>
                  <a:lnTo>
                    <a:pt x="6329" y="15905"/>
                  </a:lnTo>
                  <a:lnTo>
                    <a:pt x="6274" y="15237"/>
                  </a:lnTo>
                  <a:lnTo>
                    <a:pt x="23905" y="15237"/>
                  </a:lnTo>
                  <a:lnTo>
                    <a:pt x="24202" y="15200"/>
                  </a:lnTo>
                  <a:lnTo>
                    <a:pt x="24721" y="14996"/>
                  </a:lnTo>
                  <a:lnTo>
                    <a:pt x="25111" y="14606"/>
                  </a:lnTo>
                  <a:lnTo>
                    <a:pt x="25334" y="14087"/>
                  </a:lnTo>
                  <a:lnTo>
                    <a:pt x="25352" y="13790"/>
                  </a:lnTo>
                  <a:lnTo>
                    <a:pt x="25352" y="13567"/>
                  </a:lnTo>
                  <a:lnTo>
                    <a:pt x="25352" y="12713"/>
                  </a:lnTo>
                  <a:lnTo>
                    <a:pt x="25222" y="11136"/>
                  </a:lnTo>
                  <a:lnTo>
                    <a:pt x="25000" y="9651"/>
                  </a:lnTo>
                  <a:lnTo>
                    <a:pt x="24666" y="8278"/>
                  </a:lnTo>
                  <a:lnTo>
                    <a:pt x="24443" y="7647"/>
                  </a:lnTo>
                  <a:lnTo>
                    <a:pt x="24202" y="7016"/>
                  </a:lnTo>
                  <a:lnTo>
                    <a:pt x="23663" y="5847"/>
                  </a:lnTo>
                  <a:lnTo>
                    <a:pt x="23032" y="4807"/>
                  </a:lnTo>
                  <a:lnTo>
                    <a:pt x="22309" y="3842"/>
                  </a:lnTo>
                  <a:lnTo>
                    <a:pt x="21919" y="3415"/>
                  </a:lnTo>
                  <a:lnTo>
                    <a:pt x="21511" y="3007"/>
                  </a:lnTo>
                  <a:lnTo>
                    <a:pt x="20620" y="2265"/>
                  </a:lnTo>
                  <a:lnTo>
                    <a:pt x="19655" y="1615"/>
                  </a:lnTo>
                  <a:lnTo>
                    <a:pt x="18634" y="1096"/>
                  </a:lnTo>
                  <a:lnTo>
                    <a:pt x="18077" y="873"/>
                  </a:lnTo>
                  <a:lnTo>
                    <a:pt x="17520" y="650"/>
                  </a:lnTo>
                  <a:lnTo>
                    <a:pt x="16370" y="335"/>
                  </a:lnTo>
                  <a:lnTo>
                    <a:pt x="15163" y="112"/>
                  </a:lnTo>
                  <a:lnTo>
                    <a:pt x="13901" y="19"/>
                  </a:lnTo>
                  <a:lnTo>
                    <a:pt x="13252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" name="Google Shape;93;p5"/>
            <p:cNvSpPr/>
            <p:nvPr/>
          </p:nvSpPr>
          <p:spPr>
            <a:xfrm>
              <a:off x="5884625" y="2663300"/>
              <a:ext cx="579075" cy="659800"/>
            </a:xfrm>
            <a:custGeom>
              <a:avLst/>
              <a:gdLst/>
              <a:ahLst/>
              <a:cxnLst/>
              <a:rect l="l" t="t" r="r" b="b"/>
              <a:pathLst>
                <a:path w="23163" h="26392" extrusionOk="0">
                  <a:moveTo>
                    <a:pt x="17223" y="14347"/>
                  </a:moveTo>
                  <a:lnTo>
                    <a:pt x="17223" y="15237"/>
                  </a:lnTo>
                  <a:lnTo>
                    <a:pt x="17205" y="15961"/>
                  </a:lnTo>
                  <a:lnTo>
                    <a:pt x="17001" y="17297"/>
                  </a:lnTo>
                  <a:lnTo>
                    <a:pt x="16574" y="18467"/>
                  </a:lnTo>
                  <a:lnTo>
                    <a:pt x="15943" y="19487"/>
                  </a:lnTo>
                  <a:lnTo>
                    <a:pt x="15553" y="19933"/>
                  </a:lnTo>
                  <a:lnTo>
                    <a:pt x="15108" y="20341"/>
                  </a:lnTo>
                  <a:lnTo>
                    <a:pt x="14087" y="20991"/>
                  </a:lnTo>
                  <a:lnTo>
                    <a:pt x="12862" y="21417"/>
                  </a:lnTo>
                  <a:lnTo>
                    <a:pt x="11433" y="21640"/>
                  </a:lnTo>
                  <a:lnTo>
                    <a:pt x="10653" y="21659"/>
                  </a:lnTo>
                  <a:lnTo>
                    <a:pt x="9855" y="21622"/>
                  </a:lnTo>
                  <a:lnTo>
                    <a:pt x="9076" y="21492"/>
                  </a:lnTo>
                  <a:lnTo>
                    <a:pt x="8705" y="21417"/>
                  </a:lnTo>
                  <a:lnTo>
                    <a:pt x="8000" y="21158"/>
                  </a:lnTo>
                  <a:lnTo>
                    <a:pt x="7666" y="20972"/>
                  </a:lnTo>
                  <a:lnTo>
                    <a:pt x="7369" y="20786"/>
                  </a:lnTo>
                  <a:lnTo>
                    <a:pt x="6867" y="20304"/>
                  </a:lnTo>
                  <a:lnTo>
                    <a:pt x="6645" y="20007"/>
                  </a:lnTo>
                  <a:lnTo>
                    <a:pt x="6478" y="19691"/>
                  </a:lnTo>
                  <a:lnTo>
                    <a:pt x="6274" y="18949"/>
                  </a:lnTo>
                  <a:lnTo>
                    <a:pt x="6255" y="18522"/>
                  </a:lnTo>
                  <a:lnTo>
                    <a:pt x="6274" y="18170"/>
                  </a:lnTo>
                  <a:lnTo>
                    <a:pt x="6385" y="17557"/>
                  </a:lnTo>
                  <a:lnTo>
                    <a:pt x="6626" y="17000"/>
                  </a:lnTo>
                  <a:lnTo>
                    <a:pt x="6979" y="16518"/>
                  </a:lnTo>
                  <a:lnTo>
                    <a:pt x="7202" y="16314"/>
                  </a:lnTo>
                  <a:lnTo>
                    <a:pt x="7684" y="15924"/>
                  </a:lnTo>
                  <a:lnTo>
                    <a:pt x="8872" y="15293"/>
                  </a:lnTo>
                  <a:lnTo>
                    <a:pt x="9540" y="15052"/>
                  </a:lnTo>
                  <a:lnTo>
                    <a:pt x="10264" y="14848"/>
                  </a:lnTo>
                  <a:lnTo>
                    <a:pt x="11804" y="14551"/>
                  </a:lnTo>
                  <a:lnTo>
                    <a:pt x="12621" y="14476"/>
                  </a:lnTo>
                  <a:lnTo>
                    <a:pt x="14272" y="14365"/>
                  </a:lnTo>
                  <a:lnTo>
                    <a:pt x="15813" y="14347"/>
                  </a:lnTo>
                  <a:close/>
                  <a:moveTo>
                    <a:pt x="12008" y="1"/>
                  </a:moveTo>
                  <a:lnTo>
                    <a:pt x="11284" y="19"/>
                  </a:lnTo>
                  <a:lnTo>
                    <a:pt x="9855" y="131"/>
                  </a:lnTo>
                  <a:lnTo>
                    <a:pt x="8445" y="390"/>
                  </a:lnTo>
                  <a:lnTo>
                    <a:pt x="7035" y="762"/>
                  </a:lnTo>
                  <a:lnTo>
                    <a:pt x="6348" y="1003"/>
                  </a:lnTo>
                  <a:lnTo>
                    <a:pt x="5327" y="1374"/>
                  </a:lnTo>
                  <a:lnTo>
                    <a:pt x="3434" y="2376"/>
                  </a:lnTo>
                  <a:lnTo>
                    <a:pt x="2580" y="3007"/>
                  </a:lnTo>
                  <a:lnTo>
                    <a:pt x="2339" y="3193"/>
                  </a:lnTo>
                  <a:lnTo>
                    <a:pt x="2061" y="3712"/>
                  </a:lnTo>
                  <a:lnTo>
                    <a:pt x="2005" y="4269"/>
                  </a:lnTo>
                  <a:lnTo>
                    <a:pt x="2191" y="4845"/>
                  </a:lnTo>
                  <a:lnTo>
                    <a:pt x="2358" y="5086"/>
                  </a:lnTo>
                  <a:lnTo>
                    <a:pt x="3712" y="6663"/>
                  </a:lnTo>
                  <a:lnTo>
                    <a:pt x="3898" y="6867"/>
                  </a:lnTo>
                  <a:lnTo>
                    <a:pt x="4381" y="7127"/>
                  </a:lnTo>
                  <a:lnTo>
                    <a:pt x="4900" y="7183"/>
                  </a:lnTo>
                  <a:lnTo>
                    <a:pt x="5420" y="7053"/>
                  </a:lnTo>
                  <a:lnTo>
                    <a:pt x="5661" y="6905"/>
                  </a:lnTo>
                  <a:lnTo>
                    <a:pt x="6107" y="6589"/>
                  </a:lnTo>
                  <a:lnTo>
                    <a:pt x="7127" y="5995"/>
                  </a:lnTo>
                  <a:lnTo>
                    <a:pt x="7684" y="5735"/>
                  </a:lnTo>
                  <a:lnTo>
                    <a:pt x="8129" y="5550"/>
                  </a:lnTo>
                  <a:lnTo>
                    <a:pt x="9057" y="5234"/>
                  </a:lnTo>
                  <a:lnTo>
                    <a:pt x="10022" y="5012"/>
                  </a:lnTo>
                  <a:lnTo>
                    <a:pt x="10988" y="4919"/>
                  </a:lnTo>
                  <a:lnTo>
                    <a:pt x="11489" y="4900"/>
                  </a:lnTo>
                  <a:lnTo>
                    <a:pt x="12064" y="4919"/>
                  </a:lnTo>
                  <a:lnTo>
                    <a:pt x="13159" y="5049"/>
                  </a:lnTo>
                  <a:lnTo>
                    <a:pt x="14161" y="5346"/>
                  </a:lnTo>
                  <a:lnTo>
                    <a:pt x="15089" y="5754"/>
                  </a:lnTo>
                  <a:lnTo>
                    <a:pt x="15534" y="6032"/>
                  </a:lnTo>
                  <a:lnTo>
                    <a:pt x="15924" y="6311"/>
                  </a:lnTo>
                  <a:lnTo>
                    <a:pt x="16574" y="7034"/>
                  </a:lnTo>
                  <a:lnTo>
                    <a:pt x="16982" y="7907"/>
                  </a:lnTo>
                  <a:lnTo>
                    <a:pt x="17205" y="8927"/>
                  </a:lnTo>
                  <a:lnTo>
                    <a:pt x="17223" y="9484"/>
                  </a:lnTo>
                  <a:lnTo>
                    <a:pt x="17223" y="10115"/>
                  </a:lnTo>
                  <a:lnTo>
                    <a:pt x="15757" y="10134"/>
                  </a:lnTo>
                  <a:lnTo>
                    <a:pt x="12769" y="10282"/>
                  </a:lnTo>
                  <a:lnTo>
                    <a:pt x="11247" y="10412"/>
                  </a:lnTo>
                  <a:lnTo>
                    <a:pt x="9744" y="10579"/>
                  </a:lnTo>
                  <a:lnTo>
                    <a:pt x="7647" y="11006"/>
                  </a:lnTo>
                  <a:lnTo>
                    <a:pt x="6329" y="11359"/>
                  </a:lnTo>
                  <a:lnTo>
                    <a:pt x="5698" y="11581"/>
                  </a:lnTo>
                  <a:lnTo>
                    <a:pt x="5067" y="11804"/>
                  </a:lnTo>
                  <a:lnTo>
                    <a:pt x="3935" y="12361"/>
                  </a:lnTo>
                  <a:lnTo>
                    <a:pt x="2914" y="12992"/>
                  </a:lnTo>
                  <a:lnTo>
                    <a:pt x="2005" y="13734"/>
                  </a:lnTo>
                  <a:lnTo>
                    <a:pt x="1597" y="14142"/>
                  </a:lnTo>
                  <a:lnTo>
                    <a:pt x="1207" y="14569"/>
                  </a:lnTo>
                  <a:lnTo>
                    <a:pt x="613" y="15553"/>
                  </a:lnTo>
                  <a:lnTo>
                    <a:pt x="223" y="16666"/>
                  </a:lnTo>
                  <a:lnTo>
                    <a:pt x="19" y="17928"/>
                  </a:lnTo>
                  <a:lnTo>
                    <a:pt x="1" y="18615"/>
                  </a:lnTo>
                  <a:lnTo>
                    <a:pt x="19" y="19172"/>
                  </a:lnTo>
                  <a:lnTo>
                    <a:pt x="131" y="20174"/>
                  </a:lnTo>
                  <a:lnTo>
                    <a:pt x="353" y="21083"/>
                  </a:lnTo>
                  <a:lnTo>
                    <a:pt x="706" y="21919"/>
                  </a:lnTo>
                  <a:lnTo>
                    <a:pt x="910" y="22308"/>
                  </a:lnTo>
                  <a:lnTo>
                    <a:pt x="1151" y="22661"/>
                  </a:lnTo>
                  <a:lnTo>
                    <a:pt x="1671" y="23348"/>
                  </a:lnTo>
                  <a:lnTo>
                    <a:pt x="2246" y="23941"/>
                  </a:lnTo>
                  <a:lnTo>
                    <a:pt x="2877" y="24461"/>
                  </a:lnTo>
                  <a:lnTo>
                    <a:pt x="3211" y="24702"/>
                  </a:lnTo>
                  <a:lnTo>
                    <a:pt x="3917" y="25129"/>
                  </a:lnTo>
                  <a:lnTo>
                    <a:pt x="5420" y="25779"/>
                  </a:lnTo>
                  <a:lnTo>
                    <a:pt x="6236" y="26001"/>
                  </a:lnTo>
                  <a:lnTo>
                    <a:pt x="7053" y="26187"/>
                  </a:lnTo>
                  <a:lnTo>
                    <a:pt x="8631" y="26373"/>
                  </a:lnTo>
                  <a:lnTo>
                    <a:pt x="9391" y="26391"/>
                  </a:lnTo>
                  <a:lnTo>
                    <a:pt x="10060" y="26391"/>
                  </a:lnTo>
                  <a:lnTo>
                    <a:pt x="11303" y="26243"/>
                  </a:lnTo>
                  <a:lnTo>
                    <a:pt x="12491" y="25983"/>
                  </a:lnTo>
                  <a:lnTo>
                    <a:pt x="13604" y="25575"/>
                  </a:lnTo>
                  <a:lnTo>
                    <a:pt x="14143" y="25315"/>
                  </a:lnTo>
                  <a:lnTo>
                    <a:pt x="14644" y="25055"/>
                  </a:lnTo>
                  <a:lnTo>
                    <a:pt x="15553" y="24442"/>
                  </a:lnTo>
                  <a:lnTo>
                    <a:pt x="16314" y="23756"/>
                  </a:lnTo>
                  <a:lnTo>
                    <a:pt x="16926" y="22995"/>
                  </a:lnTo>
                  <a:lnTo>
                    <a:pt x="17168" y="22587"/>
                  </a:lnTo>
                  <a:lnTo>
                    <a:pt x="17316" y="22587"/>
                  </a:lnTo>
                  <a:lnTo>
                    <a:pt x="17316" y="24313"/>
                  </a:lnTo>
                  <a:lnTo>
                    <a:pt x="17335" y="24610"/>
                  </a:lnTo>
                  <a:lnTo>
                    <a:pt x="17557" y="25129"/>
                  </a:lnTo>
                  <a:lnTo>
                    <a:pt x="17947" y="25519"/>
                  </a:lnTo>
                  <a:lnTo>
                    <a:pt x="18467" y="25742"/>
                  </a:lnTo>
                  <a:lnTo>
                    <a:pt x="18764" y="25760"/>
                  </a:lnTo>
                  <a:lnTo>
                    <a:pt x="21715" y="25760"/>
                  </a:lnTo>
                  <a:lnTo>
                    <a:pt x="22011" y="25742"/>
                  </a:lnTo>
                  <a:lnTo>
                    <a:pt x="22531" y="25519"/>
                  </a:lnTo>
                  <a:lnTo>
                    <a:pt x="22921" y="25129"/>
                  </a:lnTo>
                  <a:lnTo>
                    <a:pt x="23144" y="24610"/>
                  </a:lnTo>
                  <a:lnTo>
                    <a:pt x="23162" y="24313"/>
                  </a:lnTo>
                  <a:lnTo>
                    <a:pt x="23162" y="10542"/>
                  </a:lnTo>
                  <a:lnTo>
                    <a:pt x="23144" y="9596"/>
                  </a:lnTo>
                  <a:lnTo>
                    <a:pt x="22902" y="7721"/>
                  </a:lnTo>
                  <a:lnTo>
                    <a:pt x="22661" y="6775"/>
                  </a:lnTo>
                  <a:lnTo>
                    <a:pt x="22531" y="6311"/>
                  </a:lnTo>
                  <a:lnTo>
                    <a:pt x="22197" y="5420"/>
                  </a:lnTo>
                  <a:lnTo>
                    <a:pt x="21752" y="4566"/>
                  </a:lnTo>
                  <a:lnTo>
                    <a:pt x="21232" y="3768"/>
                  </a:lnTo>
                  <a:lnTo>
                    <a:pt x="20917" y="3378"/>
                  </a:lnTo>
                  <a:lnTo>
                    <a:pt x="20917" y="3397"/>
                  </a:lnTo>
                  <a:lnTo>
                    <a:pt x="20601" y="3026"/>
                  </a:lnTo>
                  <a:lnTo>
                    <a:pt x="19859" y="2339"/>
                  </a:lnTo>
                  <a:lnTo>
                    <a:pt x="19005" y="1727"/>
                  </a:lnTo>
                  <a:lnTo>
                    <a:pt x="18040" y="1188"/>
                  </a:lnTo>
                  <a:lnTo>
                    <a:pt x="17502" y="947"/>
                  </a:lnTo>
                  <a:lnTo>
                    <a:pt x="16945" y="724"/>
                  </a:lnTo>
                  <a:lnTo>
                    <a:pt x="15720" y="372"/>
                  </a:lnTo>
                  <a:lnTo>
                    <a:pt x="14347" y="131"/>
                  </a:lnTo>
                  <a:lnTo>
                    <a:pt x="12825" y="19"/>
                  </a:lnTo>
                  <a:lnTo>
                    <a:pt x="12008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" name="Google Shape;94;p5"/>
            <p:cNvSpPr/>
            <p:nvPr/>
          </p:nvSpPr>
          <p:spPr>
            <a:xfrm>
              <a:off x="6545800" y="2664225"/>
              <a:ext cx="373975" cy="643550"/>
            </a:xfrm>
            <a:custGeom>
              <a:avLst/>
              <a:gdLst/>
              <a:ahLst/>
              <a:cxnLst/>
              <a:rect l="l" t="t" r="r" b="b"/>
              <a:pathLst>
                <a:path w="14959" h="25742" extrusionOk="0">
                  <a:moveTo>
                    <a:pt x="13400" y="1"/>
                  </a:moveTo>
                  <a:lnTo>
                    <a:pt x="13400" y="19"/>
                  </a:lnTo>
                  <a:lnTo>
                    <a:pt x="12639" y="75"/>
                  </a:lnTo>
                  <a:lnTo>
                    <a:pt x="11339" y="279"/>
                  </a:lnTo>
                  <a:lnTo>
                    <a:pt x="10300" y="613"/>
                  </a:lnTo>
                  <a:lnTo>
                    <a:pt x="9409" y="1059"/>
                  </a:lnTo>
                  <a:lnTo>
                    <a:pt x="9020" y="1318"/>
                  </a:lnTo>
                  <a:lnTo>
                    <a:pt x="8556" y="1671"/>
                  </a:lnTo>
                  <a:lnTo>
                    <a:pt x="7721" y="2451"/>
                  </a:lnTo>
                  <a:lnTo>
                    <a:pt x="6997" y="3341"/>
                  </a:lnTo>
                  <a:lnTo>
                    <a:pt x="6366" y="4325"/>
                  </a:lnTo>
                  <a:lnTo>
                    <a:pt x="6106" y="4863"/>
                  </a:lnTo>
                  <a:lnTo>
                    <a:pt x="5995" y="4863"/>
                  </a:lnTo>
                  <a:lnTo>
                    <a:pt x="5995" y="2135"/>
                  </a:lnTo>
                  <a:lnTo>
                    <a:pt x="5976" y="1838"/>
                  </a:lnTo>
                  <a:lnTo>
                    <a:pt x="5753" y="1318"/>
                  </a:lnTo>
                  <a:lnTo>
                    <a:pt x="5364" y="929"/>
                  </a:lnTo>
                  <a:lnTo>
                    <a:pt x="4844" y="706"/>
                  </a:lnTo>
                  <a:lnTo>
                    <a:pt x="4547" y="687"/>
                  </a:lnTo>
                  <a:lnTo>
                    <a:pt x="1448" y="687"/>
                  </a:lnTo>
                  <a:lnTo>
                    <a:pt x="1151" y="706"/>
                  </a:lnTo>
                  <a:lnTo>
                    <a:pt x="631" y="929"/>
                  </a:lnTo>
                  <a:lnTo>
                    <a:pt x="241" y="1318"/>
                  </a:lnTo>
                  <a:lnTo>
                    <a:pt x="19" y="1838"/>
                  </a:lnTo>
                  <a:lnTo>
                    <a:pt x="0" y="2135"/>
                  </a:lnTo>
                  <a:lnTo>
                    <a:pt x="0" y="24276"/>
                  </a:lnTo>
                  <a:lnTo>
                    <a:pt x="19" y="24573"/>
                  </a:lnTo>
                  <a:lnTo>
                    <a:pt x="241" y="25092"/>
                  </a:lnTo>
                  <a:lnTo>
                    <a:pt x="631" y="25500"/>
                  </a:lnTo>
                  <a:lnTo>
                    <a:pt x="1151" y="25705"/>
                  </a:lnTo>
                  <a:lnTo>
                    <a:pt x="1448" y="25742"/>
                  </a:lnTo>
                  <a:lnTo>
                    <a:pt x="4807" y="25742"/>
                  </a:lnTo>
                  <a:lnTo>
                    <a:pt x="5104" y="25705"/>
                  </a:lnTo>
                  <a:lnTo>
                    <a:pt x="5623" y="25500"/>
                  </a:lnTo>
                  <a:lnTo>
                    <a:pt x="6013" y="25092"/>
                  </a:lnTo>
                  <a:lnTo>
                    <a:pt x="6236" y="24573"/>
                  </a:lnTo>
                  <a:lnTo>
                    <a:pt x="6254" y="24276"/>
                  </a:lnTo>
                  <a:lnTo>
                    <a:pt x="6254" y="12324"/>
                  </a:lnTo>
                  <a:lnTo>
                    <a:pt x="6273" y="11971"/>
                  </a:lnTo>
                  <a:lnTo>
                    <a:pt x="6403" y="11062"/>
                  </a:lnTo>
                  <a:lnTo>
                    <a:pt x="6514" y="10505"/>
                  </a:lnTo>
                  <a:lnTo>
                    <a:pt x="6663" y="9930"/>
                  </a:lnTo>
                  <a:lnTo>
                    <a:pt x="7164" y="8816"/>
                  </a:lnTo>
                  <a:lnTo>
                    <a:pt x="7516" y="8259"/>
                  </a:lnTo>
                  <a:lnTo>
                    <a:pt x="7906" y="7721"/>
                  </a:lnTo>
                  <a:lnTo>
                    <a:pt x="8908" y="6775"/>
                  </a:lnTo>
                  <a:lnTo>
                    <a:pt x="9539" y="6385"/>
                  </a:lnTo>
                  <a:lnTo>
                    <a:pt x="10170" y="6014"/>
                  </a:lnTo>
                  <a:lnTo>
                    <a:pt x="11636" y="5439"/>
                  </a:lnTo>
                  <a:lnTo>
                    <a:pt x="12917" y="5142"/>
                  </a:lnTo>
                  <a:lnTo>
                    <a:pt x="13678" y="5030"/>
                  </a:lnTo>
                  <a:lnTo>
                    <a:pt x="13938" y="4993"/>
                  </a:lnTo>
                  <a:lnTo>
                    <a:pt x="14420" y="4752"/>
                  </a:lnTo>
                  <a:lnTo>
                    <a:pt x="14754" y="4344"/>
                  </a:lnTo>
                  <a:lnTo>
                    <a:pt x="14940" y="3861"/>
                  </a:lnTo>
                  <a:lnTo>
                    <a:pt x="14958" y="3583"/>
                  </a:lnTo>
                  <a:lnTo>
                    <a:pt x="14940" y="1430"/>
                  </a:lnTo>
                  <a:lnTo>
                    <a:pt x="14903" y="1133"/>
                  </a:lnTo>
                  <a:lnTo>
                    <a:pt x="14661" y="595"/>
                  </a:lnTo>
                  <a:lnTo>
                    <a:pt x="14253" y="205"/>
                  </a:lnTo>
                  <a:lnTo>
                    <a:pt x="13696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" name="Google Shape;95;p5"/>
            <p:cNvSpPr/>
            <p:nvPr/>
          </p:nvSpPr>
          <p:spPr>
            <a:xfrm>
              <a:off x="6961975" y="2500450"/>
              <a:ext cx="420375" cy="820325"/>
            </a:xfrm>
            <a:custGeom>
              <a:avLst/>
              <a:gdLst/>
              <a:ahLst/>
              <a:cxnLst/>
              <a:rect l="l" t="t" r="r" b="b"/>
              <a:pathLst>
                <a:path w="16815" h="32813" extrusionOk="0">
                  <a:moveTo>
                    <a:pt x="5846" y="1"/>
                  </a:moveTo>
                  <a:lnTo>
                    <a:pt x="5549" y="19"/>
                  </a:lnTo>
                  <a:lnTo>
                    <a:pt x="5030" y="242"/>
                  </a:lnTo>
                  <a:lnTo>
                    <a:pt x="4621" y="632"/>
                  </a:lnTo>
                  <a:lnTo>
                    <a:pt x="4417" y="1151"/>
                  </a:lnTo>
                  <a:lnTo>
                    <a:pt x="4399" y="1448"/>
                  </a:lnTo>
                  <a:lnTo>
                    <a:pt x="4399" y="6515"/>
                  </a:lnTo>
                  <a:lnTo>
                    <a:pt x="1448" y="6515"/>
                  </a:lnTo>
                  <a:lnTo>
                    <a:pt x="1169" y="6533"/>
                  </a:lnTo>
                  <a:lnTo>
                    <a:pt x="650" y="6756"/>
                  </a:lnTo>
                  <a:lnTo>
                    <a:pt x="242" y="7146"/>
                  </a:lnTo>
                  <a:lnTo>
                    <a:pt x="19" y="7665"/>
                  </a:lnTo>
                  <a:lnTo>
                    <a:pt x="0" y="7962"/>
                  </a:lnTo>
                  <a:lnTo>
                    <a:pt x="0" y="10078"/>
                  </a:lnTo>
                  <a:lnTo>
                    <a:pt x="19" y="10375"/>
                  </a:lnTo>
                  <a:lnTo>
                    <a:pt x="242" y="10895"/>
                  </a:lnTo>
                  <a:lnTo>
                    <a:pt x="650" y="11284"/>
                  </a:lnTo>
                  <a:lnTo>
                    <a:pt x="1169" y="11507"/>
                  </a:lnTo>
                  <a:lnTo>
                    <a:pt x="1448" y="11526"/>
                  </a:lnTo>
                  <a:lnTo>
                    <a:pt x="4399" y="11526"/>
                  </a:lnTo>
                  <a:lnTo>
                    <a:pt x="4399" y="23941"/>
                  </a:lnTo>
                  <a:lnTo>
                    <a:pt x="4399" y="24851"/>
                  </a:lnTo>
                  <a:lnTo>
                    <a:pt x="4566" y="26558"/>
                  </a:lnTo>
                  <a:lnTo>
                    <a:pt x="4733" y="27356"/>
                  </a:lnTo>
                  <a:lnTo>
                    <a:pt x="4918" y="28136"/>
                  </a:lnTo>
                  <a:lnTo>
                    <a:pt x="5549" y="29546"/>
                  </a:lnTo>
                  <a:lnTo>
                    <a:pt x="5976" y="30177"/>
                  </a:lnTo>
                  <a:lnTo>
                    <a:pt x="6217" y="30474"/>
                  </a:lnTo>
                  <a:lnTo>
                    <a:pt x="6756" y="31031"/>
                  </a:lnTo>
                  <a:lnTo>
                    <a:pt x="7368" y="31513"/>
                  </a:lnTo>
                  <a:lnTo>
                    <a:pt x="8073" y="31922"/>
                  </a:lnTo>
                  <a:lnTo>
                    <a:pt x="8463" y="32107"/>
                  </a:lnTo>
                  <a:lnTo>
                    <a:pt x="8853" y="32274"/>
                  </a:lnTo>
                  <a:lnTo>
                    <a:pt x="9762" y="32534"/>
                  </a:lnTo>
                  <a:lnTo>
                    <a:pt x="10783" y="32720"/>
                  </a:lnTo>
                  <a:lnTo>
                    <a:pt x="11915" y="32794"/>
                  </a:lnTo>
                  <a:lnTo>
                    <a:pt x="12527" y="32812"/>
                  </a:lnTo>
                  <a:lnTo>
                    <a:pt x="13047" y="32794"/>
                  </a:lnTo>
                  <a:lnTo>
                    <a:pt x="14142" y="32701"/>
                  </a:lnTo>
                  <a:lnTo>
                    <a:pt x="14717" y="32627"/>
                  </a:lnTo>
                  <a:lnTo>
                    <a:pt x="15274" y="32534"/>
                  </a:lnTo>
                  <a:lnTo>
                    <a:pt x="16276" y="32274"/>
                  </a:lnTo>
                  <a:lnTo>
                    <a:pt x="16703" y="32126"/>
                  </a:lnTo>
                  <a:lnTo>
                    <a:pt x="16499" y="27226"/>
                  </a:lnTo>
                  <a:lnTo>
                    <a:pt x="15887" y="27467"/>
                  </a:lnTo>
                  <a:lnTo>
                    <a:pt x="15181" y="27616"/>
                  </a:lnTo>
                  <a:lnTo>
                    <a:pt x="14476" y="27727"/>
                  </a:lnTo>
                  <a:lnTo>
                    <a:pt x="13827" y="27746"/>
                  </a:lnTo>
                  <a:lnTo>
                    <a:pt x="13326" y="27746"/>
                  </a:lnTo>
                  <a:lnTo>
                    <a:pt x="12472" y="27597"/>
                  </a:lnTo>
                  <a:lnTo>
                    <a:pt x="11804" y="27319"/>
                  </a:lnTo>
                  <a:lnTo>
                    <a:pt x="11303" y="26911"/>
                  </a:lnTo>
                  <a:lnTo>
                    <a:pt x="11154" y="26651"/>
                  </a:lnTo>
                  <a:lnTo>
                    <a:pt x="11006" y="26372"/>
                  </a:lnTo>
                  <a:lnTo>
                    <a:pt x="10783" y="25760"/>
                  </a:lnTo>
                  <a:lnTo>
                    <a:pt x="10560" y="24702"/>
                  </a:lnTo>
                  <a:lnTo>
                    <a:pt x="10542" y="23886"/>
                  </a:lnTo>
                  <a:lnTo>
                    <a:pt x="10542" y="11526"/>
                  </a:lnTo>
                  <a:lnTo>
                    <a:pt x="15367" y="11526"/>
                  </a:lnTo>
                  <a:lnTo>
                    <a:pt x="15645" y="11507"/>
                  </a:lnTo>
                  <a:lnTo>
                    <a:pt x="16165" y="11284"/>
                  </a:lnTo>
                  <a:lnTo>
                    <a:pt x="16573" y="10895"/>
                  </a:lnTo>
                  <a:lnTo>
                    <a:pt x="16796" y="10375"/>
                  </a:lnTo>
                  <a:lnTo>
                    <a:pt x="16815" y="10078"/>
                  </a:lnTo>
                  <a:lnTo>
                    <a:pt x="16815" y="7962"/>
                  </a:lnTo>
                  <a:lnTo>
                    <a:pt x="16796" y="7665"/>
                  </a:lnTo>
                  <a:lnTo>
                    <a:pt x="16573" y="7146"/>
                  </a:lnTo>
                  <a:lnTo>
                    <a:pt x="16165" y="6756"/>
                  </a:lnTo>
                  <a:lnTo>
                    <a:pt x="15645" y="6533"/>
                  </a:lnTo>
                  <a:lnTo>
                    <a:pt x="15367" y="6515"/>
                  </a:lnTo>
                  <a:lnTo>
                    <a:pt x="10542" y="6515"/>
                  </a:lnTo>
                  <a:lnTo>
                    <a:pt x="10542" y="1448"/>
                  </a:lnTo>
                  <a:lnTo>
                    <a:pt x="10523" y="1151"/>
                  </a:lnTo>
                  <a:lnTo>
                    <a:pt x="10300" y="632"/>
                  </a:lnTo>
                  <a:lnTo>
                    <a:pt x="9911" y="242"/>
                  </a:lnTo>
                  <a:lnTo>
                    <a:pt x="9391" y="19"/>
                  </a:lnTo>
                  <a:lnTo>
                    <a:pt x="9094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" name="Google Shape;96;p5"/>
            <p:cNvSpPr/>
            <p:nvPr/>
          </p:nvSpPr>
          <p:spPr>
            <a:xfrm>
              <a:off x="4511750" y="2466575"/>
              <a:ext cx="655150" cy="841200"/>
            </a:xfrm>
            <a:custGeom>
              <a:avLst/>
              <a:gdLst/>
              <a:ahLst/>
              <a:cxnLst/>
              <a:rect l="l" t="t" r="r" b="b"/>
              <a:pathLst>
                <a:path w="26206" h="33648" extrusionOk="0">
                  <a:moveTo>
                    <a:pt x="1466" y="1"/>
                  </a:moveTo>
                  <a:lnTo>
                    <a:pt x="1169" y="19"/>
                  </a:lnTo>
                  <a:lnTo>
                    <a:pt x="650" y="242"/>
                  </a:lnTo>
                  <a:lnTo>
                    <a:pt x="241" y="632"/>
                  </a:lnTo>
                  <a:lnTo>
                    <a:pt x="19" y="1151"/>
                  </a:lnTo>
                  <a:lnTo>
                    <a:pt x="0" y="1448"/>
                  </a:lnTo>
                  <a:lnTo>
                    <a:pt x="0" y="32200"/>
                  </a:lnTo>
                  <a:lnTo>
                    <a:pt x="19" y="32497"/>
                  </a:lnTo>
                  <a:lnTo>
                    <a:pt x="241" y="33017"/>
                  </a:lnTo>
                  <a:lnTo>
                    <a:pt x="650" y="33406"/>
                  </a:lnTo>
                  <a:lnTo>
                    <a:pt x="1169" y="33629"/>
                  </a:lnTo>
                  <a:lnTo>
                    <a:pt x="1466" y="33648"/>
                  </a:lnTo>
                  <a:lnTo>
                    <a:pt x="4825" y="33648"/>
                  </a:lnTo>
                  <a:lnTo>
                    <a:pt x="5122" y="33629"/>
                  </a:lnTo>
                  <a:lnTo>
                    <a:pt x="5642" y="33406"/>
                  </a:lnTo>
                  <a:lnTo>
                    <a:pt x="6032" y="33017"/>
                  </a:lnTo>
                  <a:lnTo>
                    <a:pt x="6255" y="32497"/>
                  </a:lnTo>
                  <a:lnTo>
                    <a:pt x="6273" y="32200"/>
                  </a:lnTo>
                  <a:lnTo>
                    <a:pt x="6273" y="18133"/>
                  </a:lnTo>
                  <a:lnTo>
                    <a:pt x="19932" y="18133"/>
                  </a:lnTo>
                  <a:lnTo>
                    <a:pt x="19932" y="32200"/>
                  </a:lnTo>
                  <a:lnTo>
                    <a:pt x="19951" y="32497"/>
                  </a:lnTo>
                  <a:lnTo>
                    <a:pt x="20174" y="33017"/>
                  </a:lnTo>
                  <a:lnTo>
                    <a:pt x="20563" y="33406"/>
                  </a:lnTo>
                  <a:lnTo>
                    <a:pt x="21083" y="33629"/>
                  </a:lnTo>
                  <a:lnTo>
                    <a:pt x="21380" y="33648"/>
                  </a:lnTo>
                  <a:lnTo>
                    <a:pt x="24758" y="33648"/>
                  </a:lnTo>
                  <a:lnTo>
                    <a:pt x="25036" y="33629"/>
                  </a:lnTo>
                  <a:lnTo>
                    <a:pt x="25556" y="33406"/>
                  </a:lnTo>
                  <a:lnTo>
                    <a:pt x="25964" y="33017"/>
                  </a:lnTo>
                  <a:lnTo>
                    <a:pt x="26187" y="32497"/>
                  </a:lnTo>
                  <a:lnTo>
                    <a:pt x="26205" y="32200"/>
                  </a:lnTo>
                  <a:lnTo>
                    <a:pt x="26205" y="1448"/>
                  </a:lnTo>
                  <a:lnTo>
                    <a:pt x="26187" y="1151"/>
                  </a:lnTo>
                  <a:lnTo>
                    <a:pt x="25964" y="632"/>
                  </a:lnTo>
                  <a:lnTo>
                    <a:pt x="25556" y="242"/>
                  </a:lnTo>
                  <a:lnTo>
                    <a:pt x="25036" y="19"/>
                  </a:lnTo>
                  <a:lnTo>
                    <a:pt x="24758" y="1"/>
                  </a:lnTo>
                  <a:lnTo>
                    <a:pt x="21380" y="1"/>
                  </a:lnTo>
                  <a:lnTo>
                    <a:pt x="21083" y="19"/>
                  </a:lnTo>
                  <a:lnTo>
                    <a:pt x="20563" y="242"/>
                  </a:lnTo>
                  <a:lnTo>
                    <a:pt x="20174" y="632"/>
                  </a:lnTo>
                  <a:lnTo>
                    <a:pt x="19951" y="1151"/>
                  </a:lnTo>
                  <a:lnTo>
                    <a:pt x="19932" y="1448"/>
                  </a:lnTo>
                  <a:lnTo>
                    <a:pt x="19932" y="13641"/>
                  </a:lnTo>
                  <a:lnTo>
                    <a:pt x="6273" y="13641"/>
                  </a:lnTo>
                  <a:lnTo>
                    <a:pt x="6273" y="1448"/>
                  </a:lnTo>
                  <a:lnTo>
                    <a:pt x="6255" y="1151"/>
                  </a:lnTo>
                  <a:lnTo>
                    <a:pt x="6032" y="632"/>
                  </a:lnTo>
                  <a:lnTo>
                    <a:pt x="5642" y="242"/>
                  </a:lnTo>
                  <a:lnTo>
                    <a:pt x="5122" y="19"/>
                  </a:lnTo>
                  <a:lnTo>
                    <a:pt x="4825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" name="Google Shape;97;p5"/>
            <p:cNvSpPr/>
            <p:nvPr/>
          </p:nvSpPr>
          <p:spPr>
            <a:xfrm>
              <a:off x="2392800" y="2663300"/>
              <a:ext cx="633800" cy="662575"/>
            </a:xfrm>
            <a:custGeom>
              <a:avLst/>
              <a:gdLst/>
              <a:ahLst/>
              <a:cxnLst/>
              <a:rect l="l" t="t" r="r" b="b"/>
              <a:pathLst>
                <a:path w="25352" h="26503" extrusionOk="0">
                  <a:moveTo>
                    <a:pt x="13195" y="4696"/>
                  </a:moveTo>
                  <a:lnTo>
                    <a:pt x="13938" y="4715"/>
                  </a:lnTo>
                  <a:lnTo>
                    <a:pt x="15255" y="4974"/>
                  </a:lnTo>
                  <a:lnTo>
                    <a:pt x="15831" y="5197"/>
                  </a:lnTo>
                  <a:lnTo>
                    <a:pt x="16369" y="5457"/>
                  </a:lnTo>
                  <a:lnTo>
                    <a:pt x="17297" y="6125"/>
                  </a:lnTo>
                  <a:lnTo>
                    <a:pt x="17687" y="6515"/>
                  </a:lnTo>
                  <a:lnTo>
                    <a:pt x="18039" y="6942"/>
                  </a:lnTo>
                  <a:lnTo>
                    <a:pt x="18559" y="7907"/>
                  </a:lnTo>
                  <a:lnTo>
                    <a:pt x="18745" y="8445"/>
                  </a:lnTo>
                  <a:lnTo>
                    <a:pt x="18912" y="9002"/>
                  </a:lnTo>
                  <a:lnTo>
                    <a:pt x="19079" y="10152"/>
                  </a:lnTo>
                  <a:lnTo>
                    <a:pt x="19097" y="10746"/>
                  </a:lnTo>
                  <a:lnTo>
                    <a:pt x="6254" y="10746"/>
                  </a:lnTo>
                  <a:lnTo>
                    <a:pt x="6329" y="10097"/>
                  </a:lnTo>
                  <a:lnTo>
                    <a:pt x="6663" y="8890"/>
                  </a:lnTo>
                  <a:lnTo>
                    <a:pt x="7201" y="7795"/>
                  </a:lnTo>
                  <a:lnTo>
                    <a:pt x="7962" y="6830"/>
                  </a:lnTo>
                  <a:lnTo>
                    <a:pt x="8426" y="6403"/>
                  </a:lnTo>
                  <a:lnTo>
                    <a:pt x="8927" y="5995"/>
                  </a:lnTo>
                  <a:lnTo>
                    <a:pt x="10003" y="5346"/>
                  </a:lnTo>
                  <a:lnTo>
                    <a:pt x="11210" y="4937"/>
                  </a:lnTo>
                  <a:lnTo>
                    <a:pt x="12509" y="4715"/>
                  </a:lnTo>
                  <a:lnTo>
                    <a:pt x="13195" y="4696"/>
                  </a:lnTo>
                  <a:close/>
                  <a:moveTo>
                    <a:pt x="13251" y="1"/>
                  </a:moveTo>
                  <a:lnTo>
                    <a:pt x="12546" y="19"/>
                  </a:lnTo>
                  <a:lnTo>
                    <a:pt x="11191" y="131"/>
                  </a:lnTo>
                  <a:lnTo>
                    <a:pt x="9873" y="372"/>
                  </a:lnTo>
                  <a:lnTo>
                    <a:pt x="8611" y="743"/>
                  </a:lnTo>
                  <a:lnTo>
                    <a:pt x="8018" y="966"/>
                  </a:lnTo>
                  <a:lnTo>
                    <a:pt x="7405" y="1226"/>
                  </a:lnTo>
                  <a:lnTo>
                    <a:pt x="6273" y="1801"/>
                  </a:lnTo>
                  <a:lnTo>
                    <a:pt x="5234" y="2469"/>
                  </a:lnTo>
                  <a:lnTo>
                    <a:pt x="4269" y="3248"/>
                  </a:lnTo>
                  <a:lnTo>
                    <a:pt x="3805" y="3675"/>
                  </a:lnTo>
                  <a:lnTo>
                    <a:pt x="3378" y="4121"/>
                  </a:lnTo>
                  <a:lnTo>
                    <a:pt x="2580" y="5086"/>
                  </a:lnTo>
                  <a:lnTo>
                    <a:pt x="1875" y="6144"/>
                  </a:lnTo>
                  <a:lnTo>
                    <a:pt x="1281" y="7294"/>
                  </a:lnTo>
                  <a:lnTo>
                    <a:pt x="1021" y="7907"/>
                  </a:lnTo>
                  <a:lnTo>
                    <a:pt x="780" y="8538"/>
                  </a:lnTo>
                  <a:lnTo>
                    <a:pt x="390" y="9837"/>
                  </a:lnTo>
                  <a:lnTo>
                    <a:pt x="130" y="11210"/>
                  </a:lnTo>
                  <a:lnTo>
                    <a:pt x="19" y="12658"/>
                  </a:lnTo>
                  <a:lnTo>
                    <a:pt x="0" y="13400"/>
                  </a:lnTo>
                  <a:lnTo>
                    <a:pt x="19" y="14161"/>
                  </a:lnTo>
                  <a:lnTo>
                    <a:pt x="130" y="15609"/>
                  </a:lnTo>
                  <a:lnTo>
                    <a:pt x="390" y="17000"/>
                  </a:lnTo>
                  <a:lnTo>
                    <a:pt x="780" y="18300"/>
                  </a:lnTo>
                  <a:lnTo>
                    <a:pt x="1021" y="18912"/>
                  </a:lnTo>
                  <a:lnTo>
                    <a:pt x="1281" y="19506"/>
                  </a:lnTo>
                  <a:lnTo>
                    <a:pt x="1893" y="20619"/>
                  </a:lnTo>
                  <a:lnTo>
                    <a:pt x="2598" y="21659"/>
                  </a:lnTo>
                  <a:lnTo>
                    <a:pt x="3396" y="22587"/>
                  </a:lnTo>
                  <a:lnTo>
                    <a:pt x="3842" y="23013"/>
                  </a:lnTo>
                  <a:lnTo>
                    <a:pt x="4287" y="23422"/>
                  </a:lnTo>
                  <a:lnTo>
                    <a:pt x="5271" y="24146"/>
                  </a:lnTo>
                  <a:lnTo>
                    <a:pt x="6329" y="24795"/>
                  </a:lnTo>
                  <a:lnTo>
                    <a:pt x="7479" y="25352"/>
                  </a:lnTo>
                  <a:lnTo>
                    <a:pt x="8092" y="25593"/>
                  </a:lnTo>
                  <a:lnTo>
                    <a:pt x="8704" y="25797"/>
                  </a:lnTo>
                  <a:lnTo>
                    <a:pt x="9985" y="26150"/>
                  </a:lnTo>
                  <a:lnTo>
                    <a:pt x="11340" y="26373"/>
                  </a:lnTo>
                  <a:lnTo>
                    <a:pt x="12731" y="26484"/>
                  </a:lnTo>
                  <a:lnTo>
                    <a:pt x="13455" y="26503"/>
                  </a:lnTo>
                  <a:lnTo>
                    <a:pt x="14216" y="26484"/>
                  </a:lnTo>
                  <a:lnTo>
                    <a:pt x="15682" y="26373"/>
                  </a:lnTo>
                  <a:lnTo>
                    <a:pt x="17074" y="26131"/>
                  </a:lnTo>
                  <a:lnTo>
                    <a:pt x="18373" y="25760"/>
                  </a:lnTo>
                  <a:lnTo>
                    <a:pt x="19598" y="25296"/>
                  </a:lnTo>
                  <a:lnTo>
                    <a:pt x="20730" y="24684"/>
                  </a:lnTo>
                  <a:lnTo>
                    <a:pt x="21788" y="23960"/>
                  </a:lnTo>
                  <a:lnTo>
                    <a:pt x="22772" y="23125"/>
                  </a:lnTo>
                  <a:lnTo>
                    <a:pt x="23236" y="22661"/>
                  </a:lnTo>
                  <a:lnTo>
                    <a:pt x="23421" y="22420"/>
                  </a:lnTo>
                  <a:lnTo>
                    <a:pt x="23607" y="21863"/>
                  </a:lnTo>
                  <a:lnTo>
                    <a:pt x="23551" y="21288"/>
                  </a:lnTo>
                  <a:lnTo>
                    <a:pt x="23273" y="20768"/>
                  </a:lnTo>
                  <a:lnTo>
                    <a:pt x="23050" y="20564"/>
                  </a:lnTo>
                  <a:lnTo>
                    <a:pt x="21139" y="19042"/>
                  </a:lnTo>
                  <a:lnTo>
                    <a:pt x="20916" y="18875"/>
                  </a:lnTo>
                  <a:lnTo>
                    <a:pt x="20415" y="18726"/>
                  </a:lnTo>
                  <a:lnTo>
                    <a:pt x="19914" y="18745"/>
                  </a:lnTo>
                  <a:lnTo>
                    <a:pt x="19431" y="18949"/>
                  </a:lnTo>
                  <a:lnTo>
                    <a:pt x="19227" y="19135"/>
                  </a:lnTo>
                  <a:lnTo>
                    <a:pt x="18819" y="19543"/>
                  </a:lnTo>
                  <a:lnTo>
                    <a:pt x="17891" y="20230"/>
                  </a:lnTo>
                  <a:lnTo>
                    <a:pt x="17371" y="20527"/>
                  </a:lnTo>
                  <a:lnTo>
                    <a:pt x="16963" y="20731"/>
                  </a:lnTo>
                  <a:lnTo>
                    <a:pt x="16053" y="21046"/>
                  </a:lnTo>
                  <a:lnTo>
                    <a:pt x="15070" y="21269"/>
                  </a:lnTo>
                  <a:lnTo>
                    <a:pt x="13993" y="21380"/>
                  </a:lnTo>
                  <a:lnTo>
                    <a:pt x="13400" y="21380"/>
                  </a:lnTo>
                  <a:lnTo>
                    <a:pt x="12731" y="21362"/>
                  </a:lnTo>
                  <a:lnTo>
                    <a:pt x="11432" y="21120"/>
                  </a:lnTo>
                  <a:lnTo>
                    <a:pt x="10801" y="20916"/>
                  </a:lnTo>
                  <a:lnTo>
                    <a:pt x="10189" y="20657"/>
                  </a:lnTo>
                  <a:lnTo>
                    <a:pt x="9057" y="20026"/>
                  </a:lnTo>
                  <a:lnTo>
                    <a:pt x="8556" y="19636"/>
                  </a:lnTo>
                  <a:lnTo>
                    <a:pt x="8073" y="19209"/>
                  </a:lnTo>
                  <a:lnTo>
                    <a:pt x="7275" y="18244"/>
                  </a:lnTo>
                  <a:lnTo>
                    <a:pt x="6960" y="17706"/>
                  </a:lnTo>
                  <a:lnTo>
                    <a:pt x="6681" y="17130"/>
                  </a:lnTo>
                  <a:lnTo>
                    <a:pt x="6329" y="15905"/>
                  </a:lnTo>
                  <a:lnTo>
                    <a:pt x="6254" y="15237"/>
                  </a:lnTo>
                  <a:lnTo>
                    <a:pt x="23904" y="15237"/>
                  </a:lnTo>
                  <a:lnTo>
                    <a:pt x="24201" y="15200"/>
                  </a:lnTo>
                  <a:lnTo>
                    <a:pt x="24702" y="14996"/>
                  </a:lnTo>
                  <a:lnTo>
                    <a:pt x="25110" y="14606"/>
                  </a:lnTo>
                  <a:lnTo>
                    <a:pt x="25333" y="14087"/>
                  </a:lnTo>
                  <a:lnTo>
                    <a:pt x="25351" y="13790"/>
                  </a:lnTo>
                  <a:lnTo>
                    <a:pt x="25351" y="13567"/>
                  </a:lnTo>
                  <a:lnTo>
                    <a:pt x="25333" y="12713"/>
                  </a:lnTo>
                  <a:lnTo>
                    <a:pt x="25222" y="11136"/>
                  </a:lnTo>
                  <a:lnTo>
                    <a:pt x="24999" y="9651"/>
                  </a:lnTo>
                  <a:lnTo>
                    <a:pt x="24665" y="8278"/>
                  </a:lnTo>
                  <a:lnTo>
                    <a:pt x="24442" y="7647"/>
                  </a:lnTo>
                  <a:lnTo>
                    <a:pt x="24201" y="7016"/>
                  </a:lnTo>
                  <a:lnTo>
                    <a:pt x="23663" y="5847"/>
                  </a:lnTo>
                  <a:lnTo>
                    <a:pt x="23032" y="4807"/>
                  </a:lnTo>
                  <a:lnTo>
                    <a:pt x="22308" y="3842"/>
                  </a:lnTo>
                  <a:lnTo>
                    <a:pt x="21900" y="3415"/>
                  </a:lnTo>
                  <a:lnTo>
                    <a:pt x="21918" y="3415"/>
                  </a:lnTo>
                  <a:lnTo>
                    <a:pt x="21491" y="3007"/>
                  </a:lnTo>
                  <a:lnTo>
                    <a:pt x="20619" y="2265"/>
                  </a:lnTo>
                  <a:lnTo>
                    <a:pt x="19654" y="1615"/>
                  </a:lnTo>
                  <a:lnTo>
                    <a:pt x="18633" y="1096"/>
                  </a:lnTo>
                  <a:lnTo>
                    <a:pt x="18076" y="873"/>
                  </a:lnTo>
                  <a:lnTo>
                    <a:pt x="17520" y="650"/>
                  </a:lnTo>
                  <a:lnTo>
                    <a:pt x="16369" y="335"/>
                  </a:lnTo>
                  <a:lnTo>
                    <a:pt x="15163" y="112"/>
                  </a:lnTo>
                  <a:lnTo>
                    <a:pt x="13901" y="19"/>
                  </a:lnTo>
                  <a:lnTo>
                    <a:pt x="13251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" name="Google Shape;98;p5"/>
            <p:cNvSpPr/>
            <p:nvPr/>
          </p:nvSpPr>
          <p:spPr>
            <a:xfrm>
              <a:off x="237650" y="2349675"/>
              <a:ext cx="1219800" cy="1015625"/>
            </a:xfrm>
            <a:custGeom>
              <a:avLst/>
              <a:gdLst/>
              <a:ahLst/>
              <a:cxnLst/>
              <a:rect l="l" t="t" r="r" b="b"/>
              <a:pathLst>
                <a:path w="48792" h="40625" extrusionOk="0">
                  <a:moveTo>
                    <a:pt x="11915" y="0"/>
                  </a:moveTo>
                  <a:lnTo>
                    <a:pt x="10746" y="93"/>
                  </a:lnTo>
                  <a:lnTo>
                    <a:pt x="9614" y="297"/>
                  </a:lnTo>
                  <a:lnTo>
                    <a:pt x="8500" y="612"/>
                  </a:lnTo>
                  <a:lnTo>
                    <a:pt x="7443" y="1039"/>
                  </a:lnTo>
                  <a:lnTo>
                    <a:pt x="6422" y="1559"/>
                  </a:lnTo>
                  <a:lnTo>
                    <a:pt x="5457" y="2171"/>
                  </a:lnTo>
                  <a:lnTo>
                    <a:pt x="4547" y="2858"/>
                  </a:lnTo>
                  <a:lnTo>
                    <a:pt x="3712" y="3638"/>
                  </a:lnTo>
                  <a:lnTo>
                    <a:pt x="2933" y="4491"/>
                  </a:lnTo>
                  <a:lnTo>
                    <a:pt x="2246" y="5419"/>
                  </a:lnTo>
                  <a:lnTo>
                    <a:pt x="1634" y="6403"/>
                  </a:lnTo>
                  <a:lnTo>
                    <a:pt x="1114" y="7442"/>
                  </a:lnTo>
                  <a:lnTo>
                    <a:pt x="687" y="8556"/>
                  </a:lnTo>
                  <a:lnTo>
                    <a:pt x="372" y="9688"/>
                  </a:lnTo>
                  <a:lnTo>
                    <a:pt x="149" y="10875"/>
                  </a:lnTo>
                  <a:lnTo>
                    <a:pt x="75" y="11488"/>
                  </a:lnTo>
                  <a:lnTo>
                    <a:pt x="0" y="12583"/>
                  </a:lnTo>
                  <a:lnTo>
                    <a:pt x="130" y="14736"/>
                  </a:lnTo>
                  <a:lnTo>
                    <a:pt x="539" y="16870"/>
                  </a:lnTo>
                  <a:lnTo>
                    <a:pt x="1225" y="18967"/>
                  </a:lnTo>
                  <a:lnTo>
                    <a:pt x="2116" y="21008"/>
                  </a:lnTo>
                  <a:lnTo>
                    <a:pt x="3230" y="23013"/>
                  </a:lnTo>
                  <a:lnTo>
                    <a:pt x="4510" y="24961"/>
                  </a:lnTo>
                  <a:lnTo>
                    <a:pt x="5921" y="26836"/>
                  </a:lnTo>
                  <a:lnTo>
                    <a:pt x="7461" y="28636"/>
                  </a:lnTo>
                  <a:lnTo>
                    <a:pt x="9076" y="30362"/>
                  </a:lnTo>
                  <a:lnTo>
                    <a:pt x="11600" y="32793"/>
                  </a:lnTo>
                  <a:lnTo>
                    <a:pt x="14996" y="35688"/>
                  </a:lnTo>
                  <a:lnTo>
                    <a:pt x="18188" y="38120"/>
                  </a:lnTo>
                  <a:lnTo>
                    <a:pt x="19617" y="39140"/>
                  </a:lnTo>
                  <a:lnTo>
                    <a:pt x="20155" y="39493"/>
                  </a:lnTo>
                  <a:lnTo>
                    <a:pt x="21325" y="40050"/>
                  </a:lnTo>
                  <a:lnTo>
                    <a:pt x="22531" y="40439"/>
                  </a:lnTo>
                  <a:lnTo>
                    <a:pt x="23774" y="40625"/>
                  </a:lnTo>
                  <a:lnTo>
                    <a:pt x="25036" y="40625"/>
                  </a:lnTo>
                  <a:lnTo>
                    <a:pt x="26280" y="40439"/>
                  </a:lnTo>
                  <a:lnTo>
                    <a:pt x="27486" y="40050"/>
                  </a:lnTo>
                  <a:lnTo>
                    <a:pt x="28637" y="39493"/>
                  </a:lnTo>
                  <a:lnTo>
                    <a:pt x="29193" y="39140"/>
                  </a:lnTo>
                  <a:lnTo>
                    <a:pt x="30567" y="38157"/>
                  </a:lnTo>
                  <a:lnTo>
                    <a:pt x="33648" y="35818"/>
                  </a:lnTo>
                  <a:lnTo>
                    <a:pt x="36914" y="33053"/>
                  </a:lnTo>
                  <a:lnTo>
                    <a:pt x="39364" y="30733"/>
                  </a:lnTo>
                  <a:lnTo>
                    <a:pt x="40941" y="29081"/>
                  </a:lnTo>
                  <a:lnTo>
                    <a:pt x="42444" y="27356"/>
                  </a:lnTo>
                  <a:lnTo>
                    <a:pt x="43855" y="25555"/>
                  </a:lnTo>
                  <a:lnTo>
                    <a:pt x="45135" y="23699"/>
                  </a:lnTo>
                  <a:lnTo>
                    <a:pt x="46268" y="21788"/>
                  </a:lnTo>
                  <a:lnTo>
                    <a:pt x="47233" y="19839"/>
                  </a:lnTo>
                  <a:lnTo>
                    <a:pt x="47994" y="17835"/>
                  </a:lnTo>
                  <a:lnTo>
                    <a:pt x="48513" y="15793"/>
                  </a:lnTo>
                  <a:lnTo>
                    <a:pt x="48773" y="13715"/>
                  </a:lnTo>
                  <a:lnTo>
                    <a:pt x="48792" y="12676"/>
                  </a:lnTo>
                  <a:lnTo>
                    <a:pt x="48773" y="12082"/>
                  </a:lnTo>
                  <a:lnTo>
                    <a:pt x="48736" y="11488"/>
                  </a:lnTo>
                  <a:lnTo>
                    <a:pt x="48662" y="10820"/>
                  </a:lnTo>
                  <a:lnTo>
                    <a:pt x="48272" y="9224"/>
                  </a:lnTo>
                  <a:lnTo>
                    <a:pt x="47845" y="8017"/>
                  </a:lnTo>
                  <a:lnTo>
                    <a:pt x="47270" y="6830"/>
                  </a:lnTo>
                  <a:lnTo>
                    <a:pt x="46509" y="5753"/>
                  </a:lnTo>
                  <a:lnTo>
                    <a:pt x="45785" y="5104"/>
                  </a:lnTo>
                  <a:lnTo>
                    <a:pt x="45247" y="4788"/>
                  </a:lnTo>
                  <a:lnTo>
                    <a:pt x="44653" y="4547"/>
                  </a:lnTo>
                  <a:lnTo>
                    <a:pt x="44003" y="4417"/>
                  </a:lnTo>
                  <a:lnTo>
                    <a:pt x="43242" y="4417"/>
                  </a:lnTo>
                  <a:lnTo>
                    <a:pt x="42444" y="4565"/>
                  </a:lnTo>
                  <a:lnTo>
                    <a:pt x="41684" y="4881"/>
                  </a:lnTo>
                  <a:lnTo>
                    <a:pt x="40997" y="5345"/>
                  </a:lnTo>
                  <a:lnTo>
                    <a:pt x="40681" y="5642"/>
                  </a:lnTo>
                  <a:lnTo>
                    <a:pt x="27616" y="18707"/>
                  </a:lnTo>
                  <a:lnTo>
                    <a:pt x="27393" y="18930"/>
                  </a:lnTo>
                  <a:lnTo>
                    <a:pt x="27059" y="19450"/>
                  </a:lnTo>
                  <a:lnTo>
                    <a:pt x="26836" y="20006"/>
                  </a:lnTo>
                  <a:lnTo>
                    <a:pt x="26725" y="20582"/>
                  </a:lnTo>
                  <a:lnTo>
                    <a:pt x="26725" y="21175"/>
                  </a:lnTo>
                  <a:lnTo>
                    <a:pt x="26836" y="21751"/>
                  </a:lnTo>
                  <a:lnTo>
                    <a:pt x="27059" y="22308"/>
                  </a:lnTo>
                  <a:lnTo>
                    <a:pt x="27393" y="22809"/>
                  </a:lnTo>
                  <a:lnTo>
                    <a:pt x="27616" y="23050"/>
                  </a:lnTo>
                  <a:lnTo>
                    <a:pt x="27839" y="23254"/>
                  </a:lnTo>
                  <a:lnTo>
                    <a:pt x="28358" y="23607"/>
                  </a:lnTo>
                  <a:lnTo>
                    <a:pt x="28915" y="23829"/>
                  </a:lnTo>
                  <a:lnTo>
                    <a:pt x="29490" y="23941"/>
                  </a:lnTo>
                  <a:lnTo>
                    <a:pt x="30084" y="23941"/>
                  </a:lnTo>
                  <a:lnTo>
                    <a:pt x="30660" y="23829"/>
                  </a:lnTo>
                  <a:lnTo>
                    <a:pt x="31216" y="23607"/>
                  </a:lnTo>
                  <a:lnTo>
                    <a:pt x="31717" y="23254"/>
                  </a:lnTo>
                  <a:lnTo>
                    <a:pt x="31959" y="23050"/>
                  </a:lnTo>
                  <a:lnTo>
                    <a:pt x="43075" y="11933"/>
                  </a:lnTo>
                  <a:lnTo>
                    <a:pt x="43168" y="11840"/>
                  </a:lnTo>
                  <a:lnTo>
                    <a:pt x="43410" y="11748"/>
                  </a:lnTo>
                  <a:lnTo>
                    <a:pt x="43651" y="11748"/>
                  </a:lnTo>
                  <a:lnTo>
                    <a:pt x="43873" y="11840"/>
                  </a:lnTo>
                  <a:lnTo>
                    <a:pt x="43966" y="11933"/>
                  </a:lnTo>
                  <a:lnTo>
                    <a:pt x="44727" y="12694"/>
                  </a:lnTo>
                  <a:lnTo>
                    <a:pt x="44820" y="12787"/>
                  </a:lnTo>
                  <a:lnTo>
                    <a:pt x="44913" y="13010"/>
                  </a:lnTo>
                  <a:lnTo>
                    <a:pt x="44913" y="13269"/>
                  </a:lnTo>
                  <a:lnTo>
                    <a:pt x="44820" y="13492"/>
                  </a:lnTo>
                  <a:lnTo>
                    <a:pt x="44727" y="13585"/>
                  </a:lnTo>
                  <a:lnTo>
                    <a:pt x="33703" y="24627"/>
                  </a:lnTo>
                  <a:lnTo>
                    <a:pt x="33314" y="24999"/>
                  </a:lnTo>
                  <a:lnTo>
                    <a:pt x="32441" y="25592"/>
                  </a:lnTo>
                  <a:lnTo>
                    <a:pt x="31476" y="26019"/>
                  </a:lnTo>
                  <a:lnTo>
                    <a:pt x="30455" y="26261"/>
                  </a:lnTo>
                  <a:lnTo>
                    <a:pt x="29936" y="26298"/>
                  </a:lnTo>
                  <a:lnTo>
                    <a:pt x="29360" y="26298"/>
                  </a:lnTo>
                  <a:lnTo>
                    <a:pt x="28247" y="26094"/>
                  </a:lnTo>
                  <a:lnTo>
                    <a:pt x="27208" y="25667"/>
                  </a:lnTo>
                  <a:lnTo>
                    <a:pt x="26280" y="25017"/>
                  </a:lnTo>
                  <a:lnTo>
                    <a:pt x="25871" y="24627"/>
                  </a:lnTo>
                  <a:lnTo>
                    <a:pt x="25500" y="24201"/>
                  </a:lnTo>
                  <a:lnTo>
                    <a:pt x="24925" y="23291"/>
                  </a:lnTo>
                  <a:lnTo>
                    <a:pt x="24572" y="22326"/>
                  </a:lnTo>
                  <a:lnTo>
                    <a:pt x="24405" y="21287"/>
                  </a:lnTo>
                  <a:lnTo>
                    <a:pt x="24424" y="20248"/>
                  </a:lnTo>
                  <a:lnTo>
                    <a:pt x="24647" y="19227"/>
                  </a:lnTo>
                  <a:lnTo>
                    <a:pt x="25055" y="18262"/>
                  </a:lnTo>
                  <a:lnTo>
                    <a:pt x="25649" y="17352"/>
                  </a:lnTo>
                  <a:lnTo>
                    <a:pt x="26038" y="16963"/>
                  </a:lnTo>
                  <a:lnTo>
                    <a:pt x="33351" y="9651"/>
                  </a:lnTo>
                  <a:lnTo>
                    <a:pt x="39011" y="3972"/>
                  </a:lnTo>
                  <a:lnTo>
                    <a:pt x="39456" y="3563"/>
                  </a:lnTo>
                  <a:lnTo>
                    <a:pt x="40422" y="2895"/>
                  </a:lnTo>
                  <a:lnTo>
                    <a:pt x="41479" y="2413"/>
                  </a:lnTo>
                  <a:lnTo>
                    <a:pt x="42611" y="2134"/>
                  </a:lnTo>
                  <a:lnTo>
                    <a:pt x="43205" y="2079"/>
                  </a:lnTo>
                  <a:lnTo>
                    <a:pt x="42444" y="1577"/>
                  </a:lnTo>
                  <a:lnTo>
                    <a:pt x="40811" y="798"/>
                  </a:lnTo>
                  <a:lnTo>
                    <a:pt x="39067" y="260"/>
                  </a:lnTo>
                  <a:lnTo>
                    <a:pt x="37229" y="0"/>
                  </a:lnTo>
                  <a:lnTo>
                    <a:pt x="36283" y="0"/>
                  </a:lnTo>
                  <a:lnTo>
                    <a:pt x="35299" y="56"/>
                  </a:lnTo>
                  <a:lnTo>
                    <a:pt x="33425" y="371"/>
                  </a:lnTo>
                  <a:lnTo>
                    <a:pt x="31643" y="965"/>
                  </a:lnTo>
                  <a:lnTo>
                    <a:pt x="29991" y="1819"/>
                  </a:lnTo>
                  <a:lnTo>
                    <a:pt x="28507" y="2877"/>
                  </a:lnTo>
                  <a:lnTo>
                    <a:pt x="27171" y="4157"/>
                  </a:lnTo>
                  <a:lnTo>
                    <a:pt x="26057" y="5623"/>
                  </a:lnTo>
                  <a:lnTo>
                    <a:pt x="25129" y="7256"/>
                  </a:lnTo>
                  <a:lnTo>
                    <a:pt x="24776" y="8147"/>
                  </a:lnTo>
                  <a:lnTo>
                    <a:pt x="24721" y="8259"/>
                  </a:lnTo>
                  <a:lnTo>
                    <a:pt x="24517" y="8389"/>
                  </a:lnTo>
                  <a:lnTo>
                    <a:pt x="24294" y="8389"/>
                  </a:lnTo>
                  <a:lnTo>
                    <a:pt x="24090" y="8259"/>
                  </a:lnTo>
                  <a:lnTo>
                    <a:pt x="24034" y="8147"/>
                  </a:lnTo>
                  <a:lnTo>
                    <a:pt x="23663" y="7256"/>
                  </a:lnTo>
                  <a:lnTo>
                    <a:pt x="22754" y="5623"/>
                  </a:lnTo>
                  <a:lnTo>
                    <a:pt x="21640" y="4157"/>
                  </a:lnTo>
                  <a:lnTo>
                    <a:pt x="20304" y="2877"/>
                  </a:lnTo>
                  <a:lnTo>
                    <a:pt x="18819" y="1819"/>
                  </a:lnTo>
                  <a:lnTo>
                    <a:pt x="17167" y="965"/>
                  </a:lnTo>
                  <a:lnTo>
                    <a:pt x="15386" y="371"/>
                  </a:lnTo>
                  <a:lnTo>
                    <a:pt x="13493" y="56"/>
                  </a:lnTo>
                  <a:lnTo>
                    <a:pt x="12528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99" name="Google Shape;99;p5"/>
          <p:cNvPicPr preferRelativeResize="0"/>
          <p:nvPr/>
        </p:nvPicPr>
        <p:blipFill rotWithShape="1">
          <a:blip r:embed="rId2">
            <a:alphaModFix/>
          </a:blip>
          <a:srcRect b="1097"/>
          <a:stretch/>
        </p:blipFill>
        <p:spPr>
          <a:xfrm>
            <a:off x="8956000" y="404035"/>
            <a:ext cx="2626402" cy="5287936"/>
          </a:xfrm>
          <a:prstGeom prst="rect">
            <a:avLst/>
          </a:prstGeom>
          <a:noFill/>
          <a:ln>
            <a:noFill/>
          </a:ln>
          <a:effectLst>
            <a:reflection stA="15000" endPos="16000" fadeDir="5400012" sy="-100000" algn="bl" rotWithShape="0"/>
          </a:effectLst>
        </p:spPr>
      </p:pic>
      <p:pic>
        <p:nvPicPr>
          <p:cNvPr id="100" name="Google Shape;100;p5"/>
          <p:cNvPicPr preferRelativeResize="0"/>
          <p:nvPr/>
        </p:nvPicPr>
        <p:blipFill rotWithShape="1">
          <a:blip r:embed="rId3">
            <a:alphaModFix/>
          </a:blip>
          <a:srcRect b="4725"/>
          <a:stretch/>
        </p:blipFill>
        <p:spPr>
          <a:xfrm>
            <a:off x="6384567" y="2185894"/>
            <a:ext cx="3080469" cy="4162089"/>
          </a:xfrm>
          <a:prstGeom prst="rect">
            <a:avLst/>
          </a:prstGeom>
          <a:noFill/>
          <a:ln>
            <a:noFill/>
          </a:ln>
          <a:effectLst>
            <a:reflection stA="27000" endPos="16000" fadeDir="5400012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31228264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Page B2B 2">
  <p:cSld name="Title Page B2B 2">
    <p:bg>
      <p:bgPr>
        <a:solidFill>
          <a:schemeClr val="lt1"/>
        </a:solidFill>
        <a:effectLst/>
      </p:bgPr>
    </p:bg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6"/>
          <p:cNvSpPr/>
          <p:nvPr/>
        </p:nvSpPr>
        <p:spPr>
          <a:xfrm>
            <a:off x="9742033" y="0"/>
            <a:ext cx="2467500" cy="10329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" name="Google Shape;103;p6"/>
          <p:cNvSpPr/>
          <p:nvPr/>
        </p:nvSpPr>
        <p:spPr>
          <a:xfrm rot="10800000">
            <a:off x="513800" y="67"/>
            <a:ext cx="11147700" cy="10329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" name="Google Shape;104;p6"/>
          <p:cNvSpPr txBox="1">
            <a:spLocks noGrp="1"/>
          </p:cNvSpPr>
          <p:nvPr>
            <p:ph type="ctrTitle"/>
          </p:nvPr>
        </p:nvSpPr>
        <p:spPr>
          <a:xfrm>
            <a:off x="1219200" y="2056833"/>
            <a:ext cx="4267200" cy="1725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300"/>
              <a:buNone/>
              <a:defRPr sz="4300" b="1">
                <a:solidFill>
                  <a:schemeClr val="dk2"/>
                </a:solidFill>
              </a:defRPr>
            </a:lvl1pPr>
            <a:lvl2pPr lvl="1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900"/>
              <a:buNone/>
              <a:defRPr sz="5900">
                <a:solidFill>
                  <a:schemeClr val="dk2"/>
                </a:solidFill>
              </a:defRPr>
            </a:lvl2pPr>
            <a:lvl3pPr lvl="2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900"/>
              <a:buNone/>
              <a:defRPr sz="5900">
                <a:solidFill>
                  <a:schemeClr val="dk2"/>
                </a:solidFill>
              </a:defRPr>
            </a:lvl3pPr>
            <a:lvl4pPr lvl="3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900"/>
              <a:buNone/>
              <a:defRPr sz="5900">
                <a:solidFill>
                  <a:schemeClr val="dk2"/>
                </a:solidFill>
              </a:defRPr>
            </a:lvl4pPr>
            <a:lvl5pPr lvl="4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900"/>
              <a:buNone/>
              <a:defRPr sz="5900">
                <a:solidFill>
                  <a:schemeClr val="dk2"/>
                </a:solidFill>
              </a:defRPr>
            </a:lvl5pPr>
            <a:lvl6pPr lvl="5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900"/>
              <a:buNone/>
              <a:defRPr sz="5900">
                <a:solidFill>
                  <a:schemeClr val="dk2"/>
                </a:solidFill>
              </a:defRPr>
            </a:lvl6pPr>
            <a:lvl7pPr lvl="6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900"/>
              <a:buNone/>
              <a:defRPr sz="5900">
                <a:solidFill>
                  <a:schemeClr val="dk2"/>
                </a:solidFill>
              </a:defRPr>
            </a:lvl7pPr>
            <a:lvl8pPr lvl="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900"/>
              <a:buNone/>
              <a:defRPr sz="5900">
                <a:solidFill>
                  <a:schemeClr val="dk2"/>
                </a:solidFill>
              </a:defRPr>
            </a:lvl8pPr>
            <a:lvl9pPr lvl="8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900"/>
              <a:buNone/>
              <a:defRPr sz="59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105" name="Google Shape;105;p6"/>
          <p:cNvSpPr txBox="1">
            <a:spLocks noGrp="1"/>
          </p:cNvSpPr>
          <p:nvPr>
            <p:ph type="subTitle" idx="1"/>
          </p:nvPr>
        </p:nvSpPr>
        <p:spPr>
          <a:xfrm>
            <a:off x="1211300" y="3964433"/>
            <a:ext cx="3665700" cy="1519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6" name="Google Shape;106;p6"/>
          <p:cNvSpPr/>
          <p:nvPr/>
        </p:nvSpPr>
        <p:spPr>
          <a:xfrm rot="-5400000">
            <a:off x="6454433" y="354533"/>
            <a:ext cx="5403300" cy="60999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7" name="Google Shape;107;p6"/>
          <p:cNvSpPr txBox="1">
            <a:spLocks noGrp="1"/>
          </p:cNvSpPr>
          <p:nvPr>
            <p:ph type="body" idx="2"/>
          </p:nvPr>
        </p:nvSpPr>
        <p:spPr>
          <a:xfrm>
            <a:off x="1219200" y="6029833"/>
            <a:ext cx="3491700" cy="408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11150" rtl="0">
              <a:spcBef>
                <a:spcPts val="0"/>
              </a:spcBef>
              <a:spcAft>
                <a:spcPts val="0"/>
              </a:spcAft>
              <a:buSzPts val="1300"/>
              <a:buChar char="•"/>
              <a:defRPr sz="1300"/>
            </a:lvl1pPr>
            <a:lvl2pPr marL="914400" lvl="1" indent="-311150" rtl="0">
              <a:spcBef>
                <a:spcPts val="1300"/>
              </a:spcBef>
              <a:spcAft>
                <a:spcPts val="0"/>
              </a:spcAft>
              <a:buSzPts val="1300"/>
              <a:buChar char="○"/>
              <a:defRPr sz="1300"/>
            </a:lvl2pPr>
            <a:lvl3pPr marL="1371600" lvl="2" indent="-311150" rtl="0">
              <a:spcBef>
                <a:spcPts val="1300"/>
              </a:spcBef>
              <a:spcAft>
                <a:spcPts val="0"/>
              </a:spcAft>
              <a:buSzPts val="1300"/>
              <a:buChar char="•"/>
              <a:defRPr sz="1300"/>
            </a:lvl3pPr>
            <a:lvl4pPr marL="1828800" lvl="3" indent="-311150" rtl="0">
              <a:spcBef>
                <a:spcPts val="1300"/>
              </a:spcBef>
              <a:spcAft>
                <a:spcPts val="0"/>
              </a:spcAft>
              <a:buSzPts val="1300"/>
              <a:buChar char="◦"/>
              <a:defRPr sz="1300"/>
            </a:lvl4pPr>
            <a:lvl5pPr marL="2286000" lvl="4" indent="-311150" rtl="0">
              <a:spcBef>
                <a:spcPts val="1300"/>
              </a:spcBef>
              <a:spcAft>
                <a:spcPts val="0"/>
              </a:spcAft>
              <a:buSzPts val="1300"/>
              <a:buChar char="•"/>
              <a:defRPr sz="1300"/>
            </a:lvl5pPr>
            <a:lvl6pPr marL="2743200" lvl="5" indent="-298450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/>
            </a:lvl6pPr>
            <a:lvl7pPr marL="3200400" lvl="6" indent="-311150" rtl="0">
              <a:spcBef>
                <a:spcPts val="1300"/>
              </a:spcBef>
              <a:spcAft>
                <a:spcPts val="0"/>
              </a:spcAft>
              <a:buSzPts val="1300"/>
              <a:buChar char="•"/>
              <a:defRPr sz="1300"/>
            </a:lvl7pPr>
            <a:lvl8pPr marL="3657600" lvl="7" indent="-311150" rtl="0">
              <a:spcBef>
                <a:spcPts val="1300"/>
              </a:spcBef>
              <a:spcAft>
                <a:spcPts val="0"/>
              </a:spcAft>
              <a:buSzPts val="1300"/>
              <a:buChar char="○"/>
              <a:defRPr sz="1300"/>
            </a:lvl8pPr>
            <a:lvl9pPr marL="4114800" lvl="8" indent="-311150" rtl="0">
              <a:spcBef>
                <a:spcPts val="1300"/>
              </a:spcBef>
              <a:spcAft>
                <a:spcPts val="1300"/>
              </a:spcAft>
              <a:buSzPts val="1300"/>
              <a:buChar char="•"/>
              <a:defRPr sz="1300"/>
            </a:lvl9pPr>
          </a:lstStyle>
          <a:p>
            <a:endParaRPr/>
          </a:p>
        </p:txBody>
      </p:sp>
      <p:grpSp>
        <p:nvGrpSpPr>
          <p:cNvPr id="108" name="Google Shape;108;p6"/>
          <p:cNvGrpSpPr/>
          <p:nvPr/>
        </p:nvGrpSpPr>
        <p:grpSpPr>
          <a:xfrm>
            <a:off x="1211296" y="342443"/>
            <a:ext cx="2449918" cy="348461"/>
            <a:chOff x="237650" y="2349675"/>
            <a:chExt cx="7144700" cy="1015625"/>
          </a:xfrm>
        </p:grpSpPr>
        <p:sp>
          <p:nvSpPr>
            <p:cNvPr id="109" name="Google Shape;109;p6"/>
            <p:cNvSpPr/>
            <p:nvPr/>
          </p:nvSpPr>
          <p:spPr>
            <a:xfrm>
              <a:off x="3096625" y="2466575"/>
              <a:ext cx="156400" cy="841200"/>
            </a:xfrm>
            <a:custGeom>
              <a:avLst/>
              <a:gdLst/>
              <a:ahLst/>
              <a:cxnLst/>
              <a:rect l="l" t="t" r="r" b="b"/>
              <a:pathLst>
                <a:path w="6256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2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1" y="1448"/>
                  </a:lnTo>
                  <a:lnTo>
                    <a:pt x="1" y="32182"/>
                  </a:lnTo>
                  <a:lnTo>
                    <a:pt x="19" y="32479"/>
                  </a:lnTo>
                  <a:lnTo>
                    <a:pt x="242" y="33017"/>
                  </a:lnTo>
                  <a:lnTo>
                    <a:pt x="632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08" y="33648"/>
                  </a:lnTo>
                  <a:lnTo>
                    <a:pt x="5105" y="33629"/>
                  </a:lnTo>
                  <a:lnTo>
                    <a:pt x="5624" y="33406"/>
                  </a:lnTo>
                  <a:lnTo>
                    <a:pt x="6014" y="33017"/>
                  </a:lnTo>
                  <a:lnTo>
                    <a:pt x="6237" y="32479"/>
                  </a:lnTo>
                  <a:lnTo>
                    <a:pt x="6255" y="32182"/>
                  </a:lnTo>
                  <a:lnTo>
                    <a:pt x="6255" y="1448"/>
                  </a:lnTo>
                  <a:lnTo>
                    <a:pt x="6237" y="1151"/>
                  </a:lnTo>
                  <a:lnTo>
                    <a:pt x="6014" y="632"/>
                  </a:lnTo>
                  <a:lnTo>
                    <a:pt x="5624" y="242"/>
                  </a:lnTo>
                  <a:lnTo>
                    <a:pt x="5105" y="19"/>
                  </a:lnTo>
                  <a:lnTo>
                    <a:pt x="480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" name="Google Shape;110;p6"/>
            <p:cNvSpPr/>
            <p:nvPr/>
          </p:nvSpPr>
          <p:spPr>
            <a:xfrm>
              <a:off x="1673175" y="2466575"/>
              <a:ext cx="655150" cy="841200"/>
            </a:xfrm>
            <a:custGeom>
              <a:avLst/>
              <a:gdLst/>
              <a:ahLst/>
              <a:cxnLst/>
              <a:rect l="l" t="t" r="r" b="b"/>
              <a:pathLst>
                <a:path w="26206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1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0" y="1448"/>
                  </a:lnTo>
                  <a:lnTo>
                    <a:pt x="0" y="32200"/>
                  </a:lnTo>
                  <a:lnTo>
                    <a:pt x="19" y="32497"/>
                  </a:lnTo>
                  <a:lnTo>
                    <a:pt x="242" y="33017"/>
                  </a:lnTo>
                  <a:lnTo>
                    <a:pt x="631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26" y="33648"/>
                  </a:lnTo>
                  <a:lnTo>
                    <a:pt x="5104" y="33629"/>
                  </a:lnTo>
                  <a:lnTo>
                    <a:pt x="5624" y="33406"/>
                  </a:lnTo>
                  <a:lnTo>
                    <a:pt x="6032" y="33017"/>
                  </a:lnTo>
                  <a:lnTo>
                    <a:pt x="6255" y="32497"/>
                  </a:lnTo>
                  <a:lnTo>
                    <a:pt x="6273" y="32200"/>
                  </a:lnTo>
                  <a:lnTo>
                    <a:pt x="6273" y="18133"/>
                  </a:lnTo>
                  <a:lnTo>
                    <a:pt x="19933" y="18133"/>
                  </a:lnTo>
                  <a:lnTo>
                    <a:pt x="19933" y="32200"/>
                  </a:lnTo>
                  <a:lnTo>
                    <a:pt x="19951" y="32497"/>
                  </a:lnTo>
                  <a:lnTo>
                    <a:pt x="20174" y="33017"/>
                  </a:lnTo>
                  <a:lnTo>
                    <a:pt x="20564" y="33406"/>
                  </a:lnTo>
                  <a:lnTo>
                    <a:pt x="21083" y="33629"/>
                  </a:lnTo>
                  <a:lnTo>
                    <a:pt x="21380" y="33648"/>
                  </a:lnTo>
                  <a:lnTo>
                    <a:pt x="24739" y="33648"/>
                  </a:lnTo>
                  <a:lnTo>
                    <a:pt x="25036" y="33629"/>
                  </a:lnTo>
                  <a:lnTo>
                    <a:pt x="25556" y="33406"/>
                  </a:lnTo>
                  <a:lnTo>
                    <a:pt x="25964" y="33017"/>
                  </a:lnTo>
                  <a:lnTo>
                    <a:pt x="26168" y="32497"/>
                  </a:lnTo>
                  <a:lnTo>
                    <a:pt x="26205" y="32200"/>
                  </a:lnTo>
                  <a:lnTo>
                    <a:pt x="26205" y="1448"/>
                  </a:lnTo>
                  <a:lnTo>
                    <a:pt x="26168" y="1151"/>
                  </a:lnTo>
                  <a:lnTo>
                    <a:pt x="25964" y="632"/>
                  </a:lnTo>
                  <a:lnTo>
                    <a:pt x="25556" y="242"/>
                  </a:lnTo>
                  <a:lnTo>
                    <a:pt x="25036" y="19"/>
                  </a:lnTo>
                  <a:lnTo>
                    <a:pt x="24739" y="1"/>
                  </a:lnTo>
                  <a:lnTo>
                    <a:pt x="21380" y="1"/>
                  </a:lnTo>
                  <a:lnTo>
                    <a:pt x="21083" y="19"/>
                  </a:lnTo>
                  <a:lnTo>
                    <a:pt x="20564" y="242"/>
                  </a:lnTo>
                  <a:lnTo>
                    <a:pt x="20174" y="632"/>
                  </a:lnTo>
                  <a:lnTo>
                    <a:pt x="19951" y="1151"/>
                  </a:lnTo>
                  <a:lnTo>
                    <a:pt x="19933" y="1448"/>
                  </a:lnTo>
                  <a:lnTo>
                    <a:pt x="19933" y="13641"/>
                  </a:lnTo>
                  <a:lnTo>
                    <a:pt x="6273" y="13641"/>
                  </a:lnTo>
                  <a:lnTo>
                    <a:pt x="6273" y="1448"/>
                  </a:lnTo>
                  <a:lnTo>
                    <a:pt x="6255" y="1151"/>
                  </a:lnTo>
                  <a:lnTo>
                    <a:pt x="6032" y="632"/>
                  </a:lnTo>
                  <a:lnTo>
                    <a:pt x="5624" y="242"/>
                  </a:lnTo>
                  <a:lnTo>
                    <a:pt x="5104" y="19"/>
                  </a:lnTo>
                  <a:lnTo>
                    <a:pt x="482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" name="Google Shape;111;p6"/>
            <p:cNvSpPr/>
            <p:nvPr/>
          </p:nvSpPr>
          <p:spPr>
            <a:xfrm>
              <a:off x="3382900" y="2466575"/>
              <a:ext cx="156375" cy="841200"/>
            </a:xfrm>
            <a:custGeom>
              <a:avLst/>
              <a:gdLst/>
              <a:ahLst/>
              <a:cxnLst/>
              <a:rect l="l" t="t" r="r" b="b"/>
              <a:pathLst>
                <a:path w="6255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2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1" y="1448"/>
                  </a:lnTo>
                  <a:lnTo>
                    <a:pt x="1" y="32182"/>
                  </a:lnTo>
                  <a:lnTo>
                    <a:pt x="19" y="32479"/>
                  </a:lnTo>
                  <a:lnTo>
                    <a:pt x="242" y="33017"/>
                  </a:lnTo>
                  <a:lnTo>
                    <a:pt x="632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07" y="33648"/>
                  </a:lnTo>
                  <a:lnTo>
                    <a:pt x="5104" y="33629"/>
                  </a:lnTo>
                  <a:lnTo>
                    <a:pt x="5624" y="33406"/>
                  </a:lnTo>
                  <a:lnTo>
                    <a:pt x="6014" y="33017"/>
                  </a:lnTo>
                  <a:lnTo>
                    <a:pt x="6236" y="32479"/>
                  </a:lnTo>
                  <a:lnTo>
                    <a:pt x="6255" y="32182"/>
                  </a:lnTo>
                  <a:lnTo>
                    <a:pt x="6255" y="1448"/>
                  </a:lnTo>
                  <a:lnTo>
                    <a:pt x="6236" y="1151"/>
                  </a:lnTo>
                  <a:lnTo>
                    <a:pt x="6014" y="632"/>
                  </a:lnTo>
                  <a:lnTo>
                    <a:pt x="5624" y="242"/>
                  </a:lnTo>
                  <a:lnTo>
                    <a:pt x="5104" y="19"/>
                  </a:lnTo>
                  <a:lnTo>
                    <a:pt x="48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" name="Google Shape;112;p6"/>
            <p:cNvSpPr/>
            <p:nvPr/>
          </p:nvSpPr>
          <p:spPr>
            <a:xfrm>
              <a:off x="3610700" y="2663300"/>
              <a:ext cx="680675" cy="662575"/>
            </a:xfrm>
            <a:custGeom>
              <a:avLst/>
              <a:gdLst/>
              <a:ahLst/>
              <a:cxnLst/>
              <a:rect l="l" t="t" r="r" b="b"/>
              <a:pathLst>
                <a:path w="27227" h="26503" extrusionOk="0">
                  <a:moveTo>
                    <a:pt x="14087" y="5123"/>
                  </a:moveTo>
                  <a:lnTo>
                    <a:pt x="14959" y="5216"/>
                  </a:lnTo>
                  <a:lnTo>
                    <a:pt x="15757" y="5383"/>
                  </a:lnTo>
                  <a:lnTo>
                    <a:pt x="16500" y="5661"/>
                  </a:lnTo>
                  <a:lnTo>
                    <a:pt x="16852" y="5828"/>
                  </a:lnTo>
                  <a:lnTo>
                    <a:pt x="17521" y="6199"/>
                  </a:lnTo>
                  <a:lnTo>
                    <a:pt x="18634" y="7127"/>
                  </a:lnTo>
                  <a:lnTo>
                    <a:pt x="19098" y="7665"/>
                  </a:lnTo>
                  <a:lnTo>
                    <a:pt x="19525" y="8259"/>
                  </a:lnTo>
                  <a:lnTo>
                    <a:pt x="20193" y="9558"/>
                  </a:lnTo>
                  <a:lnTo>
                    <a:pt x="20434" y="10264"/>
                  </a:lnTo>
                  <a:lnTo>
                    <a:pt x="20638" y="10969"/>
                  </a:lnTo>
                  <a:lnTo>
                    <a:pt x="20861" y="12416"/>
                  </a:lnTo>
                  <a:lnTo>
                    <a:pt x="20880" y="13159"/>
                  </a:lnTo>
                  <a:lnTo>
                    <a:pt x="20861" y="13883"/>
                  </a:lnTo>
                  <a:lnTo>
                    <a:pt x="20638" y="15349"/>
                  </a:lnTo>
                  <a:lnTo>
                    <a:pt x="20434" y="16073"/>
                  </a:lnTo>
                  <a:lnTo>
                    <a:pt x="20193" y="16796"/>
                  </a:lnTo>
                  <a:lnTo>
                    <a:pt x="19525" y="18095"/>
                  </a:lnTo>
                  <a:lnTo>
                    <a:pt x="19098" y="18671"/>
                  </a:lnTo>
                  <a:lnTo>
                    <a:pt x="18634" y="19228"/>
                  </a:lnTo>
                  <a:lnTo>
                    <a:pt x="17521" y="20174"/>
                  </a:lnTo>
                  <a:lnTo>
                    <a:pt x="16852" y="20564"/>
                  </a:lnTo>
                  <a:lnTo>
                    <a:pt x="16500" y="20731"/>
                  </a:lnTo>
                  <a:lnTo>
                    <a:pt x="15757" y="21009"/>
                  </a:lnTo>
                  <a:lnTo>
                    <a:pt x="14959" y="21195"/>
                  </a:lnTo>
                  <a:lnTo>
                    <a:pt x="14087" y="21269"/>
                  </a:lnTo>
                  <a:lnTo>
                    <a:pt x="13623" y="21288"/>
                  </a:lnTo>
                  <a:lnTo>
                    <a:pt x="13159" y="21269"/>
                  </a:lnTo>
                  <a:lnTo>
                    <a:pt x="12287" y="21195"/>
                  </a:lnTo>
                  <a:lnTo>
                    <a:pt x="11470" y="21009"/>
                  </a:lnTo>
                  <a:lnTo>
                    <a:pt x="10728" y="20731"/>
                  </a:lnTo>
                  <a:lnTo>
                    <a:pt x="10394" y="20564"/>
                  </a:lnTo>
                  <a:lnTo>
                    <a:pt x="9726" y="20174"/>
                  </a:lnTo>
                  <a:lnTo>
                    <a:pt x="8612" y="19228"/>
                  </a:lnTo>
                  <a:lnTo>
                    <a:pt x="8148" y="18671"/>
                  </a:lnTo>
                  <a:lnTo>
                    <a:pt x="7721" y="18095"/>
                  </a:lnTo>
                  <a:lnTo>
                    <a:pt x="7053" y="16778"/>
                  </a:lnTo>
                  <a:lnTo>
                    <a:pt x="6812" y="16073"/>
                  </a:lnTo>
                  <a:lnTo>
                    <a:pt x="6608" y="15349"/>
                  </a:lnTo>
                  <a:lnTo>
                    <a:pt x="6385" y="13883"/>
                  </a:lnTo>
                  <a:lnTo>
                    <a:pt x="6367" y="13159"/>
                  </a:lnTo>
                  <a:lnTo>
                    <a:pt x="6385" y="12416"/>
                  </a:lnTo>
                  <a:lnTo>
                    <a:pt x="6608" y="10969"/>
                  </a:lnTo>
                  <a:lnTo>
                    <a:pt x="6812" y="10264"/>
                  </a:lnTo>
                  <a:lnTo>
                    <a:pt x="7053" y="9558"/>
                  </a:lnTo>
                  <a:lnTo>
                    <a:pt x="7721" y="8259"/>
                  </a:lnTo>
                  <a:lnTo>
                    <a:pt x="8148" y="7665"/>
                  </a:lnTo>
                  <a:lnTo>
                    <a:pt x="8612" y="7127"/>
                  </a:lnTo>
                  <a:lnTo>
                    <a:pt x="9726" y="6199"/>
                  </a:lnTo>
                  <a:lnTo>
                    <a:pt x="10394" y="5828"/>
                  </a:lnTo>
                  <a:lnTo>
                    <a:pt x="10728" y="5661"/>
                  </a:lnTo>
                  <a:lnTo>
                    <a:pt x="11470" y="5383"/>
                  </a:lnTo>
                  <a:lnTo>
                    <a:pt x="12287" y="5216"/>
                  </a:lnTo>
                  <a:lnTo>
                    <a:pt x="13159" y="5123"/>
                  </a:lnTo>
                  <a:close/>
                  <a:moveTo>
                    <a:pt x="13623" y="1"/>
                  </a:moveTo>
                  <a:lnTo>
                    <a:pt x="12918" y="19"/>
                  </a:lnTo>
                  <a:lnTo>
                    <a:pt x="11545" y="131"/>
                  </a:lnTo>
                  <a:lnTo>
                    <a:pt x="10227" y="372"/>
                  </a:lnTo>
                  <a:lnTo>
                    <a:pt x="8928" y="724"/>
                  </a:lnTo>
                  <a:lnTo>
                    <a:pt x="8297" y="947"/>
                  </a:lnTo>
                  <a:lnTo>
                    <a:pt x="7684" y="1188"/>
                  </a:lnTo>
                  <a:lnTo>
                    <a:pt x="6515" y="1745"/>
                  </a:lnTo>
                  <a:lnTo>
                    <a:pt x="5439" y="2413"/>
                  </a:lnTo>
                  <a:lnTo>
                    <a:pt x="4437" y="3174"/>
                  </a:lnTo>
                  <a:lnTo>
                    <a:pt x="3973" y="3601"/>
                  </a:lnTo>
                  <a:lnTo>
                    <a:pt x="3527" y="4046"/>
                  </a:lnTo>
                  <a:lnTo>
                    <a:pt x="2692" y="4993"/>
                  </a:lnTo>
                  <a:lnTo>
                    <a:pt x="1968" y="6032"/>
                  </a:lnTo>
                  <a:lnTo>
                    <a:pt x="1356" y="7146"/>
                  </a:lnTo>
                  <a:lnTo>
                    <a:pt x="1077" y="7758"/>
                  </a:lnTo>
                  <a:lnTo>
                    <a:pt x="818" y="8371"/>
                  </a:lnTo>
                  <a:lnTo>
                    <a:pt x="409" y="9651"/>
                  </a:lnTo>
                  <a:lnTo>
                    <a:pt x="149" y="10987"/>
                  </a:lnTo>
                  <a:lnTo>
                    <a:pt x="20" y="12416"/>
                  </a:lnTo>
                  <a:lnTo>
                    <a:pt x="1" y="13159"/>
                  </a:lnTo>
                  <a:lnTo>
                    <a:pt x="20" y="13883"/>
                  </a:lnTo>
                  <a:lnTo>
                    <a:pt x="149" y="15312"/>
                  </a:lnTo>
                  <a:lnTo>
                    <a:pt x="409" y="16666"/>
                  </a:lnTo>
                  <a:lnTo>
                    <a:pt x="818" y="17947"/>
                  </a:lnTo>
                  <a:lnTo>
                    <a:pt x="1077" y="18578"/>
                  </a:lnTo>
                  <a:lnTo>
                    <a:pt x="1356" y="19172"/>
                  </a:lnTo>
                  <a:lnTo>
                    <a:pt x="1968" y="20322"/>
                  </a:lnTo>
                  <a:lnTo>
                    <a:pt x="2692" y="21362"/>
                  </a:lnTo>
                  <a:lnTo>
                    <a:pt x="3527" y="22327"/>
                  </a:lnTo>
                  <a:lnTo>
                    <a:pt x="3973" y="22772"/>
                  </a:lnTo>
                  <a:lnTo>
                    <a:pt x="4437" y="23199"/>
                  </a:lnTo>
                  <a:lnTo>
                    <a:pt x="5439" y="23979"/>
                  </a:lnTo>
                  <a:lnTo>
                    <a:pt x="6515" y="24665"/>
                  </a:lnTo>
                  <a:lnTo>
                    <a:pt x="7684" y="25259"/>
                  </a:lnTo>
                  <a:lnTo>
                    <a:pt x="8297" y="25519"/>
                  </a:lnTo>
                  <a:lnTo>
                    <a:pt x="8928" y="25742"/>
                  </a:lnTo>
                  <a:lnTo>
                    <a:pt x="10227" y="26113"/>
                  </a:lnTo>
                  <a:lnTo>
                    <a:pt x="11545" y="26373"/>
                  </a:lnTo>
                  <a:lnTo>
                    <a:pt x="12918" y="26484"/>
                  </a:lnTo>
                  <a:lnTo>
                    <a:pt x="13623" y="26503"/>
                  </a:lnTo>
                  <a:lnTo>
                    <a:pt x="14328" y="26484"/>
                  </a:lnTo>
                  <a:lnTo>
                    <a:pt x="15683" y="26373"/>
                  </a:lnTo>
                  <a:lnTo>
                    <a:pt x="17019" y="26113"/>
                  </a:lnTo>
                  <a:lnTo>
                    <a:pt x="18300" y="25742"/>
                  </a:lnTo>
                  <a:lnTo>
                    <a:pt x="18931" y="25519"/>
                  </a:lnTo>
                  <a:lnTo>
                    <a:pt x="19562" y="25259"/>
                  </a:lnTo>
                  <a:lnTo>
                    <a:pt x="20731" y="24665"/>
                  </a:lnTo>
                  <a:lnTo>
                    <a:pt x="21808" y="23979"/>
                  </a:lnTo>
                  <a:lnTo>
                    <a:pt x="22810" y="23199"/>
                  </a:lnTo>
                  <a:lnTo>
                    <a:pt x="23274" y="22772"/>
                  </a:lnTo>
                  <a:lnTo>
                    <a:pt x="23719" y="22327"/>
                  </a:lnTo>
                  <a:lnTo>
                    <a:pt x="24536" y="21362"/>
                  </a:lnTo>
                  <a:lnTo>
                    <a:pt x="25260" y="20322"/>
                  </a:lnTo>
                  <a:lnTo>
                    <a:pt x="25891" y="19172"/>
                  </a:lnTo>
                  <a:lnTo>
                    <a:pt x="26169" y="18578"/>
                  </a:lnTo>
                  <a:lnTo>
                    <a:pt x="26429" y="17947"/>
                  </a:lnTo>
                  <a:lnTo>
                    <a:pt x="26818" y="16666"/>
                  </a:lnTo>
                  <a:lnTo>
                    <a:pt x="27097" y="15312"/>
                  </a:lnTo>
                  <a:lnTo>
                    <a:pt x="27227" y="13883"/>
                  </a:lnTo>
                  <a:lnTo>
                    <a:pt x="27227" y="13159"/>
                  </a:lnTo>
                  <a:lnTo>
                    <a:pt x="27227" y="12416"/>
                  </a:lnTo>
                  <a:lnTo>
                    <a:pt x="27097" y="10987"/>
                  </a:lnTo>
                  <a:lnTo>
                    <a:pt x="26818" y="9651"/>
                  </a:lnTo>
                  <a:lnTo>
                    <a:pt x="26429" y="8371"/>
                  </a:lnTo>
                  <a:lnTo>
                    <a:pt x="26169" y="7758"/>
                  </a:lnTo>
                  <a:lnTo>
                    <a:pt x="25891" y="7146"/>
                  </a:lnTo>
                  <a:lnTo>
                    <a:pt x="25260" y="6032"/>
                  </a:lnTo>
                  <a:lnTo>
                    <a:pt x="24536" y="4993"/>
                  </a:lnTo>
                  <a:lnTo>
                    <a:pt x="23719" y="4046"/>
                  </a:lnTo>
                  <a:lnTo>
                    <a:pt x="23274" y="3601"/>
                  </a:lnTo>
                  <a:lnTo>
                    <a:pt x="22810" y="3174"/>
                  </a:lnTo>
                  <a:lnTo>
                    <a:pt x="21808" y="2413"/>
                  </a:lnTo>
                  <a:lnTo>
                    <a:pt x="20731" y="1745"/>
                  </a:lnTo>
                  <a:lnTo>
                    <a:pt x="19562" y="1188"/>
                  </a:lnTo>
                  <a:lnTo>
                    <a:pt x="18931" y="947"/>
                  </a:lnTo>
                  <a:lnTo>
                    <a:pt x="18300" y="724"/>
                  </a:lnTo>
                  <a:lnTo>
                    <a:pt x="17019" y="372"/>
                  </a:lnTo>
                  <a:lnTo>
                    <a:pt x="15683" y="131"/>
                  </a:lnTo>
                  <a:lnTo>
                    <a:pt x="14328" y="19"/>
                  </a:lnTo>
                  <a:lnTo>
                    <a:pt x="1362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" name="Google Shape;113;p6"/>
            <p:cNvSpPr/>
            <p:nvPr/>
          </p:nvSpPr>
          <p:spPr>
            <a:xfrm>
              <a:off x="5231350" y="2663300"/>
              <a:ext cx="633825" cy="662575"/>
            </a:xfrm>
            <a:custGeom>
              <a:avLst/>
              <a:gdLst/>
              <a:ahLst/>
              <a:cxnLst/>
              <a:rect l="l" t="t" r="r" b="b"/>
              <a:pathLst>
                <a:path w="25353" h="26503" extrusionOk="0">
                  <a:moveTo>
                    <a:pt x="13196" y="4696"/>
                  </a:moveTo>
                  <a:lnTo>
                    <a:pt x="13939" y="4715"/>
                  </a:lnTo>
                  <a:lnTo>
                    <a:pt x="15256" y="4974"/>
                  </a:lnTo>
                  <a:lnTo>
                    <a:pt x="15832" y="5197"/>
                  </a:lnTo>
                  <a:lnTo>
                    <a:pt x="16388" y="5457"/>
                  </a:lnTo>
                  <a:lnTo>
                    <a:pt x="17298" y="6125"/>
                  </a:lnTo>
                  <a:lnTo>
                    <a:pt x="17687" y="6515"/>
                  </a:lnTo>
                  <a:lnTo>
                    <a:pt x="18040" y="6942"/>
                  </a:lnTo>
                  <a:lnTo>
                    <a:pt x="18578" y="7907"/>
                  </a:lnTo>
                  <a:lnTo>
                    <a:pt x="18764" y="8445"/>
                  </a:lnTo>
                  <a:lnTo>
                    <a:pt x="18912" y="9002"/>
                  </a:lnTo>
                  <a:lnTo>
                    <a:pt x="19079" y="10152"/>
                  </a:lnTo>
                  <a:lnTo>
                    <a:pt x="19098" y="10746"/>
                  </a:lnTo>
                  <a:lnTo>
                    <a:pt x="6274" y="10746"/>
                  </a:lnTo>
                  <a:lnTo>
                    <a:pt x="6329" y="10097"/>
                  </a:lnTo>
                  <a:lnTo>
                    <a:pt x="6664" y="8890"/>
                  </a:lnTo>
                  <a:lnTo>
                    <a:pt x="7202" y="7795"/>
                  </a:lnTo>
                  <a:lnTo>
                    <a:pt x="7963" y="6830"/>
                  </a:lnTo>
                  <a:lnTo>
                    <a:pt x="8427" y="6403"/>
                  </a:lnTo>
                  <a:lnTo>
                    <a:pt x="8928" y="5995"/>
                  </a:lnTo>
                  <a:lnTo>
                    <a:pt x="10023" y="5346"/>
                  </a:lnTo>
                  <a:lnTo>
                    <a:pt x="11210" y="4937"/>
                  </a:lnTo>
                  <a:lnTo>
                    <a:pt x="12510" y="4715"/>
                  </a:lnTo>
                  <a:lnTo>
                    <a:pt x="13196" y="4696"/>
                  </a:lnTo>
                  <a:close/>
                  <a:moveTo>
                    <a:pt x="13252" y="1"/>
                  </a:moveTo>
                  <a:lnTo>
                    <a:pt x="12565" y="19"/>
                  </a:lnTo>
                  <a:lnTo>
                    <a:pt x="11192" y="131"/>
                  </a:lnTo>
                  <a:lnTo>
                    <a:pt x="9893" y="372"/>
                  </a:lnTo>
                  <a:lnTo>
                    <a:pt x="8631" y="743"/>
                  </a:lnTo>
                  <a:lnTo>
                    <a:pt x="8018" y="966"/>
                  </a:lnTo>
                  <a:lnTo>
                    <a:pt x="7406" y="1226"/>
                  </a:lnTo>
                  <a:lnTo>
                    <a:pt x="6292" y="1801"/>
                  </a:lnTo>
                  <a:lnTo>
                    <a:pt x="5235" y="2469"/>
                  </a:lnTo>
                  <a:lnTo>
                    <a:pt x="4269" y="3248"/>
                  </a:lnTo>
                  <a:lnTo>
                    <a:pt x="3824" y="3675"/>
                  </a:lnTo>
                  <a:lnTo>
                    <a:pt x="3379" y="4121"/>
                  </a:lnTo>
                  <a:lnTo>
                    <a:pt x="2581" y="5086"/>
                  </a:lnTo>
                  <a:lnTo>
                    <a:pt x="1894" y="6144"/>
                  </a:lnTo>
                  <a:lnTo>
                    <a:pt x="1281" y="7294"/>
                  </a:lnTo>
                  <a:lnTo>
                    <a:pt x="1022" y="7907"/>
                  </a:lnTo>
                  <a:lnTo>
                    <a:pt x="780" y="8538"/>
                  </a:lnTo>
                  <a:lnTo>
                    <a:pt x="391" y="9837"/>
                  </a:lnTo>
                  <a:lnTo>
                    <a:pt x="149" y="11210"/>
                  </a:lnTo>
                  <a:lnTo>
                    <a:pt x="19" y="12658"/>
                  </a:lnTo>
                  <a:lnTo>
                    <a:pt x="1" y="13400"/>
                  </a:lnTo>
                  <a:lnTo>
                    <a:pt x="19" y="14161"/>
                  </a:lnTo>
                  <a:lnTo>
                    <a:pt x="149" y="15609"/>
                  </a:lnTo>
                  <a:lnTo>
                    <a:pt x="391" y="17000"/>
                  </a:lnTo>
                  <a:lnTo>
                    <a:pt x="780" y="18300"/>
                  </a:lnTo>
                  <a:lnTo>
                    <a:pt x="1022" y="18912"/>
                  </a:lnTo>
                  <a:lnTo>
                    <a:pt x="1281" y="19506"/>
                  </a:lnTo>
                  <a:lnTo>
                    <a:pt x="1894" y="20619"/>
                  </a:lnTo>
                  <a:lnTo>
                    <a:pt x="2599" y="21659"/>
                  </a:lnTo>
                  <a:lnTo>
                    <a:pt x="3397" y="22587"/>
                  </a:lnTo>
                  <a:lnTo>
                    <a:pt x="3843" y="23013"/>
                  </a:lnTo>
                  <a:lnTo>
                    <a:pt x="4288" y="23422"/>
                  </a:lnTo>
                  <a:lnTo>
                    <a:pt x="5272" y="24146"/>
                  </a:lnTo>
                  <a:lnTo>
                    <a:pt x="6348" y="24795"/>
                  </a:lnTo>
                  <a:lnTo>
                    <a:pt x="7480" y="25352"/>
                  </a:lnTo>
                  <a:lnTo>
                    <a:pt x="8093" y="25593"/>
                  </a:lnTo>
                  <a:lnTo>
                    <a:pt x="8705" y="25797"/>
                  </a:lnTo>
                  <a:lnTo>
                    <a:pt x="10004" y="26150"/>
                  </a:lnTo>
                  <a:lnTo>
                    <a:pt x="11340" y="26373"/>
                  </a:lnTo>
                  <a:lnTo>
                    <a:pt x="12732" y="26484"/>
                  </a:lnTo>
                  <a:lnTo>
                    <a:pt x="13475" y="26503"/>
                  </a:lnTo>
                  <a:lnTo>
                    <a:pt x="14236" y="26484"/>
                  </a:lnTo>
                  <a:lnTo>
                    <a:pt x="15683" y="26373"/>
                  </a:lnTo>
                  <a:lnTo>
                    <a:pt x="17075" y="26131"/>
                  </a:lnTo>
                  <a:lnTo>
                    <a:pt x="18374" y="25760"/>
                  </a:lnTo>
                  <a:lnTo>
                    <a:pt x="19599" y="25296"/>
                  </a:lnTo>
                  <a:lnTo>
                    <a:pt x="20731" y="24684"/>
                  </a:lnTo>
                  <a:lnTo>
                    <a:pt x="21789" y="23960"/>
                  </a:lnTo>
                  <a:lnTo>
                    <a:pt x="22773" y="23125"/>
                  </a:lnTo>
                  <a:lnTo>
                    <a:pt x="23237" y="22661"/>
                  </a:lnTo>
                  <a:lnTo>
                    <a:pt x="23422" y="22420"/>
                  </a:lnTo>
                  <a:lnTo>
                    <a:pt x="23608" y="21863"/>
                  </a:lnTo>
                  <a:lnTo>
                    <a:pt x="23552" y="21288"/>
                  </a:lnTo>
                  <a:lnTo>
                    <a:pt x="23274" y="20768"/>
                  </a:lnTo>
                  <a:lnTo>
                    <a:pt x="23051" y="20564"/>
                  </a:lnTo>
                  <a:lnTo>
                    <a:pt x="21158" y="19042"/>
                  </a:lnTo>
                  <a:lnTo>
                    <a:pt x="20935" y="18875"/>
                  </a:lnTo>
                  <a:lnTo>
                    <a:pt x="20434" y="18726"/>
                  </a:lnTo>
                  <a:lnTo>
                    <a:pt x="19915" y="18745"/>
                  </a:lnTo>
                  <a:lnTo>
                    <a:pt x="19432" y="18949"/>
                  </a:lnTo>
                  <a:lnTo>
                    <a:pt x="19246" y="19135"/>
                  </a:lnTo>
                  <a:lnTo>
                    <a:pt x="18820" y="19543"/>
                  </a:lnTo>
                  <a:lnTo>
                    <a:pt x="17892" y="20230"/>
                  </a:lnTo>
                  <a:lnTo>
                    <a:pt x="17372" y="20527"/>
                  </a:lnTo>
                  <a:lnTo>
                    <a:pt x="16964" y="20731"/>
                  </a:lnTo>
                  <a:lnTo>
                    <a:pt x="16073" y="21046"/>
                  </a:lnTo>
                  <a:lnTo>
                    <a:pt x="15071" y="21269"/>
                  </a:lnTo>
                  <a:lnTo>
                    <a:pt x="13994" y="21380"/>
                  </a:lnTo>
                  <a:lnTo>
                    <a:pt x="13419" y="21380"/>
                  </a:lnTo>
                  <a:lnTo>
                    <a:pt x="12732" y="21362"/>
                  </a:lnTo>
                  <a:lnTo>
                    <a:pt x="11433" y="21120"/>
                  </a:lnTo>
                  <a:lnTo>
                    <a:pt x="10802" y="20916"/>
                  </a:lnTo>
                  <a:lnTo>
                    <a:pt x="10190" y="20657"/>
                  </a:lnTo>
                  <a:lnTo>
                    <a:pt x="9076" y="20026"/>
                  </a:lnTo>
                  <a:lnTo>
                    <a:pt x="8557" y="19636"/>
                  </a:lnTo>
                  <a:lnTo>
                    <a:pt x="8074" y="19209"/>
                  </a:lnTo>
                  <a:lnTo>
                    <a:pt x="7295" y="18244"/>
                  </a:lnTo>
                  <a:lnTo>
                    <a:pt x="6979" y="17706"/>
                  </a:lnTo>
                  <a:lnTo>
                    <a:pt x="6682" y="17130"/>
                  </a:lnTo>
                  <a:lnTo>
                    <a:pt x="6329" y="15905"/>
                  </a:lnTo>
                  <a:lnTo>
                    <a:pt x="6274" y="15237"/>
                  </a:lnTo>
                  <a:lnTo>
                    <a:pt x="23905" y="15237"/>
                  </a:lnTo>
                  <a:lnTo>
                    <a:pt x="24202" y="15200"/>
                  </a:lnTo>
                  <a:lnTo>
                    <a:pt x="24721" y="14996"/>
                  </a:lnTo>
                  <a:lnTo>
                    <a:pt x="25111" y="14606"/>
                  </a:lnTo>
                  <a:lnTo>
                    <a:pt x="25334" y="14087"/>
                  </a:lnTo>
                  <a:lnTo>
                    <a:pt x="25352" y="13790"/>
                  </a:lnTo>
                  <a:lnTo>
                    <a:pt x="25352" y="13567"/>
                  </a:lnTo>
                  <a:lnTo>
                    <a:pt x="25352" y="12713"/>
                  </a:lnTo>
                  <a:lnTo>
                    <a:pt x="25222" y="11136"/>
                  </a:lnTo>
                  <a:lnTo>
                    <a:pt x="25000" y="9651"/>
                  </a:lnTo>
                  <a:lnTo>
                    <a:pt x="24666" y="8278"/>
                  </a:lnTo>
                  <a:lnTo>
                    <a:pt x="24443" y="7647"/>
                  </a:lnTo>
                  <a:lnTo>
                    <a:pt x="24202" y="7016"/>
                  </a:lnTo>
                  <a:lnTo>
                    <a:pt x="23663" y="5847"/>
                  </a:lnTo>
                  <a:lnTo>
                    <a:pt x="23032" y="4807"/>
                  </a:lnTo>
                  <a:lnTo>
                    <a:pt x="22309" y="3842"/>
                  </a:lnTo>
                  <a:lnTo>
                    <a:pt x="21919" y="3415"/>
                  </a:lnTo>
                  <a:lnTo>
                    <a:pt x="21511" y="3007"/>
                  </a:lnTo>
                  <a:lnTo>
                    <a:pt x="20620" y="2265"/>
                  </a:lnTo>
                  <a:lnTo>
                    <a:pt x="19655" y="1615"/>
                  </a:lnTo>
                  <a:lnTo>
                    <a:pt x="18634" y="1096"/>
                  </a:lnTo>
                  <a:lnTo>
                    <a:pt x="18077" y="873"/>
                  </a:lnTo>
                  <a:lnTo>
                    <a:pt x="17520" y="650"/>
                  </a:lnTo>
                  <a:lnTo>
                    <a:pt x="16370" y="335"/>
                  </a:lnTo>
                  <a:lnTo>
                    <a:pt x="15163" y="112"/>
                  </a:lnTo>
                  <a:lnTo>
                    <a:pt x="13901" y="19"/>
                  </a:lnTo>
                  <a:lnTo>
                    <a:pt x="1325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" name="Google Shape;114;p6"/>
            <p:cNvSpPr/>
            <p:nvPr/>
          </p:nvSpPr>
          <p:spPr>
            <a:xfrm>
              <a:off x="5884625" y="2663300"/>
              <a:ext cx="579075" cy="659800"/>
            </a:xfrm>
            <a:custGeom>
              <a:avLst/>
              <a:gdLst/>
              <a:ahLst/>
              <a:cxnLst/>
              <a:rect l="l" t="t" r="r" b="b"/>
              <a:pathLst>
                <a:path w="23163" h="26392" extrusionOk="0">
                  <a:moveTo>
                    <a:pt x="17223" y="14347"/>
                  </a:moveTo>
                  <a:lnTo>
                    <a:pt x="17223" y="15237"/>
                  </a:lnTo>
                  <a:lnTo>
                    <a:pt x="17205" y="15961"/>
                  </a:lnTo>
                  <a:lnTo>
                    <a:pt x="17001" y="17297"/>
                  </a:lnTo>
                  <a:lnTo>
                    <a:pt x="16574" y="18467"/>
                  </a:lnTo>
                  <a:lnTo>
                    <a:pt x="15943" y="19487"/>
                  </a:lnTo>
                  <a:lnTo>
                    <a:pt x="15553" y="19933"/>
                  </a:lnTo>
                  <a:lnTo>
                    <a:pt x="15108" y="20341"/>
                  </a:lnTo>
                  <a:lnTo>
                    <a:pt x="14087" y="20991"/>
                  </a:lnTo>
                  <a:lnTo>
                    <a:pt x="12862" y="21417"/>
                  </a:lnTo>
                  <a:lnTo>
                    <a:pt x="11433" y="21640"/>
                  </a:lnTo>
                  <a:lnTo>
                    <a:pt x="10653" y="21659"/>
                  </a:lnTo>
                  <a:lnTo>
                    <a:pt x="9855" y="21622"/>
                  </a:lnTo>
                  <a:lnTo>
                    <a:pt x="9076" y="21492"/>
                  </a:lnTo>
                  <a:lnTo>
                    <a:pt x="8705" y="21417"/>
                  </a:lnTo>
                  <a:lnTo>
                    <a:pt x="8000" y="21158"/>
                  </a:lnTo>
                  <a:lnTo>
                    <a:pt x="7666" y="20972"/>
                  </a:lnTo>
                  <a:lnTo>
                    <a:pt x="7369" y="20786"/>
                  </a:lnTo>
                  <a:lnTo>
                    <a:pt x="6867" y="20304"/>
                  </a:lnTo>
                  <a:lnTo>
                    <a:pt x="6645" y="20007"/>
                  </a:lnTo>
                  <a:lnTo>
                    <a:pt x="6478" y="19691"/>
                  </a:lnTo>
                  <a:lnTo>
                    <a:pt x="6274" y="18949"/>
                  </a:lnTo>
                  <a:lnTo>
                    <a:pt x="6255" y="18522"/>
                  </a:lnTo>
                  <a:lnTo>
                    <a:pt x="6274" y="18170"/>
                  </a:lnTo>
                  <a:lnTo>
                    <a:pt x="6385" y="17557"/>
                  </a:lnTo>
                  <a:lnTo>
                    <a:pt x="6626" y="17000"/>
                  </a:lnTo>
                  <a:lnTo>
                    <a:pt x="6979" y="16518"/>
                  </a:lnTo>
                  <a:lnTo>
                    <a:pt x="7202" y="16314"/>
                  </a:lnTo>
                  <a:lnTo>
                    <a:pt x="7684" y="15924"/>
                  </a:lnTo>
                  <a:lnTo>
                    <a:pt x="8872" y="15293"/>
                  </a:lnTo>
                  <a:lnTo>
                    <a:pt x="9540" y="15052"/>
                  </a:lnTo>
                  <a:lnTo>
                    <a:pt x="10264" y="14848"/>
                  </a:lnTo>
                  <a:lnTo>
                    <a:pt x="11804" y="14551"/>
                  </a:lnTo>
                  <a:lnTo>
                    <a:pt x="12621" y="14476"/>
                  </a:lnTo>
                  <a:lnTo>
                    <a:pt x="14272" y="14365"/>
                  </a:lnTo>
                  <a:lnTo>
                    <a:pt x="15813" y="14347"/>
                  </a:lnTo>
                  <a:close/>
                  <a:moveTo>
                    <a:pt x="12008" y="1"/>
                  </a:moveTo>
                  <a:lnTo>
                    <a:pt x="11284" y="19"/>
                  </a:lnTo>
                  <a:lnTo>
                    <a:pt x="9855" y="131"/>
                  </a:lnTo>
                  <a:lnTo>
                    <a:pt x="8445" y="390"/>
                  </a:lnTo>
                  <a:lnTo>
                    <a:pt x="7035" y="762"/>
                  </a:lnTo>
                  <a:lnTo>
                    <a:pt x="6348" y="1003"/>
                  </a:lnTo>
                  <a:lnTo>
                    <a:pt x="5327" y="1374"/>
                  </a:lnTo>
                  <a:lnTo>
                    <a:pt x="3434" y="2376"/>
                  </a:lnTo>
                  <a:lnTo>
                    <a:pt x="2580" y="3007"/>
                  </a:lnTo>
                  <a:lnTo>
                    <a:pt x="2339" y="3193"/>
                  </a:lnTo>
                  <a:lnTo>
                    <a:pt x="2061" y="3712"/>
                  </a:lnTo>
                  <a:lnTo>
                    <a:pt x="2005" y="4269"/>
                  </a:lnTo>
                  <a:lnTo>
                    <a:pt x="2191" y="4845"/>
                  </a:lnTo>
                  <a:lnTo>
                    <a:pt x="2358" y="5086"/>
                  </a:lnTo>
                  <a:lnTo>
                    <a:pt x="3712" y="6663"/>
                  </a:lnTo>
                  <a:lnTo>
                    <a:pt x="3898" y="6867"/>
                  </a:lnTo>
                  <a:lnTo>
                    <a:pt x="4381" y="7127"/>
                  </a:lnTo>
                  <a:lnTo>
                    <a:pt x="4900" y="7183"/>
                  </a:lnTo>
                  <a:lnTo>
                    <a:pt x="5420" y="7053"/>
                  </a:lnTo>
                  <a:lnTo>
                    <a:pt x="5661" y="6905"/>
                  </a:lnTo>
                  <a:lnTo>
                    <a:pt x="6107" y="6589"/>
                  </a:lnTo>
                  <a:lnTo>
                    <a:pt x="7127" y="5995"/>
                  </a:lnTo>
                  <a:lnTo>
                    <a:pt x="7684" y="5735"/>
                  </a:lnTo>
                  <a:lnTo>
                    <a:pt x="8129" y="5550"/>
                  </a:lnTo>
                  <a:lnTo>
                    <a:pt x="9057" y="5234"/>
                  </a:lnTo>
                  <a:lnTo>
                    <a:pt x="10022" y="5012"/>
                  </a:lnTo>
                  <a:lnTo>
                    <a:pt x="10988" y="4919"/>
                  </a:lnTo>
                  <a:lnTo>
                    <a:pt x="11489" y="4900"/>
                  </a:lnTo>
                  <a:lnTo>
                    <a:pt x="12064" y="4919"/>
                  </a:lnTo>
                  <a:lnTo>
                    <a:pt x="13159" y="5049"/>
                  </a:lnTo>
                  <a:lnTo>
                    <a:pt x="14161" y="5346"/>
                  </a:lnTo>
                  <a:lnTo>
                    <a:pt x="15089" y="5754"/>
                  </a:lnTo>
                  <a:lnTo>
                    <a:pt x="15534" y="6032"/>
                  </a:lnTo>
                  <a:lnTo>
                    <a:pt x="15924" y="6311"/>
                  </a:lnTo>
                  <a:lnTo>
                    <a:pt x="16574" y="7034"/>
                  </a:lnTo>
                  <a:lnTo>
                    <a:pt x="16982" y="7907"/>
                  </a:lnTo>
                  <a:lnTo>
                    <a:pt x="17205" y="8927"/>
                  </a:lnTo>
                  <a:lnTo>
                    <a:pt x="17223" y="9484"/>
                  </a:lnTo>
                  <a:lnTo>
                    <a:pt x="17223" y="10115"/>
                  </a:lnTo>
                  <a:lnTo>
                    <a:pt x="15757" y="10134"/>
                  </a:lnTo>
                  <a:lnTo>
                    <a:pt x="12769" y="10282"/>
                  </a:lnTo>
                  <a:lnTo>
                    <a:pt x="11247" y="10412"/>
                  </a:lnTo>
                  <a:lnTo>
                    <a:pt x="9744" y="10579"/>
                  </a:lnTo>
                  <a:lnTo>
                    <a:pt x="7647" y="11006"/>
                  </a:lnTo>
                  <a:lnTo>
                    <a:pt x="6329" y="11359"/>
                  </a:lnTo>
                  <a:lnTo>
                    <a:pt x="5698" y="11581"/>
                  </a:lnTo>
                  <a:lnTo>
                    <a:pt x="5067" y="11804"/>
                  </a:lnTo>
                  <a:lnTo>
                    <a:pt x="3935" y="12361"/>
                  </a:lnTo>
                  <a:lnTo>
                    <a:pt x="2914" y="12992"/>
                  </a:lnTo>
                  <a:lnTo>
                    <a:pt x="2005" y="13734"/>
                  </a:lnTo>
                  <a:lnTo>
                    <a:pt x="1597" y="14142"/>
                  </a:lnTo>
                  <a:lnTo>
                    <a:pt x="1207" y="14569"/>
                  </a:lnTo>
                  <a:lnTo>
                    <a:pt x="613" y="15553"/>
                  </a:lnTo>
                  <a:lnTo>
                    <a:pt x="223" y="16666"/>
                  </a:lnTo>
                  <a:lnTo>
                    <a:pt x="19" y="17928"/>
                  </a:lnTo>
                  <a:lnTo>
                    <a:pt x="1" y="18615"/>
                  </a:lnTo>
                  <a:lnTo>
                    <a:pt x="19" y="19172"/>
                  </a:lnTo>
                  <a:lnTo>
                    <a:pt x="131" y="20174"/>
                  </a:lnTo>
                  <a:lnTo>
                    <a:pt x="353" y="21083"/>
                  </a:lnTo>
                  <a:lnTo>
                    <a:pt x="706" y="21919"/>
                  </a:lnTo>
                  <a:lnTo>
                    <a:pt x="910" y="22308"/>
                  </a:lnTo>
                  <a:lnTo>
                    <a:pt x="1151" y="22661"/>
                  </a:lnTo>
                  <a:lnTo>
                    <a:pt x="1671" y="23348"/>
                  </a:lnTo>
                  <a:lnTo>
                    <a:pt x="2246" y="23941"/>
                  </a:lnTo>
                  <a:lnTo>
                    <a:pt x="2877" y="24461"/>
                  </a:lnTo>
                  <a:lnTo>
                    <a:pt x="3211" y="24702"/>
                  </a:lnTo>
                  <a:lnTo>
                    <a:pt x="3917" y="25129"/>
                  </a:lnTo>
                  <a:lnTo>
                    <a:pt x="5420" y="25779"/>
                  </a:lnTo>
                  <a:lnTo>
                    <a:pt x="6236" y="26001"/>
                  </a:lnTo>
                  <a:lnTo>
                    <a:pt x="7053" y="26187"/>
                  </a:lnTo>
                  <a:lnTo>
                    <a:pt x="8631" y="26373"/>
                  </a:lnTo>
                  <a:lnTo>
                    <a:pt x="9391" y="26391"/>
                  </a:lnTo>
                  <a:lnTo>
                    <a:pt x="10060" y="26391"/>
                  </a:lnTo>
                  <a:lnTo>
                    <a:pt x="11303" y="26243"/>
                  </a:lnTo>
                  <a:lnTo>
                    <a:pt x="12491" y="25983"/>
                  </a:lnTo>
                  <a:lnTo>
                    <a:pt x="13604" y="25575"/>
                  </a:lnTo>
                  <a:lnTo>
                    <a:pt x="14143" y="25315"/>
                  </a:lnTo>
                  <a:lnTo>
                    <a:pt x="14644" y="25055"/>
                  </a:lnTo>
                  <a:lnTo>
                    <a:pt x="15553" y="24442"/>
                  </a:lnTo>
                  <a:lnTo>
                    <a:pt x="16314" y="23756"/>
                  </a:lnTo>
                  <a:lnTo>
                    <a:pt x="16926" y="22995"/>
                  </a:lnTo>
                  <a:lnTo>
                    <a:pt x="17168" y="22587"/>
                  </a:lnTo>
                  <a:lnTo>
                    <a:pt x="17316" y="22587"/>
                  </a:lnTo>
                  <a:lnTo>
                    <a:pt x="17316" y="24313"/>
                  </a:lnTo>
                  <a:lnTo>
                    <a:pt x="17335" y="24610"/>
                  </a:lnTo>
                  <a:lnTo>
                    <a:pt x="17557" y="25129"/>
                  </a:lnTo>
                  <a:lnTo>
                    <a:pt x="17947" y="25519"/>
                  </a:lnTo>
                  <a:lnTo>
                    <a:pt x="18467" y="25742"/>
                  </a:lnTo>
                  <a:lnTo>
                    <a:pt x="18764" y="25760"/>
                  </a:lnTo>
                  <a:lnTo>
                    <a:pt x="21715" y="25760"/>
                  </a:lnTo>
                  <a:lnTo>
                    <a:pt x="22011" y="25742"/>
                  </a:lnTo>
                  <a:lnTo>
                    <a:pt x="22531" y="25519"/>
                  </a:lnTo>
                  <a:lnTo>
                    <a:pt x="22921" y="25129"/>
                  </a:lnTo>
                  <a:lnTo>
                    <a:pt x="23144" y="24610"/>
                  </a:lnTo>
                  <a:lnTo>
                    <a:pt x="23162" y="24313"/>
                  </a:lnTo>
                  <a:lnTo>
                    <a:pt x="23162" y="10542"/>
                  </a:lnTo>
                  <a:lnTo>
                    <a:pt x="23144" y="9596"/>
                  </a:lnTo>
                  <a:lnTo>
                    <a:pt x="22902" y="7721"/>
                  </a:lnTo>
                  <a:lnTo>
                    <a:pt x="22661" y="6775"/>
                  </a:lnTo>
                  <a:lnTo>
                    <a:pt x="22531" y="6311"/>
                  </a:lnTo>
                  <a:lnTo>
                    <a:pt x="22197" y="5420"/>
                  </a:lnTo>
                  <a:lnTo>
                    <a:pt x="21752" y="4566"/>
                  </a:lnTo>
                  <a:lnTo>
                    <a:pt x="21232" y="3768"/>
                  </a:lnTo>
                  <a:lnTo>
                    <a:pt x="20917" y="3378"/>
                  </a:lnTo>
                  <a:lnTo>
                    <a:pt x="20917" y="3397"/>
                  </a:lnTo>
                  <a:lnTo>
                    <a:pt x="20601" y="3026"/>
                  </a:lnTo>
                  <a:lnTo>
                    <a:pt x="19859" y="2339"/>
                  </a:lnTo>
                  <a:lnTo>
                    <a:pt x="19005" y="1727"/>
                  </a:lnTo>
                  <a:lnTo>
                    <a:pt x="18040" y="1188"/>
                  </a:lnTo>
                  <a:lnTo>
                    <a:pt x="17502" y="947"/>
                  </a:lnTo>
                  <a:lnTo>
                    <a:pt x="16945" y="724"/>
                  </a:lnTo>
                  <a:lnTo>
                    <a:pt x="15720" y="372"/>
                  </a:lnTo>
                  <a:lnTo>
                    <a:pt x="14347" y="131"/>
                  </a:lnTo>
                  <a:lnTo>
                    <a:pt x="12825" y="19"/>
                  </a:lnTo>
                  <a:lnTo>
                    <a:pt x="1200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" name="Google Shape;115;p6"/>
            <p:cNvSpPr/>
            <p:nvPr/>
          </p:nvSpPr>
          <p:spPr>
            <a:xfrm>
              <a:off x="6545800" y="2664225"/>
              <a:ext cx="373975" cy="643550"/>
            </a:xfrm>
            <a:custGeom>
              <a:avLst/>
              <a:gdLst/>
              <a:ahLst/>
              <a:cxnLst/>
              <a:rect l="l" t="t" r="r" b="b"/>
              <a:pathLst>
                <a:path w="14959" h="25742" extrusionOk="0">
                  <a:moveTo>
                    <a:pt x="13400" y="1"/>
                  </a:moveTo>
                  <a:lnTo>
                    <a:pt x="13400" y="19"/>
                  </a:lnTo>
                  <a:lnTo>
                    <a:pt x="12639" y="75"/>
                  </a:lnTo>
                  <a:lnTo>
                    <a:pt x="11339" y="279"/>
                  </a:lnTo>
                  <a:lnTo>
                    <a:pt x="10300" y="613"/>
                  </a:lnTo>
                  <a:lnTo>
                    <a:pt x="9409" y="1059"/>
                  </a:lnTo>
                  <a:lnTo>
                    <a:pt x="9020" y="1318"/>
                  </a:lnTo>
                  <a:lnTo>
                    <a:pt x="8556" y="1671"/>
                  </a:lnTo>
                  <a:lnTo>
                    <a:pt x="7721" y="2451"/>
                  </a:lnTo>
                  <a:lnTo>
                    <a:pt x="6997" y="3341"/>
                  </a:lnTo>
                  <a:lnTo>
                    <a:pt x="6366" y="4325"/>
                  </a:lnTo>
                  <a:lnTo>
                    <a:pt x="6106" y="4863"/>
                  </a:lnTo>
                  <a:lnTo>
                    <a:pt x="5995" y="4863"/>
                  </a:lnTo>
                  <a:lnTo>
                    <a:pt x="5995" y="2135"/>
                  </a:lnTo>
                  <a:lnTo>
                    <a:pt x="5976" y="1838"/>
                  </a:lnTo>
                  <a:lnTo>
                    <a:pt x="5753" y="1318"/>
                  </a:lnTo>
                  <a:lnTo>
                    <a:pt x="5364" y="929"/>
                  </a:lnTo>
                  <a:lnTo>
                    <a:pt x="4844" y="706"/>
                  </a:lnTo>
                  <a:lnTo>
                    <a:pt x="4547" y="687"/>
                  </a:lnTo>
                  <a:lnTo>
                    <a:pt x="1448" y="687"/>
                  </a:lnTo>
                  <a:lnTo>
                    <a:pt x="1151" y="706"/>
                  </a:lnTo>
                  <a:lnTo>
                    <a:pt x="631" y="929"/>
                  </a:lnTo>
                  <a:lnTo>
                    <a:pt x="241" y="1318"/>
                  </a:lnTo>
                  <a:lnTo>
                    <a:pt x="19" y="1838"/>
                  </a:lnTo>
                  <a:lnTo>
                    <a:pt x="0" y="2135"/>
                  </a:lnTo>
                  <a:lnTo>
                    <a:pt x="0" y="24276"/>
                  </a:lnTo>
                  <a:lnTo>
                    <a:pt x="19" y="24573"/>
                  </a:lnTo>
                  <a:lnTo>
                    <a:pt x="241" y="25092"/>
                  </a:lnTo>
                  <a:lnTo>
                    <a:pt x="631" y="25500"/>
                  </a:lnTo>
                  <a:lnTo>
                    <a:pt x="1151" y="25705"/>
                  </a:lnTo>
                  <a:lnTo>
                    <a:pt x="1448" y="25742"/>
                  </a:lnTo>
                  <a:lnTo>
                    <a:pt x="4807" y="25742"/>
                  </a:lnTo>
                  <a:lnTo>
                    <a:pt x="5104" y="25705"/>
                  </a:lnTo>
                  <a:lnTo>
                    <a:pt x="5623" y="25500"/>
                  </a:lnTo>
                  <a:lnTo>
                    <a:pt x="6013" y="25092"/>
                  </a:lnTo>
                  <a:lnTo>
                    <a:pt x="6236" y="24573"/>
                  </a:lnTo>
                  <a:lnTo>
                    <a:pt x="6254" y="24276"/>
                  </a:lnTo>
                  <a:lnTo>
                    <a:pt x="6254" y="12324"/>
                  </a:lnTo>
                  <a:lnTo>
                    <a:pt x="6273" y="11971"/>
                  </a:lnTo>
                  <a:lnTo>
                    <a:pt x="6403" y="11062"/>
                  </a:lnTo>
                  <a:lnTo>
                    <a:pt x="6514" y="10505"/>
                  </a:lnTo>
                  <a:lnTo>
                    <a:pt x="6663" y="9930"/>
                  </a:lnTo>
                  <a:lnTo>
                    <a:pt x="7164" y="8816"/>
                  </a:lnTo>
                  <a:lnTo>
                    <a:pt x="7516" y="8259"/>
                  </a:lnTo>
                  <a:lnTo>
                    <a:pt x="7906" y="7721"/>
                  </a:lnTo>
                  <a:lnTo>
                    <a:pt x="8908" y="6775"/>
                  </a:lnTo>
                  <a:lnTo>
                    <a:pt x="9539" y="6385"/>
                  </a:lnTo>
                  <a:lnTo>
                    <a:pt x="10170" y="6014"/>
                  </a:lnTo>
                  <a:lnTo>
                    <a:pt x="11636" y="5439"/>
                  </a:lnTo>
                  <a:lnTo>
                    <a:pt x="12917" y="5142"/>
                  </a:lnTo>
                  <a:lnTo>
                    <a:pt x="13678" y="5030"/>
                  </a:lnTo>
                  <a:lnTo>
                    <a:pt x="13938" y="4993"/>
                  </a:lnTo>
                  <a:lnTo>
                    <a:pt x="14420" y="4752"/>
                  </a:lnTo>
                  <a:lnTo>
                    <a:pt x="14754" y="4344"/>
                  </a:lnTo>
                  <a:lnTo>
                    <a:pt x="14940" y="3861"/>
                  </a:lnTo>
                  <a:lnTo>
                    <a:pt x="14958" y="3583"/>
                  </a:lnTo>
                  <a:lnTo>
                    <a:pt x="14940" y="1430"/>
                  </a:lnTo>
                  <a:lnTo>
                    <a:pt x="14903" y="1133"/>
                  </a:lnTo>
                  <a:lnTo>
                    <a:pt x="14661" y="595"/>
                  </a:lnTo>
                  <a:lnTo>
                    <a:pt x="14253" y="205"/>
                  </a:lnTo>
                  <a:lnTo>
                    <a:pt x="1369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" name="Google Shape;116;p6"/>
            <p:cNvSpPr/>
            <p:nvPr/>
          </p:nvSpPr>
          <p:spPr>
            <a:xfrm>
              <a:off x="6961975" y="2500450"/>
              <a:ext cx="420375" cy="820325"/>
            </a:xfrm>
            <a:custGeom>
              <a:avLst/>
              <a:gdLst/>
              <a:ahLst/>
              <a:cxnLst/>
              <a:rect l="l" t="t" r="r" b="b"/>
              <a:pathLst>
                <a:path w="16815" h="32813" extrusionOk="0">
                  <a:moveTo>
                    <a:pt x="5846" y="1"/>
                  </a:moveTo>
                  <a:lnTo>
                    <a:pt x="5549" y="19"/>
                  </a:lnTo>
                  <a:lnTo>
                    <a:pt x="5030" y="242"/>
                  </a:lnTo>
                  <a:lnTo>
                    <a:pt x="4621" y="632"/>
                  </a:lnTo>
                  <a:lnTo>
                    <a:pt x="4417" y="1151"/>
                  </a:lnTo>
                  <a:lnTo>
                    <a:pt x="4399" y="1448"/>
                  </a:lnTo>
                  <a:lnTo>
                    <a:pt x="4399" y="6515"/>
                  </a:lnTo>
                  <a:lnTo>
                    <a:pt x="1448" y="6515"/>
                  </a:lnTo>
                  <a:lnTo>
                    <a:pt x="1169" y="6533"/>
                  </a:lnTo>
                  <a:lnTo>
                    <a:pt x="650" y="6756"/>
                  </a:lnTo>
                  <a:lnTo>
                    <a:pt x="242" y="7146"/>
                  </a:lnTo>
                  <a:lnTo>
                    <a:pt x="19" y="7665"/>
                  </a:lnTo>
                  <a:lnTo>
                    <a:pt x="0" y="7962"/>
                  </a:lnTo>
                  <a:lnTo>
                    <a:pt x="0" y="10078"/>
                  </a:lnTo>
                  <a:lnTo>
                    <a:pt x="19" y="10375"/>
                  </a:lnTo>
                  <a:lnTo>
                    <a:pt x="242" y="10895"/>
                  </a:lnTo>
                  <a:lnTo>
                    <a:pt x="650" y="11284"/>
                  </a:lnTo>
                  <a:lnTo>
                    <a:pt x="1169" y="11507"/>
                  </a:lnTo>
                  <a:lnTo>
                    <a:pt x="1448" y="11526"/>
                  </a:lnTo>
                  <a:lnTo>
                    <a:pt x="4399" y="11526"/>
                  </a:lnTo>
                  <a:lnTo>
                    <a:pt x="4399" y="23941"/>
                  </a:lnTo>
                  <a:lnTo>
                    <a:pt x="4399" y="24851"/>
                  </a:lnTo>
                  <a:lnTo>
                    <a:pt x="4566" y="26558"/>
                  </a:lnTo>
                  <a:lnTo>
                    <a:pt x="4733" y="27356"/>
                  </a:lnTo>
                  <a:lnTo>
                    <a:pt x="4918" y="28136"/>
                  </a:lnTo>
                  <a:lnTo>
                    <a:pt x="5549" y="29546"/>
                  </a:lnTo>
                  <a:lnTo>
                    <a:pt x="5976" y="30177"/>
                  </a:lnTo>
                  <a:lnTo>
                    <a:pt x="6217" y="30474"/>
                  </a:lnTo>
                  <a:lnTo>
                    <a:pt x="6756" y="31031"/>
                  </a:lnTo>
                  <a:lnTo>
                    <a:pt x="7368" y="31513"/>
                  </a:lnTo>
                  <a:lnTo>
                    <a:pt x="8073" y="31922"/>
                  </a:lnTo>
                  <a:lnTo>
                    <a:pt x="8463" y="32107"/>
                  </a:lnTo>
                  <a:lnTo>
                    <a:pt x="8853" y="32274"/>
                  </a:lnTo>
                  <a:lnTo>
                    <a:pt x="9762" y="32534"/>
                  </a:lnTo>
                  <a:lnTo>
                    <a:pt x="10783" y="32720"/>
                  </a:lnTo>
                  <a:lnTo>
                    <a:pt x="11915" y="32794"/>
                  </a:lnTo>
                  <a:lnTo>
                    <a:pt x="12527" y="32812"/>
                  </a:lnTo>
                  <a:lnTo>
                    <a:pt x="13047" y="32794"/>
                  </a:lnTo>
                  <a:lnTo>
                    <a:pt x="14142" y="32701"/>
                  </a:lnTo>
                  <a:lnTo>
                    <a:pt x="14717" y="32627"/>
                  </a:lnTo>
                  <a:lnTo>
                    <a:pt x="15274" y="32534"/>
                  </a:lnTo>
                  <a:lnTo>
                    <a:pt x="16276" y="32274"/>
                  </a:lnTo>
                  <a:lnTo>
                    <a:pt x="16703" y="32126"/>
                  </a:lnTo>
                  <a:lnTo>
                    <a:pt x="16499" y="27226"/>
                  </a:lnTo>
                  <a:lnTo>
                    <a:pt x="15887" y="27467"/>
                  </a:lnTo>
                  <a:lnTo>
                    <a:pt x="15181" y="27616"/>
                  </a:lnTo>
                  <a:lnTo>
                    <a:pt x="14476" y="27727"/>
                  </a:lnTo>
                  <a:lnTo>
                    <a:pt x="13827" y="27746"/>
                  </a:lnTo>
                  <a:lnTo>
                    <a:pt x="13326" y="27746"/>
                  </a:lnTo>
                  <a:lnTo>
                    <a:pt x="12472" y="27597"/>
                  </a:lnTo>
                  <a:lnTo>
                    <a:pt x="11804" y="27319"/>
                  </a:lnTo>
                  <a:lnTo>
                    <a:pt x="11303" y="26911"/>
                  </a:lnTo>
                  <a:lnTo>
                    <a:pt x="11154" y="26651"/>
                  </a:lnTo>
                  <a:lnTo>
                    <a:pt x="11006" y="26372"/>
                  </a:lnTo>
                  <a:lnTo>
                    <a:pt x="10783" y="25760"/>
                  </a:lnTo>
                  <a:lnTo>
                    <a:pt x="10560" y="24702"/>
                  </a:lnTo>
                  <a:lnTo>
                    <a:pt x="10542" y="23886"/>
                  </a:lnTo>
                  <a:lnTo>
                    <a:pt x="10542" y="11526"/>
                  </a:lnTo>
                  <a:lnTo>
                    <a:pt x="15367" y="11526"/>
                  </a:lnTo>
                  <a:lnTo>
                    <a:pt x="15645" y="11507"/>
                  </a:lnTo>
                  <a:lnTo>
                    <a:pt x="16165" y="11284"/>
                  </a:lnTo>
                  <a:lnTo>
                    <a:pt x="16573" y="10895"/>
                  </a:lnTo>
                  <a:lnTo>
                    <a:pt x="16796" y="10375"/>
                  </a:lnTo>
                  <a:lnTo>
                    <a:pt x="16815" y="10078"/>
                  </a:lnTo>
                  <a:lnTo>
                    <a:pt x="16815" y="7962"/>
                  </a:lnTo>
                  <a:lnTo>
                    <a:pt x="16796" y="7665"/>
                  </a:lnTo>
                  <a:lnTo>
                    <a:pt x="16573" y="7146"/>
                  </a:lnTo>
                  <a:lnTo>
                    <a:pt x="16165" y="6756"/>
                  </a:lnTo>
                  <a:lnTo>
                    <a:pt x="15645" y="6533"/>
                  </a:lnTo>
                  <a:lnTo>
                    <a:pt x="15367" y="6515"/>
                  </a:lnTo>
                  <a:lnTo>
                    <a:pt x="10542" y="6515"/>
                  </a:lnTo>
                  <a:lnTo>
                    <a:pt x="10542" y="1448"/>
                  </a:lnTo>
                  <a:lnTo>
                    <a:pt x="10523" y="1151"/>
                  </a:lnTo>
                  <a:lnTo>
                    <a:pt x="10300" y="632"/>
                  </a:lnTo>
                  <a:lnTo>
                    <a:pt x="9911" y="242"/>
                  </a:lnTo>
                  <a:lnTo>
                    <a:pt x="9391" y="19"/>
                  </a:lnTo>
                  <a:lnTo>
                    <a:pt x="909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" name="Google Shape;117;p6"/>
            <p:cNvSpPr/>
            <p:nvPr/>
          </p:nvSpPr>
          <p:spPr>
            <a:xfrm>
              <a:off x="4511750" y="2466575"/>
              <a:ext cx="655150" cy="841200"/>
            </a:xfrm>
            <a:custGeom>
              <a:avLst/>
              <a:gdLst/>
              <a:ahLst/>
              <a:cxnLst/>
              <a:rect l="l" t="t" r="r" b="b"/>
              <a:pathLst>
                <a:path w="26206" h="33648" extrusionOk="0">
                  <a:moveTo>
                    <a:pt x="1466" y="1"/>
                  </a:moveTo>
                  <a:lnTo>
                    <a:pt x="1169" y="19"/>
                  </a:lnTo>
                  <a:lnTo>
                    <a:pt x="650" y="242"/>
                  </a:lnTo>
                  <a:lnTo>
                    <a:pt x="241" y="632"/>
                  </a:lnTo>
                  <a:lnTo>
                    <a:pt x="19" y="1151"/>
                  </a:lnTo>
                  <a:lnTo>
                    <a:pt x="0" y="1448"/>
                  </a:lnTo>
                  <a:lnTo>
                    <a:pt x="0" y="32200"/>
                  </a:lnTo>
                  <a:lnTo>
                    <a:pt x="19" y="32497"/>
                  </a:lnTo>
                  <a:lnTo>
                    <a:pt x="241" y="33017"/>
                  </a:lnTo>
                  <a:lnTo>
                    <a:pt x="650" y="33406"/>
                  </a:lnTo>
                  <a:lnTo>
                    <a:pt x="1169" y="33629"/>
                  </a:lnTo>
                  <a:lnTo>
                    <a:pt x="1466" y="33648"/>
                  </a:lnTo>
                  <a:lnTo>
                    <a:pt x="4825" y="33648"/>
                  </a:lnTo>
                  <a:lnTo>
                    <a:pt x="5122" y="33629"/>
                  </a:lnTo>
                  <a:lnTo>
                    <a:pt x="5642" y="33406"/>
                  </a:lnTo>
                  <a:lnTo>
                    <a:pt x="6032" y="33017"/>
                  </a:lnTo>
                  <a:lnTo>
                    <a:pt x="6255" y="32497"/>
                  </a:lnTo>
                  <a:lnTo>
                    <a:pt x="6273" y="32200"/>
                  </a:lnTo>
                  <a:lnTo>
                    <a:pt x="6273" y="18133"/>
                  </a:lnTo>
                  <a:lnTo>
                    <a:pt x="19932" y="18133"/>
                  </a:lnTo>
                  <a:lnTo>
                    <a:pt x="19932" y="32200"/>
                  </a:lnTo>
                  <a:lnTo>
                    <a:pt x="19951" y="32497"/>
                  </a:lnTo>
                  <a:lnTo>
                    <a:pt x="20174" y="33017"/>
                  </a:lnTo>
                  <a:lnTo>
                    <a:pt x="20563" y="33406"/>
                  </a:lnTo>
                  <a:lnTo>
                    <a:pt x="21083" y="33629"/>
                  </a:lnTo>
                  <a:lnTo>
                    <a:pt x="21380" y="33648"/>
                  </a:lnTo>
                  <a:lnTo>
                    <a:pt x="24758" y="33648"/>
                  </a:lnTo>
                  <a:lnTo>
                    <a:pt x="25036" y="33629"/>
                  </a:lnTo>
                  <a:lnTo>
                    <a:pt x="25556" y="33406"/>
                  </a:lnTo>
                  <a:lnTo>
                    <a:pt x="25964" y="33017"/>
                  </a:lnTo>
                  <a:lnTo>
                    <a:pt x="26187" y="32497"/>
                  </a:lnTo>
                  <a:lnTo>
                    <a:pt x="26205" y="32200"/>
                  </a:lnTo>
                  <a:lnTo>
                    <a:pt x="26205" y="1448"/>
                  </a:lnTo>
                  <a:lnTo>
                    <a:pt x="26187" y="1151"/>
                  </a:lnTo>
                  <a:lnTo>
                    <a:pt x="25964" y="632"/>
                  </a:lnTo>
                  <a:lnTo>
                    <a:pt x="25556" y="242"/>
                  </a:lnTo>
                  <a:lnTo>
                    <a:pt x="25036" y="19"/>
                  </a:lnTo>
                  <a:lnTo>
                    <a:pt x="24758" y="1"/>
                  </a:lnTo>
                  <a:lnTo>
                    <a:pt x="21380" y="1"/>
                  </a:lnTo>
                  <a:lnTo>
                    <a:pt x="21083" y="19"/>
                  </a:lnTo>
                  <a:lnTo>
                    <a:pt x="20563" y="242"/>
                  </a:lnTo>
                  <a:lnTo>
                    <a:pt x="20174" y="632"/>
                  </a:lnTo>
                  <a:lnTo>
                    <a:pt x="19951" y="1151"/>
                  </a:lnTo>
                  <a:lnTo>
                    <a:pt x="19932" y="1448"/>
                  </a:lnTo>
                  <a:lnTo>
                    <a:pt x="19932" y="13641"/>
                  </a:lnTo>
                  <a:lnTo>
                    <a:pt x="6273" y="13641"/>
                  </a:lnTo>
                  <a:lnTo>
                    <a:pt x="6273" y="1448"/>
                  </a:lnTo>
                  <a:lnTo>
                    <a:pt x="6255" y="1151"/>
                  </a:lnTo>
                  <a:lnTo>
                    <a:pt x="6032" y="632"/>
                  </a:lnTo>
                  <a:lnTo>
                    <a:pt x="5642" y="242"/>
                  </a:lnTo>
                  <a:lnTo>
                    <a:pt x="5122" y="19"/>
                  </a:lnTo>
                  <a:lnTo>
                    <a:pt x="482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" name="Google Shape;118;p6"/>
            <p:cNvSpPr/>
            <p:nvPr/>
          </p:nvSpPr>
          <p:spPr>
            <a:xfrm>
              <a:off x="2392800" y="2663300"/>
              <a:ext cx="633800" cy="662575"/>
            </a:xfrm>
            <a:custGeom>
              <a:avLst/>
              <a:gdLst/>
              <a:ahLst/>
              <a:cxnLst/>
              <a:rect l="l" t="t" r="r" b="b"/>
              <a:pathLst>
                <a:path w="25352" h="26503" extrusionOk="0">
                  <a:moveTo>
                    <a:pt x="13195" y="4696"/>
                  </a:moveTo>
                  <a:lnTo>
                    <a:pt x="13938" y="4715"/>
                  </a:lnTo>
                  <a:lnTo>
                    <a:pt x="15255" y="4974"/>
                  </a:lnTo>
                  <a:lnTo>
                    <a:pt x="15831" y="5197"/>
                  </a:lnTo>
                  <a:lnTo>
                    <a:pt x="16369" y="5457"/>
                  </a:lnTo>
                  <a:lnTo>
                    <a:pt x="17297" y="6125"/>
                  </a:lnTo>
                  <a:lnTo>
                    <a:pt x="17687" y="6515"/>
                  </a:lnTo>
                  <a:lnTo>
                    <a:pt x="18039" y="6942"/>
                  </a:lnTo>
                  <a:lnTo>
                    <a:pt x="18559" y="7907"/>
                  </a:lnTo>
                  <a:lnTo>
                    <a:pt x="18745" y="8445"/>
                  </a:lnTo>
                  <a:lnTo>
                    <a:pt x="18912" y="9002"/>
                  </a:lnTo>
                  <a:lnTo>
                    <a:pt x="19079" y="10152"/>
                  </a:lnTo>
                  <a:lnTo>
                    <a:pt x="19097" y="10746"/>
                  </a:lnTo>
                  <a:lnTo>
                    <a:pt x="6254" y="10746"/>
                  </a:lnTo>
                  <a:lnTo>
                    <a:pt x="6329" y="10097"/>
                  </a:lnTo>
                  <a:lnTo>
                    <a:pt x="6663" y="8890"/>
                  </a:lnTo>
                  <a:lnTo>
                    <a:pt x="7201" y="7795"/>
                  </a:lnTo>
                  <a:lnTo>
                    <a:pt x="7962" y="6830"/>
                  </a:lnTo>
                  <a:lnTo>
                    <a:pt x="8426" y="6403"/>
                  </a:lnTo>
                  <a:lnTo>
                    <a:pt x="8927" y="5995"/>
                  </a:lnTo>
                  <a:lnTo>
                    <a:pt x="10003" y="5346"/>
                  </a:lnTo>
                  <a:lnTo>
                    <a:pt x="11210" y="4937"/>
                  </a:lnTo>
                  <a:lnTo>
                    <a:pt x="12509" y="4715"/>
                  </a:lnTo>
                  <a:lnTo>
                    <a:pt x="13195" y="4696"/>
                  </a:lnTo>
                  <a:close/>
                  <a:moveTo>
                    <a:pt x="13251" y="1"/>
                  </a:moveTo>
                  <a:lnTo>
                    <a:pt x="12546" y="19"/>
                  </a:lnTo>
                  <a:lnTo>
                    <a:pt x="11191" y="131"/>
                  </a:lnTo>
                  <a:lnTo>
                    <a:pt x="9873" y="372"/>
                  </a:lnTo>
                  <a:lnTo>
                    <a:pt x="8611" y="743"/>
                  </a:lnTo>
                  <a:lnTo>
                    <a:pt x="8018" y="966"/>
                  </a:lnTo>
                  <a:lnTo>
                    <a:pt x="7405" y="1226"/>
                  </a:lnTo>
                  <a:lnTo>
                    <a:pt x="6273" y="1801"/>
                  </a:lnTo>
                  <a:lnTo>
                    <a:pt x="5234" y="2469"/>
                  </a:lnTo>
                  <a:lnTo>
                    <a:pt x="4269" y="3248"/>
                  </a:lnTo>
                  <a:lnTo>
                    <a:pt x="3805" y="3675"/>
                  </a:lnTo>
                  <a:lnTo>
                    <a:pt x="3378" y="4121"/>
                  </a:lnTo>
                  <a:lnTo>
                    <a:pt x="2580" y="5086"/>
                  </a:lnTo>
                  <a:lnTo>
                    <a:pt x="1875" y="6144"/>
                  </a:lnTo>
                  <a:lnTo>
                    <a:pt x="1281" y="7294"/>
                  </a:lnTo>
                  <a:lnTo>
                    <a:pt x="1021" y="7907"/>
                  </a:lnTo>
                  <a:lnTo>
                    <a:pt x="780" y="8538"/>
                  </a:lnTo>
                  <a:lnTo>
                    <a:pt x="390" y="9837"/>
                  </a:lnTo>
                  <a:lnTo>
                    <a:pt x="130" y="11210"/>
                  </a:lnTo>
                  <a:lnTo>
                    <a:pt x="19" y="12658"/>
                  </a:lnTo>
                  <a:lnTo>
                    <a:pt x="0" y="13400"/>
                  </a:lnTo>
                  <a:lnTo>
                    <a:pt x="19" y="14161"/>
                  </a:lnTo>
                  <a:lnTo>
                    <a:pt x="130" y="15609"/>
                  </a:lnTo>
                  <a:lnTo>
                    <a:pt x="390" y="17000"/>
                  </a:lnTo>
                  <a:lnTo>
                    <a:pt x="780" y="18300"/>
                  </a:lnTo>
                  <a:lnTo>
                    <a:pt x="1021" y="18912"/>
                  </a:lnTo>
                  <a:lnTo>
                    <a:pt x="1281" y="19506"/>
                  </a:lnTo>
                  <a:lnTo>
                    <a:pt x="1893" y="20619"/>
                  </a:lnTo>
                  <a:lnTo>
                    <a:pt x="2598" y="21659"/>
                  </a:lnTo>
                  <a:lnTo>
                    <a:pt x="3396" y="22587"/>
                  </a:lnTo>
                  <a:lnTo>
                    <a:pt x="3842" y="23013"/>
                  </a:lnTo>
                  <a:lnTo>
                    <a:pt x="4287" y="23422"/>
                  </a:lnTo>
                  <a:lnTo>
                    <a:pt x="5271" y="24146"/>
                  </a:lnTo>
                  <a:lnTo>
                    <a:pt x="6329" y="24795"/>
                  </a:lnTo>
                  <a:lnTo>
                    <a:pt x="7479" y="25352"/>
                  </a:lnTo>
                  <a:lnTo>
                    <a:pt x="8092" y="25593"/>
                  </a:lnTo>
                  <a:lnTo>
                    <a:pt x="8704" y="25797"/>
                  </a:lnTo>
                  <a:lnTo>
                    <a:pt x="9985" y="26150"/>
                  </a:lnTo>
                  <a:lnTo>
                    <a:pt x="11340" y="26373"/>
                  </a:lnTo>
                  <a:lnTo>
                    <a:pt x="12731" y="26484"/>
                  </a:lnTo>
                  <a:lnTo>
                    <a:pt x="13455" y="26503"/>
                  </a:lnTo>
                  <a:lnTo>
                    <a:pt x="14216" y="26484"/>
                  </a:lnTo>
                  <a:lnTo>
                    <a:pt x="15682" y="26373"/>
                  </a:lnTo>
                  <a:lnTo>
                    <a:pt x="17074" y="26131"/>
                  </a:lnTo>
                  <a:lnTo>
                    <a:pt x="18373" y="25760"/>
                  </a:lnTo>
                  <a:lnTo>
                    <a:pt x="19598" y="25296"/>
                  </a:lnTo>
                  <a:lnTo>
                    <a:pt x="20730" y="24684"/>
                  </a:lnTo>
                  <a:lnTo>
                    <a:pt x="21788" y="23960"/>
                  </a:lnTo>
                  <a:lnTo>
                    <a:pt x="22772" y="23125"/>
                  </a:lnTo>
                  <a:lnTo>
                    <a:pt x="23236" y="22661"/>
                  </a:lnTo>
                  <a:lnTo>
                    <a:pt x="23421" y="22420"/>
                  </a:lnTo>
                  <a:lnTo>
                    <a:pt x="23607" y="21863"/>
                  </a:lnTo>
                  <a:lnTo>
                    <a:pt x="23551" y="21288"/>
                  </a:lnTo>
                  <a:lnTo>
                    <a:pt x="23273" y="20768"/>
                  </a:lnTo>
                  <a:lnTo>
                    <a:pt x="23050" y="20564"/>
                  </a:lnTo>
                  <a:lnTo>
                    <a:pt x="21139" y="19042"/>
                  </a:lnTo>
                  <a:lnTo>
                    <a:pt x="20916" y="18875"/>
                  </a:lnTo>
                  <a:lnTo>
                    <a:pt x="20415" y="18726"/>
                  </a:lnTo>
                  <a:lnTo>
                    <a:pt x="19914" y="18745"/>
                  </a:lnTo>
                  <a:lnTo>
                    <a:pt x="19431" y="18949"/>
                  </a:lnTo>
                  <a:lnTo>
                    <a:pt x="19227" y="19135"/>
                  </a:lnTo>
                  <a:lnTo>
                    <a:pt x="18819" y="19543"/>
                  </a:lnTo>
                  <a:lnTo>
                    <a:pt x="17891" y="20230"/>
                  </a:lnTo>
                  <a:lnTo>
                    <a:pt x="17371" y="20527"/>
                  </a:lnTo>
                  <a:lnTo>
                    <a:pt x="16963" y="20731"/>
                  </a:lnTo>
                  <a:lnTo>
                    <a:pt x="16053" y="21046"/>
                  </a:lnTo>
                  <a:lnTo>
                    <a:pt x="15070" y="21269"/>
                  </a:lnTo>
                  <a:lnTo>
                    <a:pt x="13993" y="21380"/>
                  </a:lnTo>
                  <a:lnTo>
                    <a:pt x="13400" y="21380"/>
                  </a:lnTo>
                  <a:lnTo>
                    <a:pt x="12731" y="21362"/>
                  </a:lnTo>
                  <a:lnTo>
                    <a:pt x="11432" y="21120"/>
                  </a:lnTo>
                  <a:lnTo>
                    <a:pt x="10801" y="20916"/>
                  </a:lnTo>
                  <a:lnTo>
                    <a:pt x="10189" y="20657"/>
                  </a:lnTo>
                  <a:lnTo>
                    <a:pt x="9057" y="20026"/>
                  </a:lnTo>
                  <a:lnTo>
                    <a:pt x="8556" y="19636"/>
                  </a:lnTo>
                  <a:lnTo>
                    <a:pt x="8073" y="19209"/>
                  </a:lnTo>
                  <a:lnTo>
                    <a:pt x="7275" y="18244"/>
                  </a:lnTo>
                  <a:lnTo>
                    <a:pt x="6960" y="17706"/>
                  </a:lnTo>
                  <a:lnTo>
                    <a:pt x="6681" y="17130"/>
                  </a:lnTo>
                  <a:lnTo>
                    <a:pt x="6329" y="15905"/>
                  </a:lnTo>
                  <a:lnTo>
                    <a:pt x="6254" y="15237"/>
                  </a:lnTo>
                  <a:lnTo>
                    <a:pt x="23904" y="15237"/>
                  </a:lnTo>
                  <a:lnTo>
                    <a:pt x="24201" y="15200"/>
                  </a:lnTo>
                  <a:lnTo>
                    <a:pt x="24702" y="14996"/>
                  </a:lnTo>
                  <a:lnTo>
                    <a:pt x="25110" y="14606"/>
                  </a:lnTo>
                  <a:lnTo>
                    <a:pt x="25333" y="14087"/>
                  </a:lnTo>
                  <a:lnTo>
                    <a:pt x="25351" y="13790"/>
                  </a:lnTo>
                  <a:lnTo>
                    <a:pt x="25351" y="13567"/>
                  </a:lnTo>
                  <a:lnTo>
                    <a:pt x="25333" y="12713"/>
                  </a:lnTo>
                  <a:lnTo>
                    <a:pt x="25222" y="11136"/>
                  </a:lnTo>
                  <a:lnTo>
                    <a:pt x="24999" y="9651"/>
                  </a:lnTo>
                  <a:lnTo>
                    <a:pt x="24665" y="8278"/>
                  </a:lnTo>
                  <a:lnTo>
                    <a:pt x="24442" y="7647"/>
                  </a:lnTo>
                  <a:lnTo>
                    <a:pt x="24201" y="7016"/>
                  </a:lnTo>
                  <a:lnTo>
                    <a:pt x="23663" y="5847"/>
                  </a:lnTo>
                  <a:lnTo>
                    <a:pt x="23032" y="4807"/>
                  </a:lnTo>
                  <a:lnTo>
                    <a:pt x="22308" y="3842"/>
                  </a:lnTo>
                  <a:lnTo>
                    <a:pt x="21900" y="3415"/>
                  </a:lnTo>
                  <a:lnTo>
                    <a:pt x="21918" y="3415"/>
                  </a:lnTo>
                  <a:lnTo>
                    <a:pt x="21491" y="3007"/>
                  </a:lnTo>
                  <a:lnTo>
                    <a:pt x="20619" y="2265"/>
                  </a:lnTo>
                  <a:lnTo>
                    <a:pt x="19654" y="1615"/>
                  </a:lnTo>
                  <a:lnTo>
                    <a:pt x="18633" y="1096"/>
                  </a:lnTo>
                  <a:lnTo>
                    <a:pt x="18076" y="873"/>
                  </a:lnTo>
                  <a:lnTo>
                    <a:pt x="17520" y="650"/>
                  </a:lnTo>
                  <a:lnTo>
                    <a:pt x="16369" y="335"/>
                  </a:lnTo>
                  <a:lnTo>
                    <a:pt x="15163" y="112"/>
                  </a:lnTo>
                  <a:lnTo>
                    <a:pt x="13901" y="19"/>
                  </a:lnTo>
                  <a:lnTo>
                    <a:pt x="1325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" name="Google Shape;119;p6"/>
            <p:cNvSpPr/>
            <p:nvPr/>
          </p:nvSpPr>
          <p:spPr>
            <a:xfrm>
              <a:off x="237650" y="2349675"/>
              <a:ext cx="1219800" cy="1015625"/>
            </a:xfrm>
            <a:custGeom>
              <a:avLst/>
              <a:gdLst/>
              <a:ahLst/>
              <a:cxnLst/>
              <a:rect l="l" t="t" r="r" b="b"/>
              <a:pathLst>
                <a:path w="48792" h="40625" extrusionOk="0">
                  <a:moveTo>
                    <a:pt x="11915" y="0"/>
                  </a:moveTo>
                  <a:lnTo>
                    <a:pt x="10746" y="93"/>
                  </a:lnTo>
                  <a:lnTo>
                    <a:pt x="9614" y="297"/>
                  </a:lnTo>
                  <a:lnTo>
                    <a:pt x="8500" y="612"/>
                  </a:lnTo>
                  <a:lnTo>
                    <a:pt x="7443" y="1039"/>
                  </a:lnTo>
                  <a:lnTo>
                    <a:pt x="6422" y="1559"/>
                  </a:lnTo>
                  <a:lnTo>
                    <a:pt x="5457" y="2171"/>
                  </a:lnTo>
                  <a:lnTo>
                    <a:pt x="4547" y="2858"/>
                  </a:lnTo>
                  <a:lnTo>
                    <a:pt x="3712" y="3638"/>
                  </a:lnTo>
                  <a:lnTo>
                    <a:pt x="2933" y="4491"/>
                  </a:lnTo>
                  <a:lnTo>
                    <a:pt x="2246" y="5419"/>
                  </a:lnTo>
                  <a:lnTo>
                    <a:pt x="1634" y="6403"/>
                  </a:lnTo>
                  <a:lnTo>
                    <a:pt x="1114" y="7442"/>
                  </a:lnTo>
                  <a:lnTo>
                    <a:pt x="687" y="8556"/>
                  </a:lnTo>
                  <a:lnTo>
                    <a:pt x="372" y="9688"/>
                  </a:lnTo>
                  <a:lnTo>
                    <a:pt x="149" y="10875"/>
                  </a:lnTo>
                  <a:lnTo>
                    <a:pt x="75" y="11488"/>
                  </a:lnTo>
                  <a:lnTo>
                    <a:pt x="0" y="12583"/>
                  </a:lnTo>
                  <a:lnTo>
                    <a:pt x="130" y="14736"/>
                  </a:lnTo>
                  <a:lnTo>
                    <a:pt x="539" y="16870"/>
                  </a:lnTo>
                  <a:lnTo>
                    <a:pt x="1225" y="18967"/>
                  </a:lnTo>
                  <a:lnTo>
                    <a:pt x="2116" y="21008"/>
                  </a:lnTo>
                  <a:lnTo>
                    <a:pt x="3230" y="23013"/>
                  </a:lnTo>
                  <a:lnTo>
                    <a:pt x="4510" y="24961"/>
                  </a:lnTo>
                  <a:lnTo>
                    <a:pt x="5921" y="26836"/>
                  </a:lnTo>
                  <a:lnTo>
                    <a:pt x="7461" y="28636"/>
                  </a:lnTo>
                  <a:lnTo>
                    <a:pt x="9076" y="30362"/>
                  </a:lnTo>
                  <a:lnTo>
                    <a:pt x="11600" y="32793"/>
                  </a:lnTo>
                  <a:lnTo>
                    <a:pt x="14996" y="35688"/>
                  </a:lnTo>
                  <a:lnTo>
                    <a:pt x="18188" y="38120"/>
                  </a:lnTo>
                  <a:lnTo>
                    <a:pt x="19617" y="39140"/>
                  </a:lnTo>
                  <a:lnTo>
                    <a:pt x="20155" y="39493"/>
                  </a:lnTo>
                  <a:lnTo>
                    <a:pt x="21325" y="40050"/>
                  </a:lnTo>
                  <a:lnTo>
                    <a:pt x="22531" y="40439"/>
                  </a:lnTo>
                  <a:lnTo>
                    <a:pt x="23774" y="40625"/>
                  </a:lnTo>
                  <a:lnTo>
                    <a:pt x="25036" y="40625"/>
                  </a:lnTo>
                  <a:lnTo>
                    <a:pt x="26280" y="40439"/>
                  </a:lnTo>
                  <a:lnTo>
                    <a:pt x="27486" y="40050"/>
                  </a:lnTo>
                  <a:lnTo>
                    <a:pt x="28637" y="39493"/>
                  </a:lnTo>
                  <a:lnTo>
                    <a:pt x="29193" y="39140"/>
                  </a:lnTo>
                  <a:lnTo>
                    <a:pt x="30567" y="38157"/>
                  </a:lnTo>
                  <a:lnTo>
                    <a:pt x="33648" y="35818"/>
                  </a:lnTo>
                  <a:lnTo>
                    <a:pt x="36914" y="33053"/>
                  </a:lnTo>
                  <a:lnTo>
                    <a:pt x="39364" y="30733"/>
                  </a:lnTo>
                  <a:lnTo>
                    <a:pt x="40941" y="29081"/>
                  </a:lnTo>
                  <a:lnTo>
                    <a:pt x="42444" y="27356"/>
                  </a:lnTo>
                  <a:lnTo>
                    <a:pt x="43855" y="25555"/>
                  </a:lnTo>
                  <a:lnTo>
                    <a:pt x="45135" y="23699"/>
                  </a:lnTo>
                  <a:lnTo>
                    <a:pt x="46268" y="21788"/>
                  </a:lnTo>
                  <a:lnTo>
                    <a:pt x="47233" y="19839"/>
                  </a:lnTo>
                  <a:lnTo>
                    <a:pt x="47994" y="17835"/>
                  </a:lnTo>
                  <a:lnTo>
                    <a:pt x="48513" y="15793"/>
                  </a:lnTo>
                  <a:lnTo>
                    <a:pt x="48773" y="13715"/>
                  </a:lnTo>
                  <a:lnTo>
                    <a:pt x="48792" y="12676"/>
                  </a:lnTo>
                  <a:lnTo>
                    <a:pt x="48773" y="12082"/>
                  </a:lnTo>
                  <a:lnTo>
                    <a:pt x="48736" y="11488"/>
                  </a:lnTo>
                  <a:lnTo>
                    <a:pt x="48662" y="10820"/>
                  </a:lnTo>
                  <a:lnTo>
                    <a:pt x="48272" y="9224"/>
                  </a:lnTo>
                  <a:lnTo>
                    <a:pt x="47845" y="8017"/>
                  </a:lnTo>
                  <a:lnTo>
                    <a:pt x="47270" y="6830"/>
                  </a:lnTo>
                  <a:lnTo>
                    <a:pt x="46509" y="5753"/>
                  </a:lnTo>
                  <a:lnTo>
                    <a:pt x="45785" y="5104"/>
                  </a:lnTo>
                  <a:lnTo>
                    <a:pt x="45247" y="4788"/>
                  </a:lnTo>
                  <a:lnTo>
                    <a:pt x="44653" y="4547"/>
                  </a:lnTo>
                  <a:lnTo>
                    <a:pt x="44003" y="4417"/>
                  </a:lnTo>
                  <a:lnTo>
                    <a:pt x="43242" y="4417"/>
                  </a:lnTo>
                  <a:lnTo>
                    <a:pt x="42444" y="4565"/>
                  </a:lnTo>
                  <a:lnTo>
                    <a:pt x="41684" y="4881"/>
                  </a:lnTo>
                  <a:lnTo>
                    <a:pt x="40997" y="5345"/>
                  </a:lnTo>
                  <a:lnTo>
                    <a:pt x="40681" y="5642"/>
                  </a:lnTo>
                  <a:lnTo>
                    <a:pt x="27616" y="18707"/>
                  </a:lnTo>
                  <a:lnTo>
                    <a:pt x="27393" y="18930"/>
                  </a:lnTo>
                  <a:lnTo>
                    <a:pt x="27059" y="19450"/>
                  </a:lnTo>
                  <a:lnTo>
                    <a:pt x="26836" y="20006"/>
                  </a:lnTo>
                  <a:lnTo>
                    <a:pt x="26725" y="20582"/>
                  </a:lnTo>
                  <a:lnTo>
                    <a:pt x="26725" y="21175"/>
                  </a:lnTo>
                  <a:lnTo>
                    <a:pt x="26836" y="21751"/>
                  </a:lnTo>
                  <a:lnTo>
                    <a:pt x="27059" y="22308"/>
                  </a:lnTo>
                  <a:lnTo>
                    <a:pt x="27393" y="22809"/>
                  </a:lnTo>
                  <a:lnTo>
                    <a:pt x="27616" y="23050"/>
                  </a:lnTo>
                  <a:lnTo>
                    <a:pt x="27839" y="23254"/>
                  </a:lnTo>
                  <a:lnTo>
                    <a:pt x="28358" y="23607"/>
                  </a:lnTo>
                  <a:lnTo>
                    <a:pt x="28915" y="23829"/>
                  </a:lnTo>
                  <a:lnTo>
                    <a:pt x="29490" y="23941"/>
                  </a:lnTo>
                  <a:lnTo>
                    <a:pt x="30084" y="23941"/>
                  </a:lnTo>
                  <a:lnTo>
                    <a:pt x="30660" y="23829"/>
                  </a:lnTo>
                  <a:lnTo>
                    <a:pt x="31216" y="23607"/>
                  </a:lnTo>
                  <a:lnTo>
                    <a:pt x="31717" y="23254"/>
                  </a:lnTo>
                  <a:lnTo>
                    <a:pt x="31959" y="23050"/>
                  </a:lnTo>
                  <a:lnTo>
                    <a:pt x="43075" y="11933"/>
                  </a:lnTo>
                  <a:lnTo>
                    <a:pt x="43168" y="11840"/>
                  </a:lnTo>
                  <a:lnTo>
                    <a:pt x="43410" y="11748"/>
                  </a:lnTo>
                  <a:lnTo>
                    <a:pt x="43651" y="11748"/>
                  </a:lnTo>
                  <a:lnTo>
                    <a:pt x="43873" y="11840"/>
                  </a:lnTo>
                  <a:lnTo>
                    <a:pt x="43966" y="11933"/>
                  </a:lnTo>
                  <a:lnTo>
                    <a:pt x="44727" y="12694"/>
                  </a:lnTo>
                  <a:lnTo>
                    <a:pt x="44820" y="12787"/>
                  </a:lnTo>
                  <a:lnTo>
                    <a:pt x="44913" y="13010"/>
                  </a:lnTo>
                  <a:lnTo>
                    <a:pt x="44913" y="13269"/>
                  </a:lnTo>
                  <a:lnTo>
                    <a:pt x="44820" y="13492"/>
                  </a:lnTo>
                  <a:lnTo>
                    <a:pt x="44727" y="13585"/>
                  </a:lnTo>
                  <a:lnTo>
                    <a:pt x="33703" y="24627"/>
                  </a:lnTo>
                  <a:lnTo>
                    <a:pt x="33314" y="24999"/>
                  </a:lnTo>
                  <a:lnTo>
                    <a:pt x="32441" y="25592"/>
                  </a:lnTo>
                  <a:lnTo>
                    <a:pt x="31476" y="26019"/>
                  </a:lnTo>
                  <a:lnTo>
                    <a:pt x="30455" y="26261"/>
                  </a:lnTo>
                  <a:lnTo>
                    <a:pt x="29936" y="26298"/>
                  </a:lnTo>
                  <a:lnTo>
                    <a:pt x="29360" y="26298"/>
                  </a:lnTo>
                  <a:lnTo>
                    <a:pt x="28247" y="26094"/>
                  </a:lnTo>
                  <a:lnTo>
                    <a:pt x="27208" y="25667"/>
                  </a:lnTo>
                  <a:lnTo>
                    <a:pt x="26280" y="25017"/>
                  </a:lnTo>
                  <a:lnTo>
                    <a:pt x="25871" y="24627"/>
                  </a:lnTo>
                  <a:lnTo>
                    <a:pt x="25500" y="24201"/>
                  </a:lnTo>
                  <a:lnTo>
                    <a:pt x="24925" y="23291"/>
                  </a:lnTo>
                  <a:lnTo>
                    <a:pt x="24572" y="22326"/>
                  </a:lnTo>
                  <a:lnTo>
                    <a:pt x="24405" y="21287"/>
                  </a:lnTo>
                  <a:lnTo>
                    <a:pt x="24424" y="20248"/>
                  </a:lnTo>
                  <a:lnTo>
                    <a:pt x="24647" y="19227"/>
                  </a:lnTo>
                  <a:lnTo>
                    <a:pt x="25055" y="18262"/>
                  </a:lnTo>
                  <a:lnTo>
                    <a:pt x="25649" y="17352"/>
                  </a:lnTo>
                  <a:lnTo>
                    <a:pt x="26038" y="16963"/>
                  </a:lnTo>
                  <a:lnTo>
                    <a:pt x="33351" y="9651"/>
                  </a:lnTo>
                  <a:lnTo>
                    <a:pt x="39011" y="3972"/>
                  </a:lnTo>
                  <a:lnTo>
                    <a:pt x="39456" y="3563"/>
                  </a:lnTo>
                  <a:lnTo>
                    <a:pt x="40422" y="2895"/>
                  </a:lnTo>
                  <a:lnTo>
                    <a:pt x="41479" y="2413"/>
                  </a:lnTo>
                  <a:lnTo>
                    <a:pt x="42611" y="2134"/>
                  </a:lnTo>
                  <a:lnTo>
                    <a:pt x="43205" y="2079"/>
                  </a:lnTo>
                  <a:lnTo>
                    <a:pt x="42444" y="1577"/>
                  </a:lnTo>
                  <a:lnTo>
                    <a:pt x="40811" y="798"/>
                  </a:lnTo>
                  <a:lnTo>
                    <a:pt x="39067" y="260"/>
                  </a:lnTo>
                  <a:lnTo>
                    <a:pt x="37229" y="0"/>
                  </a:lnTo>
                  <a:lnTo>
                    <a:pt x="36283" y="0"/>
                  </a:lnTo>
                  <a:lnTo>
                    <a:pt x="35299" y="56"/>
                  </a:lnTo>
                  <a:lnTo>
                    <a:pt x="33425" y="371"/>
                  </a:lnTo>
                  <a:lnTo>
                    <a:pt x="31643" y="965"/>
                  </a:lnTo>
                  <a:lnTo>
                    <a:pt x="29991" y="1819"/>
                  </a:lnTo>
                  <a:lnTo>
                    <a:pt x="28507" y="2877"/>
                  </a:lnTo>
                  <a:lnTo>
                    <a:pt x="27171" y="4157"/>
                  </a:lnTo>
                  <a:lnTo>
                    <a:pt x="26057" y="5623"/>
                  </a:lnTo>
                  <a:lnTo>
                    <a:pt x="25129" y="7256"/>
                  </a:lnTo>
                  <a:lnTo>
                    <a:pt x="24776" y="8147"/>
                  </a:lnTo>
                  <a:lnTo>
                    <a:pt x="24721" y="8259"/>
                  </a:lnTo>
                  <a:lnTo>
                    <a:pt x="24517" y="8389"/>
                  </a:lnTo>
                  <a:lnTo>
                    <a:pt x="24294" y="8389"/>
                  </a:lnTo>
                  <a:lnTo>
                    <a:pt x="24090" y="8259"/>
                  </a:lnTo>
                  <a:lnTo>
                    <a:pt x="24034" y="8147"/>
                  </a:lnTo>
                  <a:lnTo>
                    <a:pt x="23663" y="7256"/>
                  </a:lnTo>
                  <a:lnTo>
                    <a:pt x="22754" y="5623"/>
                  </a:lnTo>
                  <a:lnTo>
                    <a:pt x="21640" y="4157"/>
                  </a:lnTo>
                  <a:lnTo>
                    <a:pt x="20304" y="2877"/>
                  </a:lnTo>
                  <a:lnTo>
                    <a:pt x="18819" y="1819"/>
                  </a:lnTo>
                  <a:lnTo>
                    <a:pt x="17167" y="965"/>
                  </a:lnTo>
                  <a:lnTo>
                    <a:pt x="15386" y="371"/>
                  </a:lnTo>
                  <a:lnTo>
                    <a:pt x="13493" y="56"/>
                  </a:lnTo>
                  <a:lnTo>
                    <a:pt x="12528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20" name="Google Shape;120;p6"/>
          <p:cNvPicPr preferRelativeResize="0"/>
          <p:nvPr/>
        </p:nvPicPr>
        <p:blipFill rotWithShape="1">
          <a:blip r:embed="rId2">
            <a:alphaModFix/>
          </a:blip>
          <a:srcRect b="1097"/>
          <a:stretch/>
        </p:blipFill>
        <p:spPr>
          <a:xfrm>
            <a:off x="9073000" y="896300"/>
            <a:ext cx="2372266" cy="4776264"/>
          </a:xfrm>
          <a:prstGeom prst="rect">
            <a:avLst/>
          </a:prstGeom>
          <a:noFill/>
          <a:ln>
            <a:noFill/>
          </a:ln>
          <a:effectLst>
            <a:reflection stA="15000" endPos="16000" fadeDir="5400012" sy="-100000" algn="bl" rotWithShape="0"/>
          </a:effectLst>
        </p:spPr>
      </p:pic>
      <p:pic>
        <p:nvPicPr>
          <p:cNvPr id="121" name="Google Shape;121;p6"/>
          <p:cNvPicPr preferRelativeResize="0"/>
          <p:nvPr/>
        </p:nvPicPr>
        <p:blipFill rotWithShape="1">
          <a:blip r:embed="rId3">
            <a:alphaModFix/>
          </a:blip>
          <a:srcRect b="4725"/>
          <a:stretch/>
        </p:blipFill>
        <p:spPr>
          <a:xfrm>
            <a:off x="6509367" y="2231628"/>
            <a:ext cx="3080469" cy="4162089"/>
          </a:xfrm>
          <a:prstGeom prst="rect">
            <a:avLst/>
          </a:prstGeom>
          <a:noFill/>
          <a:ln>
            <a:noFill/>
          </a:ln>
          <a:effectLst>
            <a:reflection stA="46000" endPos="16000" fadeDir="5400012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1248097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2B Section Break/Big Idea">
  <p:cSld name="B2B Section Break/Big Idea">
    <p:bg>
      <p:bgPr>
        <a:solidFill>
          <a:schemeClr val="lt2"/>
        </a:solidFill>
        <a:effectLst/>
      </p:bgPr>
    </p:bg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7"/>
          <p:cNvSpPr/>
          <p:nvPr/>
        </p:nvSpPr>
        <p:spPr>
          <a:xfrm rot="10800000">
            <a:off x="8798044" y="-3"/>
            <a:ext cx="3393973" cy="3393973"/>
          </a:xfrm>
          <a:custGeom>
            <a:avLst/>
            <a:gdLst/>
            <a:ahLst/>
            <a:cxnLst/>
            <a:rect l="l" t="t" r="r" b="b"/>
            <a:pathLst>
              <a:path w="77612" h="77612" extrusionOk="0">
                <a:moveTo>
                  <a:pt x="0" y="1"/>
                </a:moveTo>
                <a:lnTo>
                  <a:pt x="0" y="77612"/>
                </a:lnTo>
                <a:lnTo>
                  <a:pt x="77611" y="77612"/>
                </a:lnTo>
                <a:lnTo>
                  <a:pt x="77611" y="75611"/>
                </a:lnTo>
                <a:lnTo>
                  <a:pt x="77397" y="71634"/>
                </a:lnTo>
                <a:lnTo>
                  <a:pt x="77016" y="67729"/>
                </a:lnTo>
                <a:lnTo>
                  <a:pt x="76421" y="63871"/>
                </a:lnTo>
                <a:lnTo>
                  <a:pt x="75635" y="60084"/>
                </a:lnTo>
                <a:lnTo>
                  <a:pt x="74682" y="56369"/>
                </a:lnTo>
                <a:lnTo>
                  <a:pt x="73539" y="52702"/>
                </a:lnTo>
                <a:lnTo>
                  <a:pt x="72253" y="49154"/>
                </a:lnTo>
                <a:lnTo>
                  <a:pt x="70777" y="45653"/>
                </a:lnTo>
                <a:lnTo>
                  <a:pt x="69133" y="42271"/>
                </a:lnTo>
                <a:lnTo>
                  <a:pt x="67347" y="38961"/>
                </a:lnTo>
                <a:lnTo>
                  <a:pt x="65395" y="35770"/>
                </a:lnTo>
                <a:lnTo>
                  <a:pt x="63299" y="32674"/>
                </a:lnTo>
                <a:lnTo>
                  <a:pt x="61060" y="29674"/>
                </a:lnTo>
                <a:lnTo>
                  <a:pt x="58703" y="26816"/>
                </a:lnTo>
                <a:lnTo>
                  <a:pt x="56202" y="24053"/>
                </a:lnTo>
                <a:lnTo>
                  <a:pt x="53559" y="21410"/>
                </a:lnTo>
                <a:lnTo>
                  <a:pt x="50796" y="18909"/>
                </a:lnTo>
                <a:lnTo>
                  <a:pt x="47939" y="16552"/>
                </a:lnTo>
                <a:lnTo>
                  <a:pt x="44938" y="14313"/>
                </a:lnTo>
                <a:lnTo>
                  <a:pt x="41842" y="12218"/>
                </a:lnTo>
                <a:lnTo>
                  <a:pt x="38651" y="10265"/>
                </a:lnTo>
                <a:lnTo>
                  <a:pt x="35341" y="8479"/>
                </a:lnTo>
                <a:lnTo>
                  <a:pt x="31959" y="6836"/>
                </a:lnTo>
                <a:lnTo>
                  <a:pt x="28458" y="5359"/>
                </a:lnTo>
                <a:lnTo>
                  <a:pt x="24910" y="4073"/>
                </a:lnTo>
                <a:lnTo>
                  <a:pt x="21243" y="2930"/>
                </a:lnTo>
                <a:lnTo>
                  <a:pt x="17527" y="1977"/>
                </a:lnTo>
                <a:lnTo>
                  <a:pt x="13741" y="1192"/>
                </a:lnTo>
                <a:lnTo>
                  <a:pt x="9883" y="596"/>
                </a:lnTo>
                <a:lnTo>
                  <a:pt x="5977" y="215"/>
                </a:lnTo>
                <a:lnTo>
                  <a:pt x="2000" y="1"/>
                </a:ln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" name="Google Shape;124;p7"/>
          <p:cNvSpPr/>
          <p:nvPr/>
        </p:nvSpPr>
        <p:spPr>
          <a:xfrm rot="10800000">
            <a:off x="5943568" y="12"/>
            <a:ext cx="6248449" cy="6248449"/>
          </a:xfrm>
          <a:custGeom>
            <a:avLst/>
            <a:gdLst/>
            <a:ahLst/>
            <a:cxnLst/>
            <a:rect l="l" t="t" r="r" b="b"/>
            <a:pathLst>
              <a:path w="142887" h="142887" extrusionOk="0">
                <a:moveTo>
                  <a:pt x="0" y="1"/>
                </a:moveTo>
                <a:lnTo>
                  <a:pt x="0" y="65276"/>
                </a:lnTo>
                <a:lnTo>
                  <a:pt x="2000" y="65276"/>
                </a:lnTo>
                <a:lnTo>
                  <a:pt x="5977" y="65490"/>
                </a:lnTo>
                <a:lnTo>
                  <a:pt x="9883" y="65871"/>
                </a:lnTo>
                <a:lnTo>
                  <a:pt x="13741" y="66467"/>
                </a:lnTo>
                <a:lnTo>
                  <a:pt x="17527" y="67252"/>
                </a:lnTo>
                <a:lnTo>
                  <a:pt x="21243" y="68205"/>
                </a:lnTo>
                <a:lnTo>
                  <a:pt x="24910" y="69348"/>
                </a:lnTo>
                <a:lnTo>
                  <a:pt x="28458" y="70634"/>
                </a:lnTo>
                <a:lnTo>
                  <a:pt x="31959" y="72111"/>
                </a:lnTo>
                <a:lnTo>
                  <a:pt x="35341" y="73754"/>
                </a:lnTo>
                <a:lnTo>
                  <a:pt x="38651" y="75540"/>
                </a:lnTo>
                <a:lnTo>
                  <a:pt x="41842" y="77493"/>
                </a:lnTo>
                <a:lnTo>
                  <a:pt x="44938" y="79588"/>
                </a:lnTo>
                <a:lnTo>
                  <a:pt x="47939" y="81827"/>
                </a:lnTo>
                <a:lnTo>
                  <a:pt x="50796" y="84184"/>
                </a:lnTo>
                <a:lnTo>
                  <a:pt x="53559" y="86685"/>
                </a:lnTo>
                <a:lnTo>
                  <a:pt x="56202" y="89328"/>
                </a:lnTo>
                <a:lnTo>
                  <a:pt x="58703" y="92091"/>
                </a:lnTo>
                <a:lnTo>
                  <a:pt x="61060" y="94949"/>
                </a:lnTo>
                <a:lnTo>
                  <a:pt x="63299" y="97949"/>
                </a:lnTo>
                <a:lnTo>
                  <a:pt x="65395" y="101045"/>
                </a:lnTo>
                <a:lnTo>
                  <a:pt x="67347" y="104236"/>
                </a:lnTo>
                <a:lnTo>
                  <a:pt x="69133" y="107546"/>
                </a:lnTo>
                <a:lnTo>
                  <a:pt x="70777" y="110928"/>
                </a:lnTo>
                <a:lnTo>
                  <a:pt x="72253" y="114429"/>
                </a:lnTo>
                <a:lnTo>
                  <a:pt x="73539" y="117977"/>
                </a:lnTo>
                <a:lnTo>
                  <a:pt x="74682" y="121644"/>
                </a:lnTo>
                <a:lnTo>
                  <a:pt x="75635" y="125359"/>
                </a:lnTo>
                <a:lnTo>
                  <a:pt x="76421" y="129146"/>
                </a:lnTo>
                <a:lnTo>
                  <a:pt x="77016" y="133004"/>
                </a:lnTo>
                <a:lnTo>
                  <a:pt x="77397" y="136909"/>
                </a:lnTo>
                <a:lnTo>
                  <a:pt x="77611" y="140886"/>
                </a:lnTo>
                <a:lnTo>
                  <a:pt x="77611" y="142887"/>
                </a:lnTo>
                <a:lnTo>
                  <a:pt x="142887" y="142887"/>
                </a:lnTo>
                <a:lnTo>
                  <a:pt x="142863" y="139196"/>
                </a:lnTo>
                <a:lnTo>
                  <a:pt x="142482" y="131885"/>
                </a:lnTo>
                <a:lnTo>
                  <a:pt x="141744" y="124693"/>
                </a:lnTo>
                <a:lnTo>
                  <a:pt x="140672" y="117596"/>
                </a:lnTo>
                <a:lnTo>
                  <a:pt x="139243" y="110618"/>
                </a:lnTo>
                <a:lnTo>
                  <a:pt x="137481" y="103760"/>
                </a:lnTo>
                <a:lnTo>
                  <a:pt x="135385" y="97044"/>
                </a:lnTo>
                <a:lnTo>
                  <a:pt x="132980" y="90495"/>
                </a:lnTo>
                <a:lnTo>
                  <a:pt x="130289" y="84065"/>
                </a:lnTo>
                <a:lnTo>
                  <a:pt x="127265" y="77826"/>
                </a:lnTo>
                <a:lnTo>
                  <a:pt x="123978" y="71753"/>
                </a:lnTo>
                <a:lnTo>
                  <a:pt x="120382" y="65871"/>
                </a:lnTo>
                <a:lnTo>
                  <a:pt x="116548" y="60156"/>
                </a:lnTo>
                <a:lnTo>
                  <a:pt x="112428" y="54655"/>
                </a:lnTo>
                <a:lnTo>
                  <a:pt x="108046" y="49368"/>
                </a:lnTo>
                <a:lnTo>
                  <a:pt x="103450" y="44295"/>
                </a:lnTo>
                <a:lnTo>
                  <a:pt x="98592" y="39437"/>
                </a:lnTo>
                <a:lnTo>
                  <a:pt x="93519" y="34841"/>
                </a:lnTo>
                <a:lnTo>
                  <a:pt x="88233" y="30459"/>
                </a:lnTo>
                <a:lnTo>
                  <a:pt x="82732" y="26339"/>
                </a:lnTo>
                <a:lnTo>
                  <a:pt x="77016" y="22505"/>
                </a:lnTo>
                <a:lnTo>
                  <a:pt x="71134" y="18909"/>
                </a:lnTo>
                <a:lnTo>
                  <a:pt x="65061" y="15623"/>
                </a:lnTo>
                <a:lnTo>
                  <a:pt x="58822" y="12599"/>
                </a:lnTo>
                <a:lnTo>
                  <a:pt x="52392" y="9908"/>
                </a:lnTo>
                <a:lnTo>
                  <a:pt x="45843" y="7502"/>
                </a:lnTo>
                <a:lnTo>
                  <a:pt x="39127" y="5407"/>
                </a:lnTo>
                <a:lnTo>
                  <a:pt x="32269" y="3644"/>
                </a:lnTo>
                <a:lnTo>
                  <a:pt x="25291" y="2215"/>
                </a:lnTo>
                <a:lnTo>
                  <a:pt x="18194" y="1144"/>
                </a:lnTo>
                <a:lnTo>
                  <a:pt x="11002" y="406"/>
                </a:lnTo>
                <a:lnTo>
                  <a:pt x="3691" y="25"/>
                </a:lnTo>
                <a:lnTo>
                  <a:pt x="0" y="1"/>
                </a:lnTo>
                <a:close/>
              </a:path>
            </a:pathLst>
          </a:custGeom>
          <a:solidFill>
            <a:srgbClr val="ECECEC">
              <a:alpha val="7024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5" name="Google Shape;125;p7"/>
          <p:cNvSpPr txBox="1">
            <a:spLocks noGrp="1"/>
          </p:cNvSpPr>
          <p:nvPr>
            <p:ph type="title"/>
          </p:nvPr>
        </p:nvSpPr>
        <p:spPr>
          <a:xfrm>
            <a:off x="609600" y="1830000"/>
            <a:ext cx="5594100" cy="20220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300"/>
              <a:buNone/>
              <a:defRPr sz="4300" b="1"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F8F8F3"/>
              </a:buClr>
              <a:buSzPts val="6400"/>
              <a:buNone/>
              <a:defRPr sz="6400" b="1">
                <a:solidFill>
                  <a:srgbClr val="F8F8F3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F8F8F3"/>
              </a:buClr>
              <a:buSzPts val="6400"/>
              <a:buNone/>
              <a:defRPr sz="6400" b="1">
                <a:solidFill>
                  <a:srgbClr val="F8F8F3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F8F8F3"/>
              </a:buClr>
              <a:buSzPts val="6400"/>
              <a:buNone/>
              <a:defRPr sz="6400" b="1">
                <a:solidFill>
                  <a:srgbClr val="F8F8F3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F8F8F3"/>
              </a:buClr>
              <a:buSzPts val="6400"/>
              <a:buNone/>
              <a:defRPr sz="6400" b="1">
                <a:solidFill>
                  <a:srgbClr val="F8F8F3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F8F8F3"/>
              </a:buClr>
              <a:buSzPts val="6400"/>
              <a:buNone/>
              <a:defRPr sz="6400" b="1">
                <a:solidFill>
                  <a:srgbClr val="F8F8F3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F8F8F3"/>
              </a:buClr>
              <a:buSzPts val="6400"/>
              <a:buNone/>
              <a:defRPr sz="6400" b="1">
                <a:solidFill>
                  <a:srgbClr val="F8F8F3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F8F8F3"/>
              </a:buClr>
              <a:buSzPts val="6400"/>
              <a:buNone/>
              <a:defRPr sz="6400" b="1">
                <a:solidFill>
                  <a:srgbClr val="F8F8F3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F8F8F3"/>
              </a:buClr>
              <a:buSzPts val="6400"/>
              <a:buNone/>
              <a:defRPr sz="6400" b="1">
                <a:solidFill>
                  <a:srgbClr val="F8F8F3"/>
                </a:solidFill>
              </a:defRPr>
            </a:lvl9pPr>
          </a:lstStyle>
          <a:p>
            <a:endParaRPr/>
          </a:p>
        </p:txBody>
      </p:sp>
      <p:sp>
        <p:nvSpPr>
          <p:cNvPr id="126" name="Google Shape;126;p7"/>
          <p:cNvSpPr txBox="1">
            <a:spLocks noGrp="1"/>
          </p:cNvSpPr>
          <p:nvPr>
            <p:ph type="sldNum" idx="12"/>
          </p:nvPr>
        </p:nvSpPr>
        <p:spPr>
          <a:xfrm>
            <a:off x="11044810" y="6091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buNone/>
              <a:defRPr>
                <a:solidFill>
                  <a:srgbClr val="F8F8F3"/>
                </a:solidFill>
              </a:defRPr>
            </a:lvl1pPr>
            <a:lvl2pPr lvl="1" rtl="0">
              <a:buNone/>
              <a:defRPr>
                <a:solidFill>
                  <a:srgbClr val="F8F8F3"/>
                </a:solidFill>
              </a:defRPr>
            </a:lvl2pPr>
            <a:lvl3pPr lvl="2" rtl="0">
              <a:buNone/>
              <a:defRPr>
                <a:solidFill>
                  <a:srgbClr val="F8F8F3"/>
                </a:solidFill>
              </a:defRPr>
            </a:lvl3pPr>
            <a:lvl4pPr lvl="3" rtl="0">
              <a:buNone/>
              <a:defRPr>
                <a:solidFill>
                  <a:srgbClr val="F8F8F3"/>
                </a:solidFill>
              </a:defRPr>
            </a:lvl4pPr>
            <a:lvl5pPr lvl="4" rtl="0">
              <a:buNone/>
              <a:defRPr>
                <a:solidFill>
                  <a:srgbClr val="F8F8F3"/>
                </a:solidFill>
              </a:defRPr>
            </a:lvl5pPr>
            <a:lvl6pPr lvl="5" rtl="0">
              <a:buNone/>
              <a:defRPr>
                <a:solidFill>
                  <a:srgbClr val="F8F8F3"/>
                </a:solidFill>
              </a:defRPr>
            </a:lvl6pPr>
            <a:lvl7pPr lvl="6" rtl="0">
              <a:buNone/>
              <a:defRPr>
                <a:solidFill>
                  <a:srgbClr val="F8F8F3"/>
                </a:solidFill>
              </a:defRPr>
            </a:lvl7pPr>
            <a:lvl8pPr lvl="7" rtl="0">
              <a:buNone/>
              <a:defRPr>
                <a:solidFill>
                  <a:srgbClr val="F8F8F3"/>
                </a:solidFill>
              </a:defRPr>
            </a:lvl8pPr>
            <a:lvl9pPr lvl="8" rtl="0">
              <a:buNone/>
              <a:defRPr>
                <a:solidFill>
                  <a:srgbClr val="F8F8F3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7" name="Google Shape;127;p7"/>
          <p:cNvSpPr txBox="1">
            <a:spLocks noGrp="1"/>
          </p:cNvSpPr>
          <p:nvPr>
            <p:ph type="subTitle" idx="1"/>
          </p:nvPr>
        </p:nvSpPr>
        <p:spPr>
          <a:xfrm>
            <a:off x="609600" y="3852000"/>
            <a:ext cx="6248400" cy="16371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9pPr>
          </a:lstStyle>
          <a:p>
            <a:endParaRPr/>
          </a:p>
        </p:txBody>
      </p:sp>
      <p:grpSp>
        <p:nvGrpSpPr>
          <p:cNvPr id="128" name="Google Shape;128;p7"/>
          <p:cNvGrpSpPr/>
          <p:nvPr/>
        </p:nvGrpSpPr>
        <p:grpSpPr>
          <a:xfrm>
            <a:off x="415585" y="6427302"/>
            <a:ext cx="1329629" cy="189008"/>
            <a:chOff x="237650" y="2349675"/>
            <a:chExt cx="7144700" cy="1015625"/>
          </a:xfrm>
        </p:grpSpPr>
        <p:sp>
          <p:nvSpPr>
            <p:cNvPr id="129" name="Google Shape;129;p7"/>
            <p:cNvSpPr/>
            <p:nvPr/>
          </p:nvSpPr>
          <p:spPr>
            <a:xfrm>
              <a:off x="3096625" y="2466575"/>
              <a:ext cx="156400" cy="841200"/>
            </a:xfrm>
            <a:custGeom>
              <a:avLst/>
              <a:gdLst/>
              <a:ahLst/>
              <a:cxnLst/>
              <a:rect l="l" t="t" r="r" b="b"/>
              <a:pathLst>
                <a:path w="6256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2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1" y="1448"/>
                  </a:lnTo>
                  <a:lnTo>
                    <a:pt x="1" y="32182"/>
                  </a:lnTo>
                  <a:lnTo>
                    <a:pt x="19" y="32479"/>
                  </a:lnTo>
                  <a:lnTo>
                    <a:pt x="242" y="33017"/>
                  </a:lnTo>
                  <a:lnTo>
                    <a:pt x="632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08" y="33648"/>
                  </a:lnTo>
                  <a:lnTo>
                    <a:pt x="5105" y="33629"/>
                  </a:lnTo>
                  <a:lnTo>
                    <a:pt x="5624" y="33406"/>
                  </a:lnTo>
                  <a:lnTo>
                    <a:pt x="6014" y="33017"/>
                  </a:lnTo>
                  <a:lnTo>
                    <a:pt x="6237" y="32479"/>
                  </a:lnTo>
                  <a:lnTo>
                    <a:pt x="6255" y="32182"/>
                  </a:lnTo>
                  <a:lnTo>
                    <a:pt x="6255" y="1448"/>
                  </a:lnTo>
                  <a:lnTo>
                    <a:pt x="6237" y="1151"/>
                  </a:lnTo>
                  <a:lnTo>
                    <a:pt x="6014" y="632"/>
                  </a:lnTo>
                  <a:lnTo>
                    <a:pt x="5624" y="242"/>
                  </a:lnTo>
                  <a:lnTo>
                    <a:pt x="5105" y="19"/>
                  </a:lnTo>
                  <a:lnTo>
                    <a:pt x="4808" y="1"/>
                  </a:lnTo>
                  <a:close/>
                </a:path>
              </a:pathLst>
            </a:custGeom>
            <a:solidFill>
              <a:srgbClr val="F3F3E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130" name="Google Shape;130;p7"/>
            <p:cNvSpPr/>
            <p:nvPr/>
          </p:nvSpPr>
          <p:spPr>
            <a:xfrm>
              <a:off x="1673175" y="2466575"/>
              <a:ext cx="655150" cy="841200"/>
            </a:xfrm>
            <a:custGeom>
              <a:avLst/>
              <a:gdLst/>
              <a:ahLst/>
              <a:cxnLst/>
              <a:rect l="l" t="t" r="r" b="b"/>
              <a:pathLst>
                <a:path w="26206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1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0" y="1448"/>
                  </a:lnTo>
                  <a:lnTo>
                    <a:pt x="0" y="32200"/>
                  </a:lnTo>
                  <a:lnTo>
                    <a:pt x="19" y="32497"/>
                  </a:lnTo>
                  <a:lnTo>
                    <a:pt x="242" y="33017"/>
                  </a:lnTo>
                  <a:lnTo>
                    <a:pt x="631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26" y="33648"/>
                  </a:lnTo>
                  <a:lnTo>
                    <a:pt x="5104" y="33629"/>
                  </a:lnTo>
                  <a:lnTo>
                    <a:pt x="5624" y="33406"/>
                  </a:lnTo>
                  <a:lnTo>
                    <a:pt x="6032" y="33017"/>
                  </a:lnTo>
                  <a:lnTo>
                    <a:pt x="6255" y="32497"/>
                  </a:lnTo>
                  <a:lnTo>
                    <a:pt x="6273" y="32200"/>
                  </a:lnTo>
                  <a:lnTo>
                    <a:pt x="6273" y="18133"/>
                  </a:lnTo>
                  <a:lnTo>
                    <a:pt x="19933" y="18133"/>
                  </a:lnTo>
                  <a:lnTo>
                    <a:pt x="19933" y="32200"/>
                  </a:lnTo>
                  <a:lnTo>
                    <a:pt x="19951" y="32497"/>
                  </a:lnTo>
                  <a:lnTo>
                    <a:pt x="20174" y="33017"/>
                  </a:lnTo>
                  <a:lnTo>
                    <a:pt x="20564" y="33406"/>
                  </a:lnTo>
                  <a:lnTo>
                    <a:pt x="21083" y="33629"/>
                  </a:lnTo>
                  <a:lnTo>
                    <a:pt x="21380" y="33648"/>
                  </a:lnTo>
                  <a:lnTo>
                    <a:pt x="24739" y="33648"/>
                  </a:lnTo>
                  <a:lnTo>
                    <a:pt x="25036" y="33629"/>
                  </a:lnTo>
                  <a:lnTo>
                    <a:pt x="25556" y="33406"/>
                  </a:lnTo>
                  <a:lnTo>
                    <a:pt x="25964" y="33017"/>
                  </a:lnTo>
                  <a:lnTo>
                    <a:pt x="26168" y="32497"/>
                  </a:lnTo>
                  <a:lnTo>
                    <a:pt x="26205" y="32200"/>
                  </a:lnTo>
                  <a:lnTo>
                    <a:pt x="26205" y="1448"/>
                  </a:lnTo>
                  <a:lnTo>
                    <a:pt x="26168" y="1151"/>
                  </a:lnTo>
                  <a:lnTo>
                    <a:pt x="25964" y="632"/>
                  </a:lnTo>
                  <a:lnTo>
                    <a:pt x="25556" y="242"/>
                  </a:lnTo>
                  <a:lnTo>
                    <a:pt x="25036" y="19"/>
                  </a:lnTo>
                  <a:lnTo>
                    <a:pt x="24739" y="1"/>
                  </a:lnTo>
                  <a:lnTo>
                    <a:pt x="21380" y="1"/>
                  </a:lnTo>
                  <a:lnTo>
                    <a:pt x="21083" y="19"/>
                  </a:lnTo>
                  <a:lnTo>
                    <a:pt x="20564" y="242"/>
                  </a:lnTo>
                  <a:lnTo>
                    <a:pt x="20174" y="632"/>
                  </a:lnTo>
                  <a:lnTo>
                    <a:pt x="19951" y="1151"/>
                  </a:lnTo>
                  <a:lnTo>
                    <a:pt x="19933" y="1448"/>
                  </a:lnTo>
                  <a:lnTo>
                    <a:pt x="19933" y="13641"/>
                  </a:lnTo>
                  <a:lnTo>
                    <a:pt x="6273" y="13641"/>
                  </a:lnTo>
                  <a:lnTo>
                    <a:pt x="6273" y="1448"/>
                  </a:lnTo>
                  <a:lnTo>
                    <a:pt x="6255" y="1151"/>
                  </a:lnTo>
                  <a:lnTo>
                    <a:pt x="6032" y="632"/>
                  </a:lnTo>
                  <a:lnTo>
                    <a:pt x="5624" y="242"/>
                  </a:lnTo>
                  <a:lnTo>
                    <a:pt x="5104" y="19"/>
                  </a:lnTo>
                  <a:lnTo>
                    <a:pt x="4826" y="1"/>
                  </a:lnTo>
                  <a:close/>
                </a:path>
              </a:pathLst>
            </a:custGeom>
            <a:solidFill>
              <a:srgbClr val="F3F3E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131" name="Google Shape;131;p7"/>
            <p:cNvSpPr/>
            <p:nvPr/>
          </p:nvSpPr>
          <p:spPr>
            <a:xfrm>
              <a:off x="3382900" y="2466575"/>
              <a:ext cx="156375" cy="841200"/>
            </a:xfrm>
            <a:custGeom>
              <a:avLst/>
              <a:gdLst/>
              <a:ahLst/>
              <a:cxnLst/>
              <a:rect l="l" t="t" r="r" b="b"/>
              <a:pathLst>
                <a:path w="6255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2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1" y="1448"/>
                  </a:lnTo>
                  <a:lnTo>
                    <a:pt x="1" y="32182"/>
                  </a:lnTo>
                  <a:lnTo>
                    <a:pt x="19" y="32479"/>
                  </a:lnTo>
                  <a:lnTo>
                    <a:pt x="242" y="33017"/>
                  </a:lnTo>
                  <a:lnTo>
                    <a:pt x="632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07" y="33648"/>
                  </a:lnTo>
                  <a:lnTo>
                    <a:pt x="5104" y="33629"/>
                  </a:lnTo>
                  <a:lnTo>
                    <a:pt x="5624" y="33406"/>
                  </a:lnTo>
                  <a:lnTo>
                    <a:pt x="6014" y="33017"/>
                  </a:lnTo>
                  <a:lnTo>
                    <a:pt x="6236" y="32479"/>
                  </a:lnTo>
                  <a:lnTo>
                    <a:pt x="6255" y="32182"/>
                  </a:lnTo>
                  <a:lnTo>
                    <a:pt x="6255" y="1448"/>
                  </a:lnTo>
                  <a:lnTo>
                    <a:pt x="6236" y="1151"/>
                  </a:lnTo>
                  <a:lnTo>
                    <a:pt x="6014" y="632"/>
                  </a:lnTo>
                  <a:lnTo>
                    <a:pt x="5624" y="242"/>
                  </a:lnTo>
                  <a:lnTo>
                    <a:pt x="5104" y="19"/>
                  </a:lnTo>
                  <a:lnTo>
                    <a:pt x="4807" y="1"/>
                  </a:lnTo>
                  <a:close/>
                </a:path>
              </a:pathLst>
            </a:custGeom>
            <a:solidFill>
              <a:srgbClr val="F3F3E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132" name="Google Shape;132;p7"/>
            <p:cNvSpPr/>
            <p:nvPr/>
          </p:nvSpPr>
          <p:spPr>
            <a:xfrm>
              <a:off x="3610700" y="2663300"/>
              <a:ext cx="680675" cy="662575"/>
            </a:xfrm>
            <a:custGeom>
              <a:avLst/>
              <a:gdLst/>
              <a:ahLst/>
              <a:cxnLst/>
              <a:rect l="l" t="t" r="r" b="b"/>
              <a:pathLst>
                <a:path w="27227" h="26503" extrusionOk="0">
                  <a:moveTo>
                    <a:pt x="14087" y="5123"/>
                  </a:moveTo>
                  <a:lnTo>
                    <a:pt x="14959" y="5216"/>
                  </a:lnTo>
                  <a:lnTo>
                    <a:pt x="15757" y="5383"/>
                  </a:lnTo>
                  <a:lnTo>
                    <a:pt x="16500" y="5661"/>
                  </a:lnTo>
                  <a:lnTo>
                    <a:pt x="16852" y="5828"/>
                  </a:lnTo>
                  <a:lnTo>
                    <a:pt x="17521" y="6199"/>
                  </a:lnTo>
                  <a:lnTo>
                    <a:pt x="18634" y="7127"/>
                  </a:lnTo>
                  <a:lnTo>
                    <a:pt x="19098" y="7665"/>
                  </a:lnTo>
                  <a:lnTo>
                    <a:pt x="19525" y="8259"/>
                  </a:lnTo>
                  <a:lnTo>
                    <a:pt x="20193" y="9558"/>
                  </a:lnTo>
                  <a:lnTo>
                    <a:pt x="20434" y="10264"/>
                  </a:lnTo>
                  <a:lnTo>
                    <a:pt x="20638" y="10969"/>
                  </a:lnTo>
                  <a:lnTo>
                    <a:pt x="20861" y="12416"/>
                  </a:lnTo>
                  <a:lnTo>
                    <a:pt x="20880" y="13159"/>
                  </a:lnTo>
                  <a:lnTo>
                    <a:pt x="20861" y="13883"/>
                  </a:lnTo>
                  <a:lnTo>
                    <a:pt x="20638" y="15349"/>
                  </a:lnTo>
                  <a:lnTo>
                    <a:pt x="20434" y="16073"/>
                  </a:lnTo>
                  <a:lnTo>
                    <a:pt x="20193" y="16796"/>
                  </a:lnTo>
                  <a:lnTo>
                    <a:pt x="19525" y="18095"/>
                  </a:lnTo>
                  <a:lnTo>
                    <a:pt x="19098" y="18671"/>
                  </a:lnTo>
                  <a:lnTo>
                    <a:pt x="18634" y="19228"/>
                  </a:lnTo>
                  <a:lnTo>
                    <a:pt x="17521" y="20174"/>
                  </a:lnTo>
                  <a:lnTo>
                    <a:pt x="16852" y="20564"/>
                  </a:lnTo>
                  <a:lnTo>
                    <a:pt x="16500" y="20731"/>
                  </a:lnTo>
                  <a:lnTo>
                    <a:pt x="15757" y="21009"/>
                  </a:lnTo>
                  <a:lnTo>
                    <a:pt x="14959" y="21195"/>
                  </a:lnTo>
                  <a:lnTo>
                    <a:pt x="14087" y="21269"/>
                  </a:lnTo>
                  <a:lnTo>
                    <a:pt x="13623" y="21288"/>
                  </a:lnTo>
                  <a:lnTo>
                    <a:pt x="13159" y="21269"/>
                  </a:lnTo>
                  <a:lnTo>
                    <a:pt x="12287" y="21195"/>
                  </a:lnTo>
                  <a:lnTo>
                    <a:pt x="11470" y="21009"/>
                  </a:lnTo>
                  <a:lnTo>
                    <a:pt x="10728" y="20731"/>
                  </a:lnTo>
                  <a:lnTo>
                    <a:pt x="10394" y="20564"/>
                  </a:lnTo>
                  <a:lnTo>
                    <a:pt x="9726" y="20174"/>
                  </a:lnTo>
                  <a:lnTo>
                    <a:pt x="8612" y="19228"/>
                  </a:lnTo>
                  <a:lnTo>
                    <a:pt x="8148" y="18671"/>
                  </a:lnTo>
                  <a:lnTo>
                    <a:pt x="7721" y="18095"/>
                  </a:lnTo>
                  <a:lnTo>
                    <a:pt x="7053" y="16778"/>
                  </a:lnTo>
                  <a:lnTo>
                    <a:pt x="6812" y="16073"/>
                  </a:lnTo>
                  <a:lnTo>
                    <a:pt x="6608" y="15349"/>
                  </a:lnTo>
                  <a:lnTo>
                    <a:pt x="6385" y="13883"/>
                  </a:lnTo>
                  <a:lnTo>
                    <a:pt x="6367" y="13159"/>
                  </a:lnTo>
                  <a:lnTo>
                    <a:pt x="6385" y="12416"/>
                  </a:lnTo>
                  <a:lnTo>
                    <a:pt x="6608" y="10969"/>
                  </a:lnTo>
                  <a:lnTo>
                    <a:pt x="6812" y="10264"/>
                  </a:lnTo>
                  <a:lnTo>
                    <a:pt x="7053" y="9558"/>
                  </a:lnTo>
                  <a:lnTo>
                    <a:pt x="7721" y="8259"/>
                  </a:lnTo>
                  <a:lnTo>
                    <a:pt x="8148" y="7665"/>
                  </a:lnTo>
                  <a:lnTo>
                    <a:pt x="8612" y="7127"/>
                  </a:lnTo>
                  <a:lnTo>
                    <a:pt x="9726" y="6199"/>
                  </a:lnTo>
                  <a:lnTo>
                    <a:pt x="10394" y="5828"/>
                  </a:lnTo>
                  <a:lnTo>
                    <a:pt x="10728" y="5661"/>
                  </a:lnTo>
                  <a:lnTo>
                    <a:pt x="11470" y="5383"/>
                  </a:lnTo>
                  <a:lnTo>
                    <a:pt x="12287" y="5216"/>
                  </a:lnTo>
                  <a:lnTo>
                    <a:pt x="13159" y="5123"/>
                  </a:lnTo>
                  <a:close/>
                  <a:moveTo>
                    <a:pt x="13623" y="1"/>
                  </a:moveTo>
                  <a:lnTo>
                    <a:pt x="12918" y="19"/>
                  </a:lnTo>
                  <a:lnTo>
                    <a:pt x="11545" y="131"/>
                  </a:lnTo>
                  <a:lnTo>
                    <a:pt x="10227" y="372"/>
                  </a:lnTo>
                  <a:lnTo>
                    <a:pt x="8928" y="724"/>
                  </a:lnTo>
                  <a:lnTo>
                    <a:pt x="8297" y="947"/>
                  </a:lnTo>
                  <a:lnTo>
                    <a:pt x="7684" y="1188"/>
                  </a:lnTo>
                  <a:lnTo>
                    <a:pt x="6515" y="1745"/>
                  </a:lnTo>
                  <a:lnTo>
                    <a:pt x="5439" y="2413"/>
                  </a:lnTo>
                  <a:lnTo>
                    <a:pt x="4437" y="3174"/>
                  </a:lnTo>
                  <a:lnTo>
                    <a:pt x="3973" y="3601"/>
                  </a:lnTo>
                  <a:lnTo>
                    <a:pt x="3527" y="4046"/>
                  </a:lnTo>
                  <a:lnTo>
                    <a:pt x="2692" y="4993"/>
                  </a:lnTo>
                  <a:lnTo>
                    <a:pt x="1968" y="6032"/>
                  </a:lnTo>
                  <a:lnTo>
                    <a:pt x="1356" y="7146"/>
                  </a:lnTo>
                  <a:lnTo>
                    <a:pt x="1077" y="7758"/>
                  </a:lnTo>
                  <a:lnTo>
                    <a:pt x="818" y="8371"/>
                  </a:lnTo>
                  <a:lnTo>
                    <a:pt x="409" y="9651"/>
                  </a:lnTo>
                  <a:lnTo>
                    <a:pt x="149" y="10987"/>
                  </a:lnTo>
                  <a:lnTo>
                    <a:pt x="20" y="12416"/>
                  </a:lnTo>
                  <a:lnTo>
                    <a:pt x="1" y="13159"/>
                  </a:lnTo>
                  <a:lnTo>
                    <a:pt x="20" y="13883"/>
                  </a:lnTo>
                  <a:lnTo>
                    <a:pt x="149" y="15312"/>
                  </a:lnTo>
                  <a:lnTo>
                    <a:pt x="409" y="16666"/>
                  </a:lnTo>
                  <a:lnTo>
                    <a:pt x="818" y="17947"/>
                  </a:lnTo>
                  <a:lnTo>
                    <a:pt x="1077" y="18578"/>
                  </a:lnTo>
                  <a:lnTo>
                    <a:pt x="1356" y="19172"/>
                  </a:lnTo>
                  <a:lnTo>
                    <a:pt x="1968" y="20322"/>
                  </a:lnTo>
                  <a:lnTo>
                    <a:pt x="2692" y="21362"/>
                  </a:lnTo>
                  <a:lnTo>
                    <a:pt x="3527" y="22327"/>
                  </a:lnTo>
                  <a:lnTo>
                    <a:pt x="3973" y="22772"/>
                  </a:lnTo>
                  <a:lnTo>
                    <a:pt x="4437" y="23199"/>
                  </a:lnTo>
                  <a:lnTo>
                    <a:pt x="5439" y="23979"/>
                  </a:lnTo>
                  <a:lnTo>
                    <a:pt x="6515" y="24665"/>
                  </a:lnTo>
                  <a:lnTo>
                    <a:pt x="7684" y="25259"/>
                  </a:lnTo>
                  <a:lnTo>
                    <a:pt x="8297" y="25519"/>
                  </a:lnTo>
                  <a:lnTo>
                    <a:pt x="8928" y="25742"/>
                  </a:lnTo>
                  <a:lnTo>
                    <a:pt x="10227" y="26113"/>
                  </a:lnTo>
                  <a:lnTo>
                    <a:pt x="11545" y="26373"/>
                  </a:lnTo>
                  <a:lnTo>
                    <a:pt x="12918" y="26484"/>
                  </a:lnTo>
                  <a:lnTo>
                    <a:pt x="13623" y="26503"/>
                  </a:lnTo>
                  <a:lnTo>
                    <a:pt x="14328" y="26484"/>
                  </a:lnTo>
                  <a:lnTo>
                    <a:pt x="15683" y="26373"/>
                  </a:lnTo>
                  <a:lnTo>
                    <a:pt x="17019" y="26113"/>
                  </a:lnTo>
                  <a:lnTo>
                    <a:pt x="18300" y="25742"/>
                  </a:lnTo>
                  <a:lnTo>
                    <a:pt x="18931" y="25519"/>
                  </a:lnTo>
                  <a:lnTo>
                    <a:pt x="19562" y="25259"/>
                  </a:lnTo>
                  <a:lnTo>
                    <a:pt x="20731" y="24665"/>
                  </a:lnTo>
                  <a:lnTo>
                    <a:pt x="21808" y="23979"/>
                  </a:lnTo>
                  <a:lnTo>
                    <a:pt x="22810" y="23199"/>
                  </a:lnTo>
                  <a:lnTo>
                    <a:pt x="23274" y="22772"/>
                  </a:lnTo>
                  <a:lnTo>
                    <a:pt x="23719" y="22327"/>
                  </a:lnTo>
                  <a:lnTo>
                    <a:pt x="24536" y="21362"/>
                  </a:lnTo>
                  <a:lnTo>
                    <a:pt x="25260" y="20322"/>
                  </a:lnTo>
                  <a:lnTo>
                    <a:pt x="25891" y="19172"/>
                  </a:lnTo>
                  <a:lnTo>
                    <a:pt x="26169" y="18578"/>
                  </a:lnTo>
                  <a:lnTo>
                    <a:pt x="26429" y="17947"/>
                  </a:lnTo>
                  <a:lnTo>
                    <a:pt x="26818" y="16666"/>
                  </a:lnTo>
                  <a:lnTo>
                    <a:pt x="27097" y="15312"/>
                  </a:lnTo>
                  <a:lnTo>
                    <a:pt x="27227" y="13883"/>
                  </a:lnTo>
                  <a:lnTo>
                    <a:pt x="27227" y="13159"/>
                  </a:lnTo>
                  <a:lnTo>
                    <a:pt x="27227" y="12416"/>
                  </a:lnTo>
                  <a:lnTo>
                    <a:pt x="27097" y="10987"/>
                  </a:lnTo>
                  <a:lnTo>
                    <a:pt x="26818" y="9651"/>
                  </a:lnTo>
                  <a:lnTo>
                    <a:pt x="26429" y="8371"/>
                  </a:lnTo>
                  <a:lnTo>
                    <a:pt x="26169" y="7758"/>
                  </a:lnTo>
                  <a:lnTo>
                    <a:pt x="25891" y="7146"/>
                  </a:lnTo>
                  <a:lnTo>
                    <a:pt x="25260" y="6032"/>
                  </a:lnTo>
                  <a:lnTo>
                    <a:pt x="24536" y="4993"/>
                  </a:lnTo>
                  <a:lnTo>
                    <a:pt x="23719" y="4046"/>
                  </a:lnTo>
                  <a:lnTo>
                    <a:pt x="23274" y="3601"/>
                  </a:lnTo>
                  <a:lnTo>
                    <a:pt x="22810" y="3174"/>
                  </a:lnTo>
                  <a:lnTo>
                    <a:pt x="21808" y="2413"/>
                  </a:lnTo>
                  <a:lnTo>
                    <a:pt x="20731" y="1745"/>
                  </a:lnTo>
                  <a:lnTo>
                    <a:pt x="19562" y="1188"/>
                  </a:lnTo>
                  <a:lnTo>
                    <a:pt x="18931" y="947"/>
                  </a:lnTo>
                  <a:lnTo>
                    <a:pt x="18300" y="724"/>
                  </a:lnTo>
                  <a:lnTo>
                    <a:pt x="17019" y="372"/>
                  </a:lnTo>
                  <a:lnTo>
                    <a:pt x="15683" y="131"/>
                  </a:lnTo>
                  <a:lnTo>
                    <a:pt x="14328" y="19"/>
                  </a:lnTo>
                  <a:lnTo>
                    <a:pt x="13623" y="1"/>
                  </a:lnTo>
                  <a:close/>
                </a:path>
              </a:pathLst>
            </a:custGeom>
            <a:solidFill>
              <a:srgbClr val="F3F3E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133" name="Google Shape;133;p7"/>
            <p:cNvSpPr/>
            <p:nvPr/>
          </p:nvSpPr>
          <p:spPr>
            <a:xfrm>
              <a:off x="5231350" y="2663300"/>
              <a:ext cx="633825" cy="662575"/>
            </a:xfrm>
            <a:custGeom>
              <a:avLst/>
              <a:gdLst/>
              <a:ahLst/>
              <a:cxnLst/>
              <a:rect l="l" t="t" r="r" b="b"/>
              <a:pathLst>
                <a:path w="25353" h="26503" extrusionOk="0">
                  <a:moveTo>
                    <a:pt x="13196" y="4696"/>
                  </a:moveTo>
                  <a:lnTo>
                    <a:pt x="13939" y="4715"/>
                  </a:lnTo>
                  <a:lnTo>
                    <a:pt x="15256" y="4974"/>
                  </a:lnTo>
                  <a:lnTo>
                    <a:pt x="15832" y="5197"/>
                  </a:lnTo>
                  <a:lnTo>
                    <a:pt x="16388" y="5457"/>
                  </a:lnTo>
                  <a:lnTo>
                    <a:pt x="17298" y="6125"/>
                  </a:lnTo>
                  <a:lnTo>
                    <a:pt x="17687" y="6515"/>
                  </a:lnTo>
                  <a:lnTo>
                    <a:pt x="18040" y="6942"/>
                  </a:lnTo>
                  <a:lnTo>
                    <a:pt x="18578" y="7907"/>
                  </a:lnTo>
                  <a:lnTo>
                    <a:pt x="18764" y="8445"/>
                  </a:lnTo>
                  <a:lnTo>
                    <a:pt x="18912" y="9002"/>
                  </a:lnTo>
                  <a:lnTo>
                    <a:pt x="19079" y="10152"/>
                  </a:lnTo>
                  <a:lnTo>
                    <a:pt x="19098" y="10746"/>
                  </a:lnTo>
                  <a:lnTo>
                    <a:pt x="6274" y="10746"/>
                  </a:lnTo>
                  <a:lnTo>
                    <a:pt x="6329" y="10097"/>
                  </a:lnTo>
                  <a:lnTo>
                    <a:pt x="6664" y="8890"/>
                  </a:lnTo>
                  <a:lnTo>
                    <a:pt x="7202" y="7795"/>
                  </a:lnTo>
                  <a:lnTo>
                    <a:pt x="7963" y="6830"/>
                  </a:lnTo>
                  <a:lnTo>
                    <a:pt x="8427" y="6403"/>
                  </a:lnTo>
                  <a:lnTo>
                    <a:pt x="8928" y="5995"/>
                  </a:lnTo>
                  <a:lnTo>
                    <a:pt x="10023" y="5346"/>
                  </a:lnTo>
                  <a:lnTo>
                    <a:pt x="11210" y="4937"/>
                  </a:lnTo>
                  <a:lnTo>
                    <a:pt x="12510" y="4715"/>
                  </a:lnTo>
                  <a:lnTo>
                    <a:pt x="13196" y="4696"/>
                  </a:lnTo>
                  <a:close/>
                  <a:moveTo>
                    <a:pt x="13252" y="1"/>
                  </a:moveTo>
                  <a:lnTo>
                    <a:pt x="12565" y="19"/>
                  </a:lnTo>
                  <a:lnTo>
                    <a:pt x="11192" y="131"/>
                  </a:lnTo>
                  <a:lnTo>
                    <a:pt x="9893" y="372"/>
                  </a:lnTo>
                  <a:lnTo>
                    <a:pt x="8631" y="743"/>
                  </a:lnTo>
                  <a:lnTo>
                    <a:pt x="8018" y="966"/>
                  </a:lnTo>
                  <a:lnTo>
                    <a:pt x="7406" y="1226"/>
                  </a:lnTo>
                  <a:lnTo>
                    <a:pt x="6292" y="1801"/>
                  </a:lnTo>
                  <a:lnTo>
                    <a:pt x="5235" y="2469"/>
                  </a:lnTo>
                  <a:lnTo>
                    <a:pt x="4269" y="3248"/>
                  </a:lnTo>
                  <a:lnTo>
                    <a:pt x="3824" y="3675"/>
                  </a:lnTo>
                  <a:lnTo>
                    <a:pt x="3379" y="4121"/>
                  </a:lnTo>
                  <a:lnTo>
                    <a:pt x="2581" y="5086"/>
                  </a:lnTo>
                  <a:lnTo>
                    <a:pt x="1894" y="6144"/>
                  </a:lnTo>
                  <a:lnTo>
                    <a:pt x="1281" y="7294"/>
                  </a:lnTo>
                  <a:lnTo>
                    <a:pt x="1022" y="7907"/>
                  </a:lnTo>
                  <a:lnTo>
                    <a:pt x="780" y="8538"/>
                  </a:lnTo>
                  <a:lnTo>
                    <a:pt x="391" y="9837"/>
                  </a:lnTo>
                  <a:lnTo>
                    <a:pt x="149" y="11210"/>
                  </a:lnTo>
                  <a:lnTo>
                    <a:pt x="19" y="12658"/>
                  </a:lnTo>
                  <a:lnTo>
                    <a:pt x="1" y="13400"/>
                  </a:lnTo>
                  <a:lnTo>
                    <a:pt x="19" y="14161"/>
                  </a:lnTo>
                  <a:lnTo>
                    <a:pt x="149" y="15609"/>
                  </a:lnTo>
                  <a:lnTo>
                    <a:pt x="391" y="17000"/>
                  </a:lnTo>
                  <a:lnTo>
                    <a:pt x="780" y="18300"/>
                  </a:lnTo>
                  <a:lnTo>
                    <a:pt x="1022" y="18912"/>
                  </a:lnTo>
                  <a:lnTo>
                    <a:pt x="1281" y="19506"/>
                  </a:lnTo>
                  <a:lnTo>
                    <a:pt x="1894" y="20619"/>
                  </a:lnTo>
                  <a:lnTo>
                    <a:pt x="2599" y="21659"/>
                  </a:lnTo>
                  <a:lnTo>
                    <a:pt x="3397" y="22587"/>
                  </a:lnTo>
                  <a:lnTo>
                    <a:pt x="3843" y="23013"/>
                  </a:lnTo>
                  <a:lnTo>
                    <a:pt x="4288" y="23422"/>
                  </a:lnTo>
                  <a:lnTo>
                    <a:pt x="5272" y="24146"/>
                  </a:lnTo>
                  <a:lnTo>
                    <a:pt x="6348" y="24795"/>
                  </a:lnTo>
                  <a:lnTo>
                    <a:pt x="7480" y="25352"/>
                  </a:lnTo>
                  <a:lnTo>
                    <a:pt x="8093" y="25593"/>
                  </a:lnTo>
                  <a:lnTo>
                    <a:pt x="8705" y="25797"/>
                  </a:lnTo>
                  <a:lnTo>
                    <a:pt x="10004" y="26150"/>
                  </a:lnTo>
                  <a:lnTo>
                    <a:pt x="11340" y="26373"/>
                  </a:lnTo>
                  <a:lnTo>
                    <a:pt x="12732" y="26484"/>
                  </a:lnTo>
                  <a:lnTo>
                    <a:pt x="13475" y="26503"/>
                  </a:lnTo>
                  <a:lnTo>
                    <a:pt x="14236" y="26484"/>
                  </a:lnTo>
                  <a:lnTo>
                    <a:pt x="15683" y="26373"/>
                  </a:lnTo>
                  <a:lnTo>
                    <a:pt x="17075" y="26131"/>
                  </a:lnTo>
                  <a:lnTo>
                    <a:pt x="18374" y="25760"/>
                  </a:lnTo>
                  <a:lnTo>
                    <a:pt x="19599" y="25296"/>
                  </a:lnTo>
                  <a:lnTo>
                    <a:pt x="20731" y="24684"/>
                  </a:lnTo>
                  <a:lnTo>
                    <a:pt x="21789" y="23960"/>
                  </a:lnTo>
                  <a:lnTo>
                    <a:pt x="22773" y="23125"/>
                  </a:lnTo>
                  <a:lnTo>
                    <a:pt x="23237" y="22661"/>
                  </a:lnTo>
                  <a:lnTo>
                    <a:pt x="23422" y="22420"/>
                  </a:lnTo>
                  <a:lnTo>
                    <a:pt x="23608" y="21863"/>
                  </a:lnTo>
                  <a:lnTo>
                    <a:pt x="23552" y="21288"/>
                  </a:lnTo>
                  <a:lnTo>
                    <a:pt x="23274" y="20768"/>
                  </a:lnTo>
                  <a:lnTo>
                    <a:pt x="23051" y="20564"/>
                  </a:lnTo>
                  <a:lnTo>
                    <a:pt x="21158" y="19042"/>
                  </a:lnTo>
                  <a:lnTo>
                    <a:pt x="20935" y="18875"/>
                  </a:lnTo>
                  <a:lnTo>
                    <a:pt x="20434" y="18726"/>
                  </a:lnTo>
                  <a:lnTo>
                    <a:pt x="19915" y="18745"/>
                  </a:lnTo>
                  <a:lnTo>
                    <a:pt x="19432" y="18949"/>
                  </a:lnTo>
                  <a:lnTo>
                    <a:pt x="19246" y="19135"/>
                  </a:lnTo>
                  <a:lnTo>
                    <a:pt x="18820" y="19543"/>
                  </a:lnTo>
                  <a:lnTo>
                    <a:pt x="17892" y="20230"/>
                  </a:lnTo>
                  <a:lnTo>
                    <a:pt x="17372" y="20527"/>
                  </a:lnTo>
                  <a:lnTo>
                    <a:pt x="16964" y="20731"/>
                  </a:lnTo>
                  <a:lnTo>
                    <a:pt x="16073" y="21046"/>
                  </a:lnTo>
                  <a:lnTo>
                    <a:pt x="15071" y="21269"/>
                  </a:lnTo>
                  <a:lnTo>
                    <a:pt x="13994" y="21380"/>
                  </a:lnTo>
                  <a:lnTo>
                    <a:pt x="13419" y="21380"/>
                  </a:lnTo>
                  <a:lnTo>
                    <a:pt x="12732" y="21362"/>
                  </a:lnTo>
                  <a:lnTo>
                    <a:pt x="11433" y="21120"/>
                  </a:lnTo>
                  <a:lnTo>
                    <a:pt x="10802" y="20916"/>
                  </a:lnTo>
                  <a:lnTo>
                    <a:pt x="10190" y="20657"/>
                  </a:lnTo>
                  <a:lnTo>
                    <a:pt x="9076" y="20026"/>
                  </a:lnTo>
                  <a:lnTo>
                    <a:pt x="8557" y="19636"/>
                  </a:lnTo>
                  <a:lnTo>
                    <a:pt x="8074" y="19209"/>
                  </a:lnTo>
                  <a:lnTo>
                    <a:pt x="7295" y="18244"/>
                  </a:lnTo>
                  <a:lnTo>
                    <a:pt x="6979" y="17706"/>
                  </a:lnTo>
                  <a:lnTo>
                    <a:pt x="6682" y="17130"/>
                  </a:lnTo>
                  <a:lnTo>
                    <a:pt x="6329" y="15905"/>
                  </a:lnTo>
                  <a:lnTo>
                    <a:pt x="6274" y="15237"/>
                  </a:lnTo>
                  <a:lnTo>
                    <a:pt x="23905" y="15237"/>
                  </a:lnTo>
                  <a:lnTo>
                    <a:pt x="24202" y="15200"/>
                  </a:lnTo>
                  <a:lnTo>
                    <a:pt x="24721" y="14996"/>
                  </a:lnTo>
                  <a:lnTo>
                    <a:pt x="25111" y="14606"/>
                  </a:lnTo>
                  <a:lnTo>
                    <a:pt x="25334" y="14087"/>
                  </a:lnTo>
                  <a:lnTo>
                    <a:pt x="25352" y="13790"/>
                  </a:lnTo>
                  <a:lnTo>
                    <a:pt x="25352" y="13567"/>
                  </a:lnTo>
                  <a:lnTo>
                    <a:pt x="25352" y="12713"/>
                  </a:lnTo>
                  <a:lnTo>
                    <a:pt x="25222" y="11136"/>
                  </a:lnTo>
                  <a:lnTo>
                    <a:pt x="25000" y="9651"/>
                  </a:lnTo>
                  <a:lnTo>
                    <a:pt x="24666" y="8278"/>
                  </a:lnTo>
                  <a:lnTo>
                    <a:pt x="24443" y="7647"/>
                  </a:lnTo>
                  <a:lnTo>
                    <a:pt x="24202" y="7016"/>
                  </a:lnTo>
                  <a:lnTo>
                    <a:pt x="23663" y="5847"/>
                  </a:lnTo>
                  <a:lnTo>
                    <a:pt x="23032" y="4807"/>
                  </a:lnTo>
                  <a:lnTo>
                    <a:pt x="22309" y="3842"/>
                  </a:lnTo>
                  <a:lnTo>
                    <a:pt x="21919" y="3415"/>
                  </a:lnTo>
                  <a:lnTo>
                    <a:pt x="21511" y="3007"/>
                  </a:lnTo>
                  <a:lnTo>
                    <a:pt x="20620" y="2265"/>
                  </a:lnTo>
                  <a:lnTo>
                    <a:pt x="19655" y="1615"/>
                  </a:lnTo>
                  <a:lnTo>
                    <a:pt x="18634" y="1096"/>
                  </a:lnTo>
                  <a:lnTo>
                    <a:pt x="18077" y="873"/>
                  </a:lnTo>
                  <a:lnTo>
                    <a:pt x="17520" y="650"/>
                  </a:lnTo>
                  <a:lnTo>
                    <a:pt x="16370" y="335"/>
                  </a:lnTo>
                  <a:lnTo>
                    <a:pt x="15163" y="112"/>
                  </a:lnTo>
                  <a:lnTo>
                    <a:pt x="13901" y="19"/>
                  </a:lnTo>
                  <a:lnTo>
                    <a:pt x="13252" y="1"/>
                  </a:lnTo>
                  <a:close/>
                </a:path>
              </a:pathLst>
            </a:custGeom>
            <a:solidFill>
              <a:srgbClr val="F3F3E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134" name="Google Shape;134;p7"/>
            <p:cNvSpPr/>
            <p:nvPr/>
          </p:nvSpPr>
          <p:spPr>
            <a:xfrm>
              <a:off x="5884625" y="2663300"/>
              <a:ext cx="579075" cy="659800"/>
            </a:xfrm>
            <a:custGeom>
              <a:avLst/>
              <a:gdLst/>
              <a:ahLst/>
              <a:cxnLst/>
              <a:rect l="l" t="t" r="r" b="b"/>
              <a:pathLst>
                <a:path w="23163" h="26392" extrusionOk="0">
                  <a:moveTo>
                    <a:pt x="17223" y="14347"/>
                  </a:moveTo>
                  <a:lnTo>
                    <a:pt x="17223" y="15237"/>
                  </a:lnTo>
                  <a:lnTo>
                    <a:pt x="17205" y="15961"/>
                  </a:lnTo>
                  <a:lnTo>
                    <a:pt x="17001" y="17297"/>
                  </a:lnTo>
                  <a:lnTo>
                    <a:pt x="16574" y="18467"/>
                  </a:lnTo>
                  <a:lnTo>
                    <a:pt x="15943" y="19487"/>
                  </a:lnTo>
                  <a:lnTo>
                    <a:pt x="15553" y="19933"/>
                  </a:lnTo>
                  <a:lnTo>
                    <a:pt x="15108" y="20341"/>
                  </a:lnTo>
                  <a:lnTo>
                    <a:pt x="14087" y="20991"/>
                  </a:lnTo>
                  <a:lnTo>
                    <a:pt x="12862" y="21417"/>
                  </a:lnTo>
                  <a:lnTo>
                    <a:pt x="11433" y="21640"/>
                  </a:lnTo>
                  <a:lnTo>
                    <a:pt x="10653" y="21659"/>
                  </a:lnTo>
                  <a:lnTo>
                    <a:pt x="9855" y="21622"/>
                  </a:lnTo>
                  <a:lnTo>
                    <a:pt x="9076" y="21492"/>
                  </a:lnTo>
                  <a:lnTo>
                    <a:pt x="8705" y="21417"/>
                  </a:lnTo>
                  <a:lnTo>
                    <a:pt x="8000" y="21158"/>
                  </a:lnTo>
                  <a:lnTo>
                    <a:pt x="7666" y="20972"/>
                  </a:lnTo>
                  <a:lnTo>
                    <a:pt x="7369" y="20786"/>
                  </a:lnTo>
                  <a:lnTo>
                    <a:pt x="6867" y="20304"/>
                  </a:lnTo>
                  <a:lnTo>
                    <a:pt x="6645" y="20007"/>
                  </a:lnTo>
                  <a:lnTo>
                    <a:pt x="6478" y="19691"/>
                  </a:lnTo>
                  <a:lnTo>
                    <a:pt x="6274" y="18949"/>
                  </a:lnTo>
                  <a:lnTo>
                    <a:pt x="6255" y="18522"/>
                  </a:lnTo>
                  <a:lnTo>
                    <a:pt x="6274" y="18170"/>
                  </a:lnTo>
                  <a:lnTo>
                    <a:pt x="6385" y="17557"/>
                  </a:lnTo>
                  <a:lnTo>
                    <a:pt x="6626" y="17000"/>
                  </a:lnTo>
                  <a:lnTo>
                    <a:pt x="6979" y="16518"/>
                  </a:lnTo>
                  <a:lnTo>
                    <a:pt x="7202" y="16314"/>
                  </a:lnTo>
                  <a:lnTo>
                    <a:pt x="7684" y="15924"/>
                  </a:lnTo>
                  <a:lnTo>
                    <a:pt x="8872" y="15293"/>
                  </a:lnTo>
                  <a:lnTo>
                    <a:pt x="9540" y="15052"/>
                  </a:lnTo>
                  <a:lnTo>
                    <a:pt x="10264" y="14848"/>
                  </a:lnTo>
                  <a:lnTo>
                    <a:pt x="11804" y="14551"/>
                  </a:lnTo>
                  <a:lnTo>
                    <a:pt x="12621" y="14476"/>
                  </a:lnTo>
                  <a:lnTo>
                    <a:pt x="14272" y="14365"/>
                  </a:lnTo>
                  <a:lnTo>
                    <a:pt x="15813" y="14347"/>
                  </a:lnTo>
                  <a:close/>
                  <a:moveTo>
                    <a:pt x="12008" y="1"/>
                  </a:moveTo>
                  <a:lnTo>
                    <a:pt x="11284" y="19"/>
                  </a:lnTo>
                  <a:lnTo>
                    <a:pt x="9855" y="131"/>
                  </a:lnTo>
                  <a:lnTo>
                    <a:pt x="8445" y="390"/>
                  </a:lnTo>
                  <a:lnTo>
                    <a:pt x="7035" y="762"/>
                  </a:lnTo>
                  <a:lnTo>
                    <a:pt x="6348" y="1003"/>
                  </a:lnTo>
                  <a:lnTo>
                    <a:pt x="5327" y="1374"/>
                  </a:lnTo>
                  <a:lnTo>
                    <a:pt x="3434" y="2376"/>
                  </a:lnTo>
                  <a:lnTo>
                    <a:pt x="2580" y="3007"/>
                  </a:lnTo>
                  <a:lnTo>
                    <a:pt x="2339" y="3193"/>
                  </a:lnTo>
                  <a:lnTo>
                    <a:pt x="2061" y="3712"/>
                  </a:lnTo>
                  <a:lnTo>
                    <a:pt x="2005" y="4269"/>
                  </a:lnTo>
                  <a:lnTo>
                    <a:pt x="2191" y="4845"/>
                  </a:lnTo>
                  <a:lnTo>
                    <a:pt x="2358" y="5086"/>
                  </a:lnTo>
                  <a:lnTo>
                    <a:pt x="3712" y="6663"/>
                  </a:lnTo>
                  <a:lnTo>
                    <a:pt x="3898" y="6867"/>
                  </a:lnTo>
                  <a:lnTo>
                    <a:pt x="4381" y="7127"/>
                  </a:lnTo>
                  <a:lnTo>
                    <a:pt x="4900" y="7183"/>
                  </a:lnTo>
                  <a:lnTo>
                    <a:pt x="5420" y="7053"/>
                  </a:lnTo>
                  <a:lnTo>
                    <a:pt x="5661" y="6905"/>
                  </a:lnTo>
                  <a:lnTo>
                    <a:pt x="6107" y="6589"/>
                  </a:lnTo>
                  <a:lnTo>
                    <a:pt x="7127" y="5995"/>
                  </a:lnTo>
                  <a:lnTo>
                    <a:pt x="7684" y="5735"/>
                  </a:lnTo>
                  <a:lnTo>
                    <a:pt x="8129" y="5550"/>
                  </a:lnTo>
                  <a:lnTo>
                    <a:pt x="9057" y="5234"/>
                  </a:lnTo>
                  <a:lnTo>
                    <a:pt x="10022" y="5012"/>
                  </a:lnTo>
                  <a:lnTo>
                    <a:pt x="10988" y="4919"/>
                  </a:lnTo>
                  <a:lnTo>
                    <a:pt x="11489" y="4900"/>
                  </a:lnTo>
                  <a:lnTo>
                    <a:pt x="12064" y="4919"/>
                  </a:lnTo>
                  <a:lnTo>
                    <a:pt x="13159" y="5049"/>
                  </a:lnTo>
                  <a:lnTo>
                    <a:pt x="14161" y="5346"/>
                  </a:lnTo>
                  <a:lnTo>
                    <a:pt x="15089" y="5754"/>
                  </a:lnTo>
                  <a:lnTo>
                    <a:pt x="15534" y="6032"/>
                  </a:lnTo>
                  <a:lnTo>
                    <a:pt x="15924" y="6311"/>
                  </a:lnTo>
                  <a:lnTo>
                    <a:pt x="16574" y="7034"/>
                  </a:lnTo>
                  <a:lnTo>
                    <a:pt x="16982" y="7907"/>
                  </a:lnTo>
                  <a:lnTo>
                    <a:pt x="17205" y="8927"/>
                  </a:lnTo>
                  <a:lnTo>
                    <a:pt x="17223" y="9484"/>
                  </a:lnTo>
                  <a:lnTo>
                    <a:pt x="17223" y="10115"/>
                  </a:lnTo>
                  <a:lnTo>
                    <a:pt x="15757" y="10134"/>
                  </a:lnTo>
                  <a:lnTo>
                    <a:pt x="12769" y="10282"/>
                  </a:lnTo>
                  <a:lnTo>
                    <a:pt x="11247" y="10412"/>
                  </a:lnTo>
                  <a:lnTo>
                    <a:pt x="9744" y="10579"/>
                  </a:lnTo>
                  <a:lnTo>
                    <a:pt x="7647" y="11006"/>
                  </a:lnTo>
                  <a:lnTo>
                    <a:pt x="6329" y="11359"/>
                  </a:lnTo>
                  <a:lnTo>
                    <a:pt x="5698" y="11581"/>
                  </a:lnTo>
                  <a:lnTo>
                    <a:pt x="5067" y="11804"/>
                  </a:lnTo>
                  <a:lnTo>
                    <a:pt x="3935" y="12361"/>
                  </a:lnTo>
                  <a:lnTo>
                    <a:pt x="2914" y="12992"/>
                  </a:lnTo>
                  <a:lnTo>
                    <a:pt x="2005" y="13734"/>
                  </a:lnTo>
                  <a:lnTo>
                    <a:pt x="1597" y="14142"/>
                  </a:lnTo>
                  <a:lnTo>
                    <a:pt x="1207" y="14569"/>
                  </a:lnTo>
                  <a:lnTo>
                    <a:pt x="613" y="15553"/>
                  </a:lnTo>
                  <a:lnTo>
                    <a:pt x="223" y="16666"/>
                  </a:lnTo>
                  <a:lnTo>
                    <a:pt x="19" y="17928"/>
                  </a:lnTo>
                  <a:lnTo>
                    <a:pt x="1" y="18615"/>
                  </a:lnTo>
                  <a:lnTo>
                    <a:pt x="19" y="19172"/>
                  </a:lnTo>
                  <a:lnTo>
                    <a:pt x="131" y="20174"/>
                  </a:lnTo>
                  <a:lnTo>
                    <a:pt x="353" y="21083"/>
                  </a:lnTo>
                  <a:lnTo>
                    <a:pt x="706" y="21919"/>
                  </a:lnTo>
                  <a:lnTo>
                    <a:pt x="910" y="22308"/>
                  </a:lnTo>
                  <a:lnTo>
                    <a:pt x="1151" y="22661"/>
                  </a:lnTo>
                  <a:lnTo>
                    <a:pt x="1671" y="23348"/>
                  </a:lnTo>
                  <a:lnTo>
                    <a:pt x="2246" y="23941"/>
                  </a:lnTo>
                  <a:lnTo>
                    <a:pt x="2877" y="24461"/>
                  </a:lnTo>
                  <a:lnTo>
                    <a:pt x="3211" y="24702"/>
                  </a:lnTo>
                  <a:lnTo>
                    <a:pt x="3917" y="25129"/>
                  </a:lnTo>
                  <a:lnTo>
                    <a:pt x="5420" y="25779"/>
                  </a:lnTo>
                  <a:lnTo>
                    <a:pt x="6236" y="26001"/>
                  </a:lnTo>
                  <a:lnTo>
                    <a:pt x="7053" y="26187"/>
                  </a:lnTo>
                  <a:lnTo>
                    <a:pt x="8631" y="26373"/>
                  </a:lnTo>
                  <a:lnTo>
                    <a:pt x="9391" y="26391"/>
                  </a:lnTo>
                  <a:lnTo>
                    <a:pt x="10060" y="26391"/>
                  </a:lnTo>
                  <a:lnTo>
                    <a:pt x="11303" y="26243"/>
                  </a:lnTo>
                  <a:lnTo>
                    <a:pt x="12491" y="25983"/>
                  </a:lnTo>
                  <a:lnTo>
                    <a:pt x="13604" y="25575"/>
                  </a:lnTo>
                  <a:lnTo>
                    <a:pt x="14143" y="25315"/>
                  </a:lnTo>
                  <a:lnTo>
                    <a:pt x="14644" y="25055"/>
                  </a:lnTo>
                  <a:lnTo>
                    <a:pt x="15553" y="24442"/>
                  </a:lnTo>
                  <a:lnTo>
                    <a:pt x="16314" y="23756"/>
                  </a:lnTo>
                  <a:lnTo>
                    <a:pt x="16926" y="22995"/>
                  </a:lnTo>
                  <a:lnTo>
                    <a:pt x="17168" y="22587"/>
                  </a:lnTo>
                  <a:lnTo>
                    <a:pt x="17316" y="22587"/>
                  </a:lnTo>
                  <a:lnTo>
                    <a:pt x="17316" y="24313"/>
                  </a:lnTo>
                  <a:lnTo>
                    <a:pt x="17335" y="24610"/>
                  </a:lnTo>
                  <a:lnTo>
                    <a:pt x="17557" y="25129"/>
                  </a:lnTo>
                  <a:lnTo>
                    <a:pt x="17947" y="25519"/>
                  </a:lnTo>
                  <a:lnTo>
                    <a:pt x="18467" y="25742"/>
                  </a:lnTo>
                  <a:lnTo>
                    <a:pt x="18764" y="25760"/>
                  </a:lnTo>
                  <a:lnTo>
                    <a:pt x="21715" y="25760"/>
                  </a:lnTo>
                  <a:lnTo>
                    <a:pt x="22011" y="25742"/>
                  </a:lnTo>
                  <a:lnTo>
                    <a:pt x="22531" y="25519"/>
                  </a:lnTo>
                  <a:lnTo>
                    <a:pt x="22921" y="25129"/>
                  </a:lnTo>
                  <a:lnTo>
                    <a:pt x="23144" y="24610"/>
                  </a:lnTo>
                  <a:lnTo>
                    <a:pt x="23162" y="24313"/>
                  </a:lnTo>
                  <a:lnTo>
                    <a:pt x="23162" y="10542"/>
                  </a:lnTo>
                  <a:lnTo>
                    <a:pt x="23144" y="9596"/>
                  </a:lnTo>
                  <a:lnTo>
                    <a:pt x="22902" y="7721"/>
                  </a:lnTo>
                  <a:lnTo>
                    <a:pt x="22661" y="6775"/>
                  </a:lnTo>
                  <a:lnTo>
                    <a:pt x="22531" y="6311"/>
                  </a:lnTo>
                  <a:lnTo>
                    <a:pt x="22197" y="5420"/>
                  </a:lnTo>
                  <a:lnTo>
                    <a:pt x="21752" y="4566"/>
                  </a:lnTo>
                  <a:lnTo>
                    <a:pt x="21232" y="3768"/>
                  </a:lnTo>
                  <a:lnTo>
                    <a:pt x="20917" y="3378"/>
                  </a:lnTo>
                  <a:lnTo>
                    <a:pt x="20917" y="3397"/>
                  </a:lnTo>
                  <a:lnTo>
                    <a:pt x="20601" y="3026"/>
                  </a:lnTo>
                  <a:lnTo>
                    <a:pt x="19859" y="2339"/>
                  </a:lnTo>
                  <a:lnTo>
                    <a:pt x="19005" y="1727"/>
                  </a:lnTo>
                  <a:lnTo>
                    <a:pt x="18040" y="1188"/>
                  </a:lnTo>
                  <a:lnTo>
                    <a:pt x="17502" y="947"/>
                  </a:lnTo>
                  <a:lnTo>
                    <a:pt x="16945" y="724"/>
                  </a:lnTo>
                  <a:lnTo>
                    <a:pt x="15720" y="372"/>
                  </a:lnTo>
                  <a:lnTo>
                    <a:pt x="14347" y="131"/>
                  </a:lnTo>
                  <a:lnTo>
                    <a:pt x="12825" y="19"/>
                  </a:lnTo>
                  <a:lnTo>
                    <a:pt x="12008" y="1"/>
                  </a:lnTo>
                  <a:close/>
                </a:path>
              </a:pathLst>
            </a:custGeom>
            <a:solidFill>
              <a:srgbClr val="F3F3E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135" name="Google Shape;135;p7"/>
            <p:cNvSpPr/>
            <p:nvPr/>
          </p:nvSpPr>
          <p:spPr>
            <a:xfrm>
              <a:off x="6545800" y="2664225"/>
              <a:ext cx="373975" cy="643550"/>
            </a:xfrm>
            <a:custGeom>
              <a:avLst/>
              <a:gdLst/>
              <a:ahLst/>
              <a:cxnLst/>
              <a:rect l="l" t="t" r="r" b="b"/>
              <a:pathLst>
                <a:path w="14959" h="25742" extrusionOk="0">
                  <a:moveTo>
                    <a:pt x="13400" y="1"/>
                  </a:moveTo>
                  <a:lnTo>
                    <a:pt x="13400" y="19"/>
                  </a:lnTo>
                  <a:lnTo>
                    <a:pt x="12639" y="75"/>
                  </a:lnTo>
                  <a:lnTo>
                    <a:pt x="11339" y="279"/>
                  </a:lnTo>
                  <a:lnTo>
                    <a:pt x="10300" y="613"/>
                  </a:lnTo>
                  <a:lnTo>
                    <a:pt x="9409" y="1059"/>
                  </a:lnTo>
                  <a:lnTo>
                    <a:pt x="9020" y="1318"/>
                  </a:lnTo>
                  <a:lnTo>
                    <a:pt x="8556" y="1671"/>
                  </a:lnTo>
                  <a:lnTo>
                    <a:pt x="7721" y="2451"/>
                  </a:lnTo>
                  <a:lnTo>
                    <a:pt x="6997" y="3341"/>
                  </a:lnTo>
                  <a:lnTo>
                    <a:pt x="6366" y="4325"/>
                  </a:lnTo>
                  <a:lnTo>
                    <a:pt x="6106" y="4863"/>
                  </a:lnTo>
                  <a:lnTo>
                    <a:pt x="5995" y="4863"/>
                  </a:lnTo>
                  <a:lnTo>
                    <a:pt x="5995" y="2135"/>
                  </a:lnTo>
                  <a:lnTo>
                    <a:pt x="5976" y="1838"/>
                  </a:lnTo>
                  <a:lnTo>
                    <a:pt x="5753" y="1318"/>
                  </a:lnTo>
                  <a:lnTo>
                    <a:pt x="5364" y="929"/>
                  </a:lnTo>
                  <a:lnTo>
                    <a:pt x="4844" y="706"/>
                  </a:lnTo>
                  <a:lnTo>
                    <a:pt x="4547" y="687"/>
                  </a:lnTo>
                  <a:lnTo>
                    <a:pt x="1448" y="687"/>
                  </a:lnTo>
                  <a:lnTo>
                    <a:pt x="1151" y="706"/>
                  </a:lnTo>
                  <a:lnTo>
                    <a:pt x="631" y="929"/>
                  </a:lnTo>
                  <a:lnTo>
                    <a:pt x="241" y="1318"/>
                  </a:lnTo>
                  <a:lnTo>
                    <a:pt x="19" y="1838"/>
                  </a:lnTo>
                  <a:lnTo>
                    <a:pt x="0" y="2135"/>
                  </a:lnTo>
                  <a:lnTo>
                    <a:pt x="0" y="24276"/>
                  </a:lnTo>
                  <a:lnTo>
                    <a:pt x="19" y="24573"/>
                  </a:lnTo>
                  <a:lnTo>
                    <a:pt x="241" y="25092"/>
                  </a:lnTo>
                  <a:lnTo>
                    <a:pt x="631" y="25500"/>
                  </a:lnTo>
                  <a:lnTo>
                    <a:pt x="1151" y="25705"/>
                  </a:lnTo>
                  <a:lnTo>
                    <a:pt x="1448" y="25742"/>
                  </a:lnTo>
                  <a:lnTo>
                    <a:pt x="4807" y="25742"/>
                  </a:lnTo>
                  <a:lnTo>
                    <a:pt x="5104" y="25705"/>
                  </a:lnTo>
                  <a:lnTo>
                    <a:pt x="5623" y="25500"/>
                  </a:lnTo>
                  <a:lnTo>
                    <a:pt x="6013" y="25092"/>
                  </a:lnTo>
                  <a:lnTo>
                    <a:pt x="6236" y="24573"/>
                  </a:lnTo>
                  <a:lnTo>
                    <a:pt x="6254" y="24276"/>
                  </a:lnTo>
                  <a:lnTo>
                    <a:pt x="6254" y="12324"/>
                  </a:lnTo>
                  <a:lnTo>
                    <a:pt x="6273" y="11971"/>
                  </a:lnTo>
                  <a:lnTo>
                    <a:pt x="6403" y="11062"/>
                  </a:lnTo>
                  <a:lnTo>
                    <a:pt x="6514" y="10505"/>
                  </a:lnTo>
                  <a:lnTo>
                    <a:pt x="6663" y="9930"/>
                  </a:lnTo>
                  <a:lnTo>
                    <a:pt x="7164" y="8816"/>
                  </a:lnTo>
                  <a:lnTo>
                    <a:pt x="7516" y="8259"/>
                  </a:lnTo>
                  <a:lnTo>
                    <a:pt x="7906" y="7721"/>
                  </a:lnTo>
                  <a:lnTo>
                    <a:pt x="8908" y="6775"/>
                  </a:lnTo>
                  <a:lnTo>
                    <a:pt x="9539" y="6385"/>
                  </a:lnTo>
                  <a:lnTo>
                    <a:pt x="10170" y="6014"/>
                  </a:lnTo>
                  <a:lnTo>
                    <a:pt x="11636" y="5439"/>
                  </a:lnTo>
                  <a:lnTo>
                    <a:pt x="12917" y="5142"/>
                  </a:lnTo>
                  <a:lnTo>
                    <a:pt x="13678" y="5030"/>
                  </a:lnTo>
                  <a:lnTo>
                    <a:pt x="13938" y="4993"/>
                  </a:lnTo>
                  <a:lnTo>
                    <a:pt x="14420" y="4752"/>
                  </a:lnTo>
                  <a:lnTo>
                    <a:pt x="14754" y="4344"/>
                  </a:lnTo>
                  <a:lnTo>
                    <a:pt x="14940" y="3861"/>
                  </a:lnTo>
                  <a:lnTo>
                    <a:pt x="14958" y="3583"/>
                  </a:lnTo>
                  <a:lnTo>
                    <a:pt x="14940" y="1430"/>
                  </a:lnTo>
                  <a:lnTo>
                    <a:pt x="14903" y="1133"/>
                  </a:lnTo>
                  <a:lnTo>
                    <a:pt x="14661" y="595"/>
                  </a:lnTo>
                  <a:lnTo>
                    <a:pt x="14253" y="205"/>
                  </a:lnTo>
                  <a:lnTo>
                    <a:pt x="13696" y="1"/>
                  </a:lnTo>
                  <a:close/>
                </a:path>
              </a:pathLst>
            </a:custGeom>
            <a:solidFill>
              <a:srgbClr val="F3F3E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136" name="Google Shape;136;p7"/>
            <p:cNvSpPr/>
            <p:nvPr/>
          </p:nvSpPr>
          <p:spPr>
            <a:xfrm>
              <a:off x="6961975" y="2500450"/>
              <a:ext cx="420375" cy="820325"/>
            </a:xfrm>
            <a:custGeom>
              <a:avLst/>
              <a:gdLst/>
              <a:ahLst/>
              <a:cxnLst/>
              <a:rect l="l" t="t" r="r" b="b"/>
              <a:pathLst>
                <a:path w="16815" h="32813" extrusionOk="0">
                  <a:moveTo>
                    <a:pt x="5846" y="1"/>
                  </a:moveTo>
                  <a:lnTo>
                    <a:pt x="5549" y="19"/>
                  </a:lnTo>
                  <a:lnTo>
                    <a:pt x="5030" y="242"/>
                  </a:lnTo>
                  <a:lnTo>
                    <a:pt x="4621" y="632"/>
                  </a:lnTo>
                  <a:lnTo>
                    <a:pt x="4417" y="1151"/>
                  </a:lnTo>
                  <a:lnTo>
                    <a:pt x="4399" y="1448"/>
                  </a:lnTo>
                  <a:lnTo>
                    <a:pt x="4399" y="6515"/>
                  </a:lnTo>
                  <a:lnTo>
                    <a:pt x="1448" y="6515"/>
                  </a:lnTo>
                  <a:lnTo>
                    <a:pt x="1169" y="6533"/>
                  </a:lnTo>
                  <a:lnTo>
                    <a:pt x="650" y="6756"/>
                  </a:lnTo>
                  <a:lnTo>
                    <a:pt x="242" y="7146"/>
                  </a:lnTo>
                  <a:lnTo>
                    <a:pt x="19" y="7665"/>
                  </a:lnTo>
                  <a:lnTo>
                    <a:pt x="0" y="7962"/>
                  </a:lnTo>
                  <a:lnTo>
                    <a:pt x="0" y="10078"/>
                  </a:lnTo>
                  <a:lnTo>
                    <a:pt x="19" y="10375"/>
                  </a:lnTo>
                  <a:lnTo>
                    <a:pt x="242" y="10895"/>
                  </a:lnTo>
                  <a:lnTo>
                    <a:pt x="650" y="11284"/>
                  </a:lnTo>
                  <a:lnTo>
                    <a:pt x="1169" y="11507"/>
                  </a:lnTo>
                  <a:lnTo>
                    <a:pt x="1448" y="11526"/>
                  </a:lnTo>
                  <a:lnTo>
                    <a:pt x="4399" y="11526"/>
                  </a:lnTo>
                  <a:lnTo>
                    <a:pt x="4399" y="23941"/>
                  </a:lnTo>
                  <a:lnTo>
                    <a:pt x="4399" y="24851"/>
                  </a:lnTo>
                  <a:lnTo>
                    <a:pt x="4566" y="26558"/>
                  </a:lnTo>
                  <a:lnTo>
                    <a:pt x="4733" y="27356"/>
                  </a:lnTo>
                  <a:lnTo>
                    <a:pt x="4918" y="28136"/>
                  </a:lnTo>
                  <a:lnTo>
                    <a:pt x="5549" y="29546"/>
                  </a:lnTo>
                  <a:lnTo>
                    <a:pt x="5976" y="30177"/>
                  </a:lnTo>
                  <a:lnTo>
                    <a:pt x="6217" y="30474"/>
                  </a:lnTo>
                  <a:lnTo>
                    <a:pt x="6756" y="31031"/>
                  </a:lnTo>
                  <a:lnTo>
                    <a:pt x="7368" y="31513"/>
                  </a:lnTo>
                  <a:lnTo>
                    <a:pt x="8073" y="31922"/>
                  </a:lnTo>
                  <a:lnTo>
                    <a:pt x="8463" y="32107"/>
                  </a:lnTo>
                  <a:lnTo>
                    <a:pt x="8853" y="32274"/>
                  </a:lnTo>
                  <a:lnTo>
                    <a:pt x="9762" y="32534"/>
                  </a:lnTo>
                  <a:lnTo>
                    <a:pt x="10783" y="32720"/>
                  </a:lnTo>
                  <a:lnTo>
                    <a:pt x="11915" y="32794"/>
                  </a:lnTo>
                  <a:lnTo>
                    <a:pt x="12527" y="32812"/>
                  </a:lnTo>
                  <a:lnTo>
                    <a:pt x="13047" y="32794"/>
                  </a:lnTo>
                  <a:lnTo>
                    <a:pt x="14142" y="32701"/>
                  </a:lnTo>
                  <a:lnTo>
                    <a:pt x="14717" y="32627"/>
                  </a:lnTo>
                  <a:lnTo>
                    <a:pt x="15274" y="32534"/>
                  </a:lnTo>
                  <a:lnTo>
                    <a:pt x="16276" y="32274"/>
                  </a:lnTo>
                  <a:lnTo>
                    <a:pt x="16703" y="32126"/>
                  </a:lnTo>
                  <a:lnTo>
                    <a:pt x="16499" y="27226"/>
                  </a:lnTo>
                  <a:lnTo>
                    <a:pt x="15887" y="27467"/>
                  </a:lnTo>
                  <a:lnTo>
                    <a:pt x="15181" y="27616"/>
                  </a:lnTo>
                  <a:lnTo>
                    <a:pt x="14476" y="27727"/>
                  </a:lnTo>
                  <a:lnTo>
                    <a:pt x="13827" y="27746"/>
                  </a:lnTo>
                  <a:lnTo>
                    <a:pt x="13326" y="27746"/>
                  </a:lnTo>
                  <a:lnTo>
                    <a:pt x="12472" y="27597"/>
                  </a:lnTo>
                  <a:lnTo>
                    <a:pt x="11804" y="27319"/>
                  </a:lnTo>
                  <a:lnTo>
                    <a:pt x="11303" y="26911"/>
                  </a:lnTo>
                  <a:lnTo>
                    <a:pt x="11154" y="26651"/>
                  </a:lnTo>
                  <a:lnTo>
                    <a:pt x="11006" y="26372"/>
                  </a:lnTo>
                  <a:lnTo>
                    <a:pt x="10783" y="25760"/>
                  </a:lnTo>
                  <a:lnTo>
                    <a:pt x="10560" y="24702"/>
                  </a:lnTo>
                  <a:lnTo>
                    <a:pt x="10542" y="23886"/>
                  </a:lnTo>
                  <a:lnTo>
                    <a:pt x="10542" y="11526"/>
                  </a:lnTo>
                  <a:lnTo>
                    <a:pt x="15367" y="11526"/>
                  </a:lnTo>
                  <a:lnTo>
                    <a:pt x="15645" y="11507"/>
                  </a:lnTo>
                  <a:lnTo>
                    <a:pt x="16165" y="11284"/>
                  </a:lnTo>
                  <a:lnTo>
                    <a:pt x="16573" y="10895"/>
                  </a:lnTo>
                  <a:lnTo>
                    <a:pt x="16796" y="10375"/>
                  </a:lnTo>
                  <a:lnTo>
                    <a:pt x="16815" y="10078"/>
                  </a:lnTo>
                  <a:lnTo>
                    <a:pt x="16815" y="7962"/>
                  </a:lnTo>
                  <a:lnTo>
                    <a:pt x="16796" y="7665"/>
                  </a:lnTo>
                  <a:lnTo>
                    <a:pt x="16573" y="7146"/>
                  </a:lnTo>
                  <a:lnTo>
                    <a:pt x="16165" y="6756"/>
                  </a:lnTo>
                  <a:lnTo>
                    <a:pt x="15645" y="6533"/>
                  </a:lnTo>
                  <a:lnTo>
                    <a:pt x="15367" y="6515"/>
                  </a:lnTo>
                  <a:lnTo>
                    <a:pt x="10542" y="6515"/>
                  </a:lnTo>
                  <a:lnTo>
                    <a:pt x="10542" y="1448"/>
                  </a:lnTo>
                  <a:lnTo>
                    <a:pt x="10523" y="1151"/>
                  </a:lnTo>
                  <a:lnTo>
                    <a:pt x="10300" y="632"/>
                  </a:lnTo>
                  <a:lnTo>
                    <a:pt x="9911" y="242"/>
                  </a:lnTo>
                  <a:lnTo>
                    <a:pt x="9391" y="19"/>
                  </a:lnTo>
                  <a:lnTo>
                    <a:pt x="9094" y="1"/>
                  </a:lnTo>
                  <a:close/>
                </a:path>
              </a:pathLst>
            </a:custGeom>
            <a:solidFill>
              <a:srgbClr val="F3F3E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137" name="Google Shape;137;p7"/>
            <p:cNvSpPr/>
            <p:nvPr/>
          </p:nvSpPr>
          <p:spPr>
            <a:xfrm>
              <a:off x="4511750" y="2466575"/>
              <a:ext cx="655150" cy="841200"/>
            </a:xfrm>
            <a:custGeom>
              <a:avLst/>
              <a:gdLst/>
              <a:ahLst/>
              <a:cxnLst/>
              <a:rect l="l" t="t" r="r" b="b"/>
              <a:pathLst>
                <a:path w="26206" h="33648" extrusionOk="0">
                  <a:moveTo>
                    <a:pt x="1466" y="1"/>
                  </a:moveTo>
                  <a:lnTo>
                    <a:pt x="1169" y="19"/>
                  </a:lnTo>
                  <a:lnTo>
                    <a:pt x="650" y="242"/>
                  </a:lnTo>
                  <a:lnTo>
                    <a:pt x="241" y="632"/>
                  </a:lnTo>
                  <a:lnTo>
                    <a:pt x="19" y="1151"/>
                  </a:lnTo>
                  <a:lnTo>
                    <a:pt x="0" y="1448"/>
                  </a:lnTo>
                  <a:lnTo>
                    <a:pt x="0" y="32200"/>
                  </a:lnTo>
                  <a:lnTo>
                    <a:pt x="19" y="32497"/>
                  </a:lnTo>
                  <a:lnTo>
                    <a:pt x="241" y="33017"/>
                  </a:lnTo>
                  <a:lnTo>
                    <a:pt x="650" y="33406"/>
                  </a:lnTo>
                  <a:lnTo>
                    <a:pt x="1169" y="33629"/>
                  </a:lnTo>
                  <a:lnTo>
                    <a:pt x="1466" y="33648"/>
                  </a:lnTo>
                  <a:lnTo>
                    <a:pt x="4825" y="33648"/>
                  </a:lnTo>
                  <a:lnTo>
                    <a:pt x="5122" y="33629"/>
                  </a:lnTo>
                  <a:lnTo>
                    <a:pt x="5642" y="33406"/>
                  </a:lnTo>
                  <a:lnTo>
                    <a:pt x="6032" y="33017"/>
                  </a:lnTo>
                  <a:lnTo>
                    <a:pt x="6255" y="32497"/>
                  </a:lnTo>
                  <a:lnTo>
                    <a:pt x="6273" y="32200"/>
                  </a:lnTo>
                  <a:lnTo>
                    <a:pt x="6273" y="18133"/>
                  </a:lnTo>
                  <a:lnTo>
                    <a:pt x="19932" y="18133"/>
                  </a:lnTo>
                  <a:lnTo>
                    <a:pt x="19932" y="32200"/>
                  </a:lnTo>
                  <a:lnTo>
                    <a:pt x="19951" y="32497"/>
                  </a:lnTo>
                  <a:lnTo>
                    <a:pt x="20174" y="33017"/>
                  </a:lnTo>
                  <a:lnTo>
                    <a:pt x="20563" y="33406"/>
                  </a:lnTo>
                  <a:lnTo>
                    <a:pt x="21083" y="33629"/>
                  </a:lnTo>
                  <a:lnTo>
                    <a:pt x="21380" y="33648"/>
                  </a:lnTo>
                  <a:lnTo>
                    <a:pt x="24758" y="33648"/>
                  </a:lnTo>
                  <a:lnTo>
                    <a:pt x="25036" y="33629"/>
                  </a:lnTo>
                  <a:lnTo>
                    <a:pt x="25556" y="33406"/>
                  </a:lnTo>
                  <a:lnTo>
                    <a:pt x="25964" y="33017"/>
                  </a:lnTo>
                  <a:lnTo>
                    <a:pt x="26187" y="32497"/>
                  </a:lnTo>
                  <a:lnTo>
                    <a:pt x="26205" y="32200"/>
                  </a:lnTo>
                  <a:lnTo>
                    <a:pt x="26205" y="1448"/>
                  </a:lnTo>
                  <a:lnTo>
                    <a:pt x="26187" y="1151"/>
                  </a:lnTo>
                  <a:lnTo>
                    <a:pt x="25964" y="632"/>
                  </a:lnTo>
                  <a:lnTo>
                    <a:pt x="25556" y="242"/>
                  </a:lnTo>
                  <a:lnTo>
                    <a:pt x="25036" y="19"/>
                  </a:lnTo>
                  <a:lnTo>
                    <a:pt x="24758" y="1"/>
                  </a:lnTo>
                  <a:lnTo>
                    <a:pt x="21380" y="1"/>
                  </a:lnTo>
                  <a:lnTo>
                    <a:pt x="21083" y="19"/>
                  </a:lnTo>
                  <a:lnTo>
                    <a:pt x="20563" y="242"/>
                  </a:lnTo>
                  <a:lnTo>
                    <a:pt x="20174" y="632"/>
                  </a:lnTo>
                  <a:lnTo>
                    <a:pt x="19951" y="1151"/>
                  </a:lnTo>
                  <a:lnTo>
                    <a:pt x="19932" y="1448"/>
                  </a:lnTo>
                  <a:lnTo>
                    <a:pt x="19932" y="13641"/>
                  </a:lnTo>
                  <a:lnTo>
                    <a:pt x="6273" y="13641"/>
                  </a:lnTo>
                  <a:lnTo>
                    <a:pt x="6273" y="1448"/>
                  </a:lnTo>
                  <a:lnTo>
                    <a:pt x="6255" y="1151"/>
                  </a:lnTo>
                  <a:lnTo>
                    <a:pt x="6032" y="632"/>
                  </a:lnTo>
                  <a:lnTo>
                    <a:pt x="5642" y="242"/>
                  </a:lnTo>
                  <a:lnTo>
                    <a:pt x="5122" y="19"/>
                  </a:lnTo>
                  <a:lnTo>
                    <a:pt x="4825" y="1"/>
                  </a:lnTo>
                  <a:close/>
                </a:path>
              </a:pathLst>
            </a:custGeom>
            <a:solidFill>
              <a:srgbClr val="F3F3E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138" name="Google Shape;138;p7"/>
            <p:cNvSpPr/>
            <p:nvPr/>
          </p:nvSpPr>
          <p:spPr>
            <a:xfrm>
              <a:off x="2392800" y="2663300"/>
              <a:ext cx="633800" cy="662575"/>
            </a:xfrm>
            <a:custGeom>
              <a:avLst/>
              <a:gdLst/>
              <a:ahLst/>
              <a:cxnLst/>
              <a:rect l="l" t="t" r="r" b="b"/>
              <a:pathLst>
                <a:path w="25352" h="26503" extrusionOk="0">
                  <a:moveTo>
                    <a:pt x="13195" y="4696"/>
                  </a:moveTo>
                  <a:lnTo>
                    <a:pt x="13938" y="4715"/>
                  </a:lnTo>
                  <a:lnTo>
                    <a:pt x="15255" y="4974"/>
                  </a:lnTo>
                  <a:lnTo>
                    <a:pt x="15831" y="5197"/>
                  </a:lnTo>
                  <a:lnTo>
                    <a:pt x="16369" y="5457"/>
                  </a:lnTo>
                  <a:lnTo>
                    <a:pt x="17297" y="6125"/>
                  </a:lnTo>
                  <a:lnTo>
                    <a:pt x="17687" y="6515"/>
                  </a:lnTo>
                  <a:lnTo>
                    <a:pt x="18039" y="6942"/>
                  </a:lnTo>
                  <a:lnTo>
                    <a:pt x="18559" y="7907"/>
                  </a:lnTo>
                  <a:lnTo>
                    <a:pt x="18745" y="8445"/>
                  </a:lnTo>
                  <a:lnTo>
                    <a:pt x="18912" y="9002"/>
                  </a:lnTo>
                  <a:lnTo>
                    <a:pt x="19079" y="10152"/>
                  </a:lnTo>
                  <a:lnTo>
                    <a:pt x="19097" y="10746"/>
                  </a:lnTo>
                  <a:lnTo>
                    <a:pt x="6254" y="10746"/>
                  </a:lnTo>
                  <a:lnTo>
                    <a:pt x="6329" y="10097"/>
                  </a:lnTo>
                  <a:lnTo>
                    <a:pt x="6663" y="8890"/>
                  </a:lnTo>
                  <a:lnTo>
                    <a:pt x="7201" y="7795"/>
                  </a:lnTo>
                  <a:lnTo>
                    <a:pt x="7962" y="6830"/>
                  </a:lnTo>
                  <a:lnTo>
                    <a:pt x="8426" y="6403"/>
                  </a:lnTo>
                  <a:lnTo>
                    <a:pt x="8927" y="5995"/>
                  </a:lnTo>
                  <a:lnTo>
                    <a:pt x="10003" y="5346"/>
                  </a:lnTo>
                  <a:lnTo>
                    <a:pt x="11210" y="4937"/>
                  </a:lnTo>
                  <a:lnTo>
                    <a:pt x="12509" y="4715"/>
                  </a:lnTo>
                  <a:lnTo>
                    <a:pt x="13195" y="4696"/>
                  </a:lnTo>
                  <a:close/>
                  <a:moveTo>
                    <a:pt x="13251" y="1"/>
                  </a:moveTo>
                  <a:lnTo>
                    <a:pt x="12546" y="19"/>
                  </a:lnTo>
                  <a:lnTo>
                    <a:pt x="11191" y="131"/>
                  </a:lnTo>
                  <a:lnTo>
                    <a:pt x="9873" y="372"/>
                  </a:lnTo>
                  <a:lnTo>
                    <a:pt x="8611" y="743"/>
                  </a:lnTo>
                  <a:lnTo>
                    <a:pt x="8018" y="966"/>
                  </a:lnTo>
                  <a:lnTo>
                    <a:pt x="7405" y="1226"/>
                  </a:lnTo>
                  <a:lnTo>
                    <a:pt x="6273" y="1801"/>
                  </a:lnTo>
                  <a:lnTo>
                    <a:pt x="5234" y="2469"/>
                  </a:lnTo>
                  <a:lnTo>
                    <a:pt x="4269" y="3248"/>
                  </a:lnTo>
                  <a:lnTo>
                    <a:pt x="3805" y="3675"/>
                  </a:lnTo>
                  <a:lnTo>
                    <a:pt x="3378" y="4121"/>
                  </a:lnTo>
                  <a:lnTo>
                    <a:pt x="2580" y="5086"/>
                  </a:lnTo>
                  <a:lnTo>
                    <a:pt x="1875" y="6144"/>
                  </a:lnTo>
                  <a:lnTo>
                    <a:pt x="1281" y="7294"/>
                  </a:lnTo>
                  <a:lnTo>
                    <a:pt x="1021" y="7907"/>
                  </a:lnTo>
                  <a:lnTo>
                    <a:pt x="780" y="8538"/>
                  </a:lnTo>
                  <a:lnTo>
                    <a:pt x="390" y="9837"/>
                  </a:lnTo>
                  <a:lnTo>
                    <a:pt x="130" y="11210"/>
                  </a:lnTo>
                  <a:lnTo>
                    <a:pt x="19" y="12658"/>
                  </a:lnTo>
                  <a:lnTo>
                    <a:pt x="0" y="13400"/>
                  </a:lnTo>
                  <a:lnTo>
                    <a:pt x="19" y="14161"/>
                  </a:lnTo>
                  <a:lnTo>
                    <a:pt x="130" y="15609"/>
                  </a:lnTo>
                  <a:lnTo>
                    <a:pt x="390" y="17000"/>
                  </a:lnTo>
                  <a:lnTo>
                    <a:pt x="780" y="18300"/>
                  </a:lnTo>
                  <a:lnTo>
                    <a:pt x="1021" y="18912"/>
                  </a:lnTo>
                  <a:lnTo>
                    <a:pt x="1281" y="19506"/>
                  </a:lnTo>
                  <a:lnTo>
                    <a:pt x="1893" y="20619"/>
                  </a:lnTo>
                  <a:lnTo>
                    <a:pt x="2598" y="21659"/>
                  </a:lnTo>
                  <a:lnTo>
                    <a:pt x="3396" y="22587"/>
                  </a:lnTo>
                  <a:lnTo>
                    <a:pt x="3842" y="23013"/>
                  </a:lnTo>
                  <a:lnTo>
                    <a:pt x="4287" y="23422"/>
                  </a:lnTo>
                  <a:lnTo>
                    <a:pt x="5271" y="24146"/>
                  </a:lnTo>
                  <a:lnTo>
                    <a:pt x="6329" y="24795"/>
                  </a:lnTo>
                  <a:lnTo>
                    <a:pt x="7479" y="25352"/>
                  </a:lnTo>
                  <a:lnTo>
                    <a:pt x="8092" y="25593"/>
                  </a:lnTo>
                  <a:lnTo>
                    <a:pt x="8704" y="25797"/>
                  </a:lnTo>
                  <a:lnTo>
                    <a:pt x="9985" y="26150"/>
                  </a:lnTo>
                  <a:lnTo>
                    <a:pt x="11340" y="26373"/>
                  </a:lnTo>
                  <a:lnTo>
                    <a:pt x="12731" y="26484"/>
                  </a:lnTo>
                  <a:lnTo>
                    <a:pt x="13455" y="26503"/>
                  </a:lnTo>
                  <a:lnTo>
                    <a:pt x="14216" y="26484"/>
                  </a:lnTo>
                  <a:lnTo>
                    <a:pt x="15682" y="26373"/>
                  </a:lnTo>
                  <a:lnTo>
                    <a:pt x="17074" y="26131"/>
                  </a:lnTo>
                  <a:lnTo>
                    <a:pt x="18373" y="25760"/>
                  </a:lnTo>
                  <a:lnTo>
                    <a:pt x="19598" y="25296"/>
                  </a:lnTo>
                  <a:lnTo>
                    <a:pt x="20730" y="24684"/>
                  </a:lnTo>
                  <a:lnTo>
                    <a:pt x="21788" y="23960"/>
                  </a:lnTo>
                  <a:lnTo>
                    <a:pt x="22772" y="23125"/>
                  </a:lnTo>
                  <a:lnTo>
                    <a:pt x="23236" y="22661"/>
                  </a:lnTo>
                  <a:lnTo>
                    <a:pt x="23421" y="22420"/>
                  </a:lnTo>
                  <a:lnTo>
                    <a:pt x="23607" y="21863"/>
                  </a:lnTo>
                  <a:lnTo>
                    <a:pt x="23551" y="21288"/>
                  </a:lnTo>
                  <a:lnTo>
                    <a:pt x="23273" y="20768"/>
                  </a:lnTo>
                  <a:lnTo>
                    <a:pt x="23050" y="20564"/>
                  </a:lnTo>
                  <a:lnTo>
                    <a:pt x="21139" y="19042"/>
                  </a:lnTo>
                  <a:lnTo>
                    <a:pt x="20916" y="18875"/>
                  </a:lnTo>
                  <a:lnTo>
                    <a:pt x="20415" y="18726"/>
                  </a:lnTo>
                  <a:lnTo>
                    <a:pt x="19914" y="18745"/>
                  </a:lnTo>
                  <a:lnTo>
                    <a:pt x="19431" y="18949"/>
                  </a:lnTo>
                  <a:lnTo>
                    <a:pt x="19227" y="19135"/>
                  </a:lnTo>
                  <a:lnTo>
                    <a:pt x="18819" y="19543"/>
                  </a:lnTo>
                  <a:lnTo>
                    <a:pt x="17891" y="20230"/>
                  </a:lnTo>
                  <a:lnTo>
                    <a:pt x="17371" y="20527"/>
                  </a:lnTo>
                  <a:lnTo>
                    <a:pt x="16963" y="20731"/>
                  </a:lnTo>
                  <a:lnTo>
                    <a:pt x="16053" y="21046"/>
                  </a:lnTo>
                  <a:lnTo>
                    <a:pt x="15070" y="21269"/>
                  </a:lnTo>
                  <a:lnTo>
                    <a:pt x="13993" y="21380"/>
                  </a:lnTo>
                  <a:lnTo>
                    <a:pt x="13400" y="21380"/>
                  </a:lnTo>
                  <a:lnTo>
                    <a:pt x="12731" y="21362"/>
                  </a:lnTo>
                  <a:lnTo>
                    <a:pt x="11432" y="21120"/>
                  </a:lnTo>
                  <a:lnTo>
                    <a:pt x="10801" y="20916"/>
                  </a:lnTo>
                  <a:lnTo>
                    <a:pt x="10189" y="20657"/>
                  </a:lnTo>
                  <a:lnTo>
                    <a:pt x="9057" y="20026"/>
                  </a:lnTo>
                  <a:lnTo>
                    <a:pt x="8556" y="19636"/>
                  </a:lnTo>
                  <a:lnTo>
                    <a:pt x="8073" y="19209"/>
                  </a:lnTo>
                  <a:lnTo>
                    <a:pt x="7275" y="18244"/>
                  </a:lnTo>
                  <a:lnTo>
                    <a:pt x="6960" y="17706"/>
                  </a:lnTo>
                  <a:lnTo>
                    <a:pt x="6681" y="17130"/>
                  </a:lnTo>
                  <a:lnTo>
                    <a:pt x="6329" y="15905"/>
                  </a:lnTo>
                  <a:lnTo>
                    <a:pt x="6254" y="15237"/>
                  </a:lnTo>
                  <a:lnTo>
                    <a:pt x="23904" y="15237"/>
                  </a:lnTo>
                  <a:lnTo>
                    <a:pt x="24201" y="15200"/>
                  </a:lnTo>
                  <a:lnTo>
                    <a:pt x="24702" y="14996"/>
                  </a:lnTo>
                  <a:lnTo>
                    <a:pt x="25110" y="14606"/>
                  </a:lnTo>
                  <a:lnTo>
                    <a:pt x="25333" y="14087"/>
                  </a:lnTo>
                  <a:lnTo>
                    <a:pt x="25351" y="13790"/>
                  </a:lnTo>
                  <a:lnTo>
                    <a:pt x="25351" y="13567"/>
                  </a:lnTo>
                  <a:lnTo>
                    <a:pt x="25333" y="12713"/>
                  </a:lnTo>
                  <a:lnTo>
                    <a:pt x="25222" y="11136"/>
                  </a:lnTo>
                  <a:lnTo>
                    <a:pt x="24999" y="9651"/>
                  </a:lnTo>
                  <a:lnTo>
                    <a:pt x="24665" y="8278"/>
                  </a:lnTo>
                  <a:lnTo>
                    <a:pt x="24442" y="7647"/>
                  </a:lnTo>
                  <a:lnTo>
                    <a:pt x="24201" y="7016"/>
                  </a:lnTo>
                  <a:lnTo>
                    <a:pt x="23663" y="5847"/>
                  </a:lnTo>
                  <a:lnTo>
                    <a:pt x="23032" y="4807"/>
                  </a:lnTo>
                  <a:lnTo>
                    <a:pt x="22308" y="3842"/>
                  </a:lnTo>
                  <a:lnTo>
                    <a:pt x="21900" y="3415"/>
                  </a:lnTo>
                  <a:lnTo>
                    <a:pt x="21918" y="3415"/>
                  </a:lnTo>
                  <a:lnTo>
                    <a:pt x="21491" y="3007"/>
                  </a:lnTo>
                  <a:lnTo>
                    <a:pt x="20619" y="2265"/>
                  </a:lnTo>
                  <a:lnTo>
                    <a:pt x="19654" y="1615"/>
                  </a:lnTo>
                  <a:lnTo>
                    <a:pt x="18633" y="1096"/>
                  </a:lnTo>
                  <a:lnTo>
                    <a:pt x="18076" y="873"/>
                  </a:lnTo>
                  <a:lnTo>
                    <a:pt x="17520" y="650"/>
                  </a:lnTo>
                  <a:lnTo>
                    <a:pt x="16369" y="335"/>
                  </a:lnTo>
                  <a:lnTo>
                    <a:pt x="15163" y="112"/>
                  </a:lnTo>
                  <a:lnTo>
                    <a:pt x="13901" y="19"/>
                  </a:lnTo>
                  <a:lnTo>
                    <a:pt x="13251" y="1"/>
                  </a:lnTo>
                  <a:close/>
                </a:path>
              </a:pathLst>
            </a:custGeom>
            <a:solidFill>
              <a:srgbClr val="F3F3E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139" name="Google Shape;139;p7"/>
            <p:cNvSpPr/>
            <p:nvPr/>
          </p:nvSpPr>
          <p:spPr>
            <a:xfrm>
              <a:off x="237650" y="2349675"/>
              <a:ext cx="1219800" cy="1015625"/>
            </a:xfrm>
            <a:custGeom>
              <a:avLst/>
              <a:gdLst/>
              <a:ahLst/>
              <a:cxnLst/>
              <a:rect l="l" t="t" r="r" b="b"/>
              <a:pathLst>
                <a:path w="48792" h="40625" extrusionOk="0">
                  <a:moveTo>
                    <a:pt x="11915" y="0"/>
                  </a:moveTo>
                  <a:lnTo>
                    <a:pt x="10746" y="93"/>
                  </a:lnTo>
                  <a:lnTo>
                    <a:pt x="9614" y="297"/>
                  </a:lnTo>
                  <a:lnTo>
                    <a:pt x="8500" y="612"/>
                  </a:lnTo>
                  <a:lnTo>
                    <a:pt x="7443" y="1039"/>
                  </a:lnTo>
                  <a:lnTo>
                    <a:pt x="6422" y="1559"/>
                  </a:lnTo>
                  <a:lnTo>
                    <a:pt x="5457" y="2171"/>
                  </a:lnTo>
                  <a:lnTo>
                    <a:pt x="4547" y="2858"/>
                  </a:lnTo>
                  <a:lnTo>
                    <a:pt x="3712" y="3638"/>
                  </a:lnTo>
                  <a:lnTo>
                    <a:pt x="2933" y="4491"/>
                  </a:lnTo>
                  <a:lnTo>
                    <a:pt x="2246" y="5419"/>
                  </a:lnTo>
                  <a:lnTo>
                    <a:pt x="1634" y="6403"/>
                  </a:lnTo>
                  <a:lnTo>
                    <a:pt x="1114" y="7442"/>
                  </a:lnTo>
                  <a:lnTo>
                    <a:pt x="687" y="8556"/>
                  </a:lnTo>
                  <a:lnTo>
                    <a:pt x="372" y="9688"/>
                  </a:lnTo>
                  <a:lnTo>
                    <a:pt x="149" y="10875"/>
                  </a:lnTo>
                  <a:lnTo>
                    <a:pt x="75" y="11488"/>
                  </a:lnTo>
                  <a:lnTo>
                    <a:pt x="0" y="12583"/>
                  </a:lnTo>
                  <a:lnTo>
                    <a:pt x="130" y="14736"/>
                  </a:lnTo>
                  <a:lnTo>
                    <a:pt x="539" y="16870"/>
                  </a:lnTo>
                  <a:lnTo>
                    <a:pt x="1225" y="18967"/>
                  </a:lnTo>
                  <a:lnTo>
                    <a:pt x="2116" y="21008"/>
                  </a:lnTo>
                  <a:lnTo>
                    <a:pt x="3230" y="23013"/>
                  </a:lnTo>
                  <a:lnTo>
                    <a:pt x="4510" y="24961"/>
                  </a:lnTo>
                  <a:lnTo>
                    <a:pt x="5921" y="26836"/>
                  </a:lnTo>
                  <a:lnTo>
                    <a:pt x="7461" y="28636"/>
                  </a:lnTo>
                  <a:lnTo>
                    <a:pt x="9076" y="30362"/>
                  </a:lnTo>
                  <a:lnTo>
                    <a:pt x="11600" y="32793"/>
                  </a:lnTo>
                  <a:lnTo>
                    <a:pt x="14996" y="35688"/>
                  </a:lnTo>
                  <a:lnTo>
                    <a:pt x="18188" y="38120"/>
                  </a:lnTo>
                  <a:lnTo>
                    <a:pt x="19617" y="39140"/>
                  </a:lnTo>
                  <a:lnTo>
                    <a:pt x="20155" y="39493"/>
                  </a:lnTo>
                  <a:lnTo>
                    <a:pt x="21325" y="40050"/>
                  </a:lnTo>
                  <a:lnTo>
                    <a:pt x="22531" y="40439"/>
                  </a:lnTo>
                  <a:lnTo>
                    <a:pt x="23774" y="40625"/>
                  </a:lnTo>
                  <a:lnTo>
                    <a:pt x="25036" y="40625"/>
                  </a:lnTo>
                  <a:lnTo>
                    <a:pt x="26280" y="40439"/>
                  </a:lnTo>
                  <a:lnTo>
                    <a:pt x="27486" y="40050"/>
                  </a:lnTo>
                  <a:lnTo>
                    <a:pt x="28637" y="39493"/>
                  </a:lnTo>
                  <a:lnTo>
                    <a:pt x="29193" y="39140"/>
                  </a:lnTo>
                  <a:lnTo>
                    <a:pt x="30567" y="38157"/>
                  </a:lnTo>
                  <a:lnTo>
                    <a:pt x="33648" y="35818"/>
                  </a:lnTo>
                  <a:lnTo>
                    <a:pt x="36914" y="33053"/>
                  </a:lnTo>
                  <a:lnTo>
                    <a:pt x="39364" y="30733"/>
                  </a:lnTo>
                  <a:lnTo>
                    <a:pt x="40941" y="29081"/>
                  </a:lnTo>
                  <a:lnTo>
                    <a:pt x="42444" y="27356"/>
                  </a:lnTo>
                  <a:lnTo>
                    <a:pt x="43855" y="25555"/>
                  </a:lnTo>
                  <a:lnTo>
                    <a:pt x="45135" y="23699"/>
                  </a:lnTo>
                  <a:lnTo>
                    <a:pt x="46268" y="21788"/>
                  </a:lnTo>
                  <a:lnTo>
                    <a:pt x="47233" y="19839"/>
                  </a:lnTo>
                  <a:lnTo>
                    <a:pt x="47994" y="17835"/>
                  </a:lnTo>
                  <a:lnTo>
                    <a:pt x="48513" y="15793"/>
                  </a:lnTo>
                  <a:lnTo>
                    <a:pt x="48773" y="13715"/>
                  </a:lnTo>
                  <a:lnTo>
                    <a:pt x="48792" y="12676"/>
                  </a:lnTo>
                  <a:lnTo>
                    <a:pt x="48773" y="12082"/>
                  </a:lnTo>
                  <a:lnTo>
                    <a:pt x="48736" y="11488"/>
                  </a:lnTo>
                  <a:lnTo>
                    <a:pt x="48662" y="10820"/>
                  </a:lnTo>
                  <a:lnTo>
                    <a:pt x="48272" y="9224"/>
                  </a:lnTo>
                  <a:lnTo>
                    <a:pt x="47845" y="8017"/>
                  </a:lnTo>
                  <a:lnTo>
                    <a:pt x="47270" y="6830"/>
                  </a:lnTo>
                  <a:lnTo>
                    <a:pt x="46509" y="5753"/>
                  </a:lnTo>
                  <a:lnTo>
                    <a:pt x="45785" y="5104"/>
                  </a:lnTo>
                  <a:lnTo>
                    <a:pt x="45247" y="4788"/>
                  </a:lnTo>
                  <a:lnTo>
                    <a:pt x="44653" y="4547"/>
                  </a:lnTo>
                  <a:lnTo>
                    <a:pt x="44003" y="4417"/>
                  </a:lnTo>
                  <a:lnTo>
                    <a:pt x="43242" y="4417"/>
                  </a:lnTo>
                  <a:lnTo>
                    <a:pt x="42444" y="4565"/>
                  </a:lnTo>
                  <a:lnTo>
                    <a:pt x="41684" y="4881"/>
                  </a:lnTo>
                  <a:lnTo>
                    <a:pt x="40997" y="5345"/>
                  </a:lnTo>
                  <a:lnTo>
                    <a:pt x="40681" y="5642"/>
                  </a:lnTo>
                  <a:lnTo>
                    <a:pt x="27616" y="18707"/>
                  </a:lnTo>
                  <a:lnTo>
                    <a:pt x="27393" y="18930"/>
                  </a:lnTo>
                  <a:lnTo>
                    <a:pt x="27059" y="19450"/>
                  </a:lnTo>
                  <a:lnTo>
                    <a:pt x="26836" y="20006"/>
                  </a:lnTo>
                  <a:lnTo>
                    <a:pt x="26725" y="20582"/>
                  </a:lnTo>
                  <a:lnTo>
                    <a:pt x="26725" y="21175"/>
                  </a:lnTo>
                  <a:lnTo>
                    <a:pt x="26836" y="21751"/>
                  </a:lnTo>
                  <a:lnTo>
                    <a:pt x="27059" y="22308"/>
                  </a:lnTo>
                  <a:lnTo>
                    <a:pt x="27393" y="22809"/>
                  </a:lnTo>
                  <a:lnTo>
                    <a:pt x="27616" y="23050"/>
                  </a:lnTo>
                  <a:lnTo>
                    <a:pt x="27839" y="23254"/>
                  </a:lnTo>
                  <a:lnTo>
                    <a:pt x="28358" y="23607"/>
                  </a:lnTo>
                  <a:lnTo>
                    <a:pt x="28915" y="23829"/>
                  </a:lnTo>
                  <a:lnTo>
                    <a:pt x="29490" y="23941"/>
                  </a:lnTo>
                  <a:lnTo>
                    <a:pt x="30084" y="23941"/>
                  </a:lnTo>
                  <a:lnTo>
                    <a:pt x="30660" y="23829"/>
                  </a:lnTo>
                  <a:lnTo>
                    <a:pt x="31216" y="23607"/>
                  </a:lnTo>
                  <a:lnTo>
                    <a:pt x="31717" y="23254"/>
                  </a:lnTo>
                  <a:lnTo>
                    <a:pt x="31959" y="23050"/>
                  </a:lnTo>
                  <a:lnTo>
                    <a:pt x="43075" y="11933"/>
                  </a:lnTo>
                  <a:lnTo>
                    <a:pt x="43168" y="11840"/>
                  </a:lnTo>
                  <a:lnTo>
                    <a:pt x="43410" y="11748"/>
                  </a:lnTo>
                  <a:lnTo>
                    <a:pt x="43651" y="11748"/>
                  </a:lnTo>
                  <a:lnTo>
                    <a:pt x="43873" y="11840"/>
                  </a:lnTo>
                  <a:lnTo>
                    <a:pt x="43966" y="11933"/>
                  </a:lnTo>
                  <a:lnTo>
                    <a:pt x="44727" y="12694"/>
                  </a:lnTo>
                  <a:lnTo>
                    <a:pt x="44820" y="12787"/>
                  </a:lnTo>
                  <a:lnTo>
                    <a:pt x="44913" y="13010"/>
                  </a:lnTo>
                  <a:lnTo>
                    <a:pt x="44913" y="13269"/>
                  </a:lnTo>
                  <a:lnTo>
                    <a:pt x="44820" y="13492"/>
                  </a:lnTo>
                  <a:lnTo>
                    <a:pt x="44727" y="13585"/>
                  </a:lnTo>
                  <a:lnTo>
                    <a:pt x="33703" y="24627"/>
                  </a:lnTo>
                  <a:lnTo>
                    <a:pt x="33314" y="24999"/>
                  </a:lnTo>
                  <a:lnTo>
                    <a:pt x="32441" y="25592"/>
                  </a:lnTo>
                  <a:lnTo>
                    <a:pt x="31476" y="26019"/>
                  </a:lnTo>
                  <a:lnTo>
                    <a:pt x="30455" y="26261"/>
                  </a:lnTo>
                  <a:lnTo>
                    <a:pt x="29936" y="26298"/>
                  </a:lnTo>
                  <a:lnTo>
                    <a:pt x="29360" y="26298"/>
                  </a:lnTo>
                  <a:lnTo>
                    <a:pt x="28247" y="26094"/>
                  </a:lnTo>
                  <a:lnTo>
                    <a:pt x="27208" y="25667"/>
                  </a:lnTo>
                  <a:lnTo>
                    <a:pt x="26280" y="25017"/>
                  </a:lnTo>
                  <a:lnTo>
                    <a:pt x="25871" y="24627"/>
                  </a:lnTo>
                  <a:lnTo>
                    <a:pt x="25500" y="24201"/>
                  </a:lnTo>
                  <a:lnTo>
                    <a:pt x="24925" y="23291"/>
                  </a:lnTo>
                  <a:lnTo>
                    <a:pt x="24572" y="22326"/>
                  </a:lnTo>
                  <a:lnTo>
                    <a:pt x="24405" y="21287"/>
                  </a:lnTo>
                  <a:lnTo>
                    <a:pt x="24424" y="20248"/>
                  </a:lnTo>
                  <a:lnTo>
                    <a:pt x="24647" y="19227"/>
                  </a:lnTo>
                  <a:lnTo>
                    <a:pt x="25055" y="18262"/>
                  </a:lnTo>
                  <a:lnTo>
                    <a:pt x="25649" y="17352"/>
                  </a:lnTo>
                  <a:lnTo>
                    <a:pt x="26038" y="16963"/>
                  </a:lnTo>
                  <a:lnTo>
                    <a:pt x="33351" y="9651"/>
                  </a:lnTo>
                  <a:lnTo>
                    <a:pt x="39011" y="3972"/>
                  </a:lnTo>
                  <a:lnTo>
                    <a:pt x="39456" y="3563"/>
                  </a:lnTo>
                  <a:lnTo>
                    <a:pt x="40422" y="2895"/>
                  </a:lnTo>
                  <a:lnTo>
                    <a:pt x="41479" y="2413"/>
                  </a:lnTo>
                  <a:lnTo>
                    <a:pt x="42611" y="2134"/>
                  </a:lnTo>
                  <a:lnTo>
                    <a:pt x="43205" y="2079"/>
                  </a:lnTo>
                  <a:lnTo>
                    <a:pt x="42444" y="1577"/>
                  </a:lnTo>
                  <a:lnTo>
                    <a:pt x="40811" y="798"/>
                  </a:lnTo>
                  <a:lnTo>
                    <a:pt x="39067" y="260"/>
                  </a:lnTo>
                  <a:lnTo>
                    <a:pt x="37229" y="0"/>
                  </a:lnTo>
                  <a:lnTo>
                    <a:pt x="36283" y="0"/>
                  </a:lnTo>
                  <a:lnTo>
                    <a:pt x="35299" y="56"/>
                  </a:lnTo>
                  <a:lnTo>
                    <a:pt x="33425" y="371"/>
                  </a:lnTo>
                  <a:lnTo>
                    <a:pt x="31643" y="965"/>
                  </a:lnTo>
                  <a:lnTo>
                    <a:pt x="29991" y="1819"/>
                  </a:lnTo>
                  <a:lnTo>
                    <a:pt x="28507" y="2877"/>
                  </a:lnTo>
                  <a:lnTo>
                    <a:pt x="27171" y="4157"/>
                  </a:lnTo>
                  <a:lnTo>
                    <a:pt x="26057" y="5623"/>
                  </a:lnTo>
                  <a:lnTo>
                    <a:pt x="25129" y="7256"/>
                  </a:lnTo>
                  <a:lnTo>
                    <a:pt x="24776" y="8147"/>
                  </a:lnTo>
                  <a:lnTo>
                    <a:pt x="24721" y="8259"/>
                  </a:lnTo>
                  <a:lnTo>
                    <a:pt x="24517" y="8389"/>
                  </a:lnTo>
                  <a:lnTo>
                    <a:pt x="24294" y="8389"/>
                  </a:lnTo>
                  <a:lnTo>
                    <a:pt x="24090" y="8259"/>
                  </a:lnTo>
                  <a:lnTo>
                    <a:pt x="24034" y="8147"/>
                  </a:lnTo>
                  <a:lnTo>
                    <a:pt x="23663" y="7256"/>
                  </a:lnTo>
                  <a:lnTo>
                    <a:pt x="22754" y="5623"/>
                  </a:lnTo>
                  <a:lnTo>
                    <a:pt x="21640" y="4157"/>
                  </a:lnTo>
                  <a:lnTo>
                    <a:pt x="20304" y="2877"/>
                  </a:lnTo>
                  <a:lnTo>
                    <a:pt x="18819" y="1819"/>
                  </a:lnTo>
                  <a:lnTo>
                    <a:pt x="17167" y="965"/>
                  </a:lnTo>
                  <a:lnTo>
                    <a:pt x="15386" y="371"/>
                  </a:lnTo>
                  <a:lnTo>
                    <a:pt x="13493" y="56"/>
                  </a:lnTo>
                  <a:lnTo>
                    <a:pt x="12528" y="0"/>
                  </a:lnTo>
                  <a:close/>
                </a:path>
              </a:pathLst>
            </a:custGeom>
            <a:solidFill>
              <a:srgbClr val="F3F3E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</p:grpSp>
      <p:pic>
        <p:nvPicPr>
          <p:cNvPr id="140" name="Google Shape;140;p7"/>
          <p:cNvPicPr preferRelativeResize="0"/>
          <p:nvPr/>
        </p:nvPicPr>
        <p:blipFill rotWithShape="1">
          <a:blip r:embed="rId2">
            <a:alphaModFix/>
          </a:blip>
          <a:srcRect b="1097"/>
          <a:stretch/>
        </p:blipFill>
        <p:spPr>
          <a:xfrm>
            <a:off x="7881650" y="986933"/>
            <a:ext cx="2372266" cy="4776264"/>
          </a:xfrm>
          <a:prstGeom prst="rect">
            <a:avLst/>
          </a:prstGeom>
          <a:noFill/>
          <a:ln>
            <a:noFill/>
          </a:ln>
          <a:effectLst>
            <a:reflection stA="15000" endPos="16000" fadeDir="5400012" sy="-100000" algn="bl" rotWithShape="0"/>
          </a:effectLst>
        </p:spPr>
      </p:pic>
      <p:grpSp>
        <p:nvGrpSpPr>
          <p:cNvPr id="141" name="Google Shape;141;p7"/>
          <p:cNvGrpSpPr/>
          <p:nvPr/>
        </p:nvGrpSpPr>
        <p:grpSpPr>
          <a:xfrm>
            <a:off x="415598" y="6427310"/>
            <a:ext cx="1329629" cy="189008"/>
            <a:chOff x="237650" y="2349675"/>
            <a:chExt cx="7144700" cy="1015625"/>
          </a:xfrm>
        </p:grpSpPr>
        <p:sp>
          <p:nvSpPr>
            <p:cNvPr id="142" name="Google Shape;142;p7"/>
            <p:cNvSpPr/>
            <p:nvPr/>
          </p:nvSpPr>
          <p:spPr>
            <a:xfrm>
              <a:off x="3096625" y="2466575"/>
              <a:ext cx="156400" cy="841200"/>
            </a:xfrm>
            <a:custGeom>
              <a:avLst/>
              <a:gdLst/>
              <a:ahLst/>
              <a:cxnLst/>
              <a:rect l="l" t="t" r="r" b="b"/>
              <a:pathLst>
                <a:path w="6256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2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1" y="1448"/>
                  </a:lnTo>
                  <a:lnTo>
                    <a:pt x="1" y="32182"/>
                  </a:lnTo>
                  <a:lnTo>
                    <a:pt x="19" y="32479"/>
                  </a:lnTo>
                  <a:lnTo>
                    <a:pt x="242" y="33017"/>
                  </a:lnTo>
                  <a:lnTo>
                    <a:pt x="632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08" y="33648"/>
                  </a:lnTo>
                  <a:lnTo>
                    <a:pt x="5105" y="33629"/>
                  </a:lnTo>
                  <a:lnTo>
                    <a:pt x="5624" y="33406"/>
                  </a:lnTo>
                  <a:lnTo>
                    <a:pt x="6014" y="33017"/>
                  </a:lnTo>
                  <a:lnTo>
                    <a:pt x="6237" y="32479"/>
                  </a:lnTo>
                  <a:lnTo>
                    <a:pt x="6255" y="32182"/>
                  </a:lnTo>
                  <a:lnTo>
                    <a:pt x="6255" y="1448"/>
                  </a:lnTo>
                  <a:lnTo>
                    <a:pt x="6237" y="1151"/>
                  </a:lnTo>
                  <a:lnTo>
                    <a:pt x="6014" y="632"/>
                  </a:lnTo>
                  <a:lnTo>
                    <a:pt x="5624" y="242"/>
                  </a:lnTo>
                  <a:lnTo>
                    <a:pt x="5105" y="19"/>
                  </a:lnTo>
                  <a:lnTo>
                    <a:pt x="4808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" name="Google Shape;143;p7"/>
            <p:cNvSpPr/>
            <p:nvPr/>
          </p:nvSpPr>
          <p:spPr>
            <a:xfrm>
              <a:off x="1673175" y="2466575"/>
              <a:ext cx="655150" cy="841200"/>
            </a:xfrm>
            <a:custGeom>
              <a:avLst/>
              <a:gdLst/>
              <a:ahLst/>
              <a:cxnLst/>
              <a:rect l="l" t="t" r="r" b="b"/>
              <a:pathLst>
                <a:path w="26206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1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0" y="1448"/>
                  </a:lnTo>
                  <a:lnTo>
                    <a:pt x="0" y="32200"/>
                  </a:lnTo>
                  <a:lnTo>
                    <a:pt x="19" y="32497"/>
                  </a:lnTo>
                  <a:lnTo>
                    <a:pt x="242" y="33017"/>
                  </a:lnTo>
                  <a:lnTo>
                    <a:pt x="631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26" y="33648"/>
                  </a:lnTo>
                  <a:lnTo>
                    <a:pt x="5104" y="33629"/>
                  </a:lnTo>
                  <a:lnTo>
                    <a:pt x="5624" y="33406"/>
                  </a:lnTo>
                  <a:lnTo>
                    <a:pt x="6032" y="33017"/>
                  </a:lnTo>
                  <a:lnTo>
                    <a:pt x="6255" y="32497"/>
                  </a:lnTo>
                  <a:lnTo>
                    <a:pt x="6273" y="32200"/>
                  </a:lnTo>
                  <a:lnTo>
                    <a:pt x="6273" y="18133"/>
                  </a:lnTo>
                  <a:lnTo>
                    <a:pt x="19933" y="18133"/>
                  </a:lnTo>
                  <a:lnTo>
                    <a:pt x="19933" y="32200"/>
                  </a:lnTo>
                  <a:lnTo>
                    <a:pt x="19951" y="32497"/>
                  </a:lnTo>
                  <a:lnTo>
                    <a:pt x="20174" y="33017"/>
                  </a:lnTo>
                  <a:lnTo>
                    <a:pt x="20564" y="33406"/>
                  </a:lnTo>
                  <a:lnTo>
                    <a:pt x="21083" y="33629"/>
                  </a:lnTo>
                  <a:lnTo>
                    <a:pt x="21380" y="33648"/>
                  </a:lnTo>
                  <a:lnTo>
                    <a:pt x="24739" y="33648"/>
                  </a:lnTo>
                  <a:lnTo>
                    <a:pt x="25036" y="33629"/>
                  </a:lnTo>
                  <a:lnTo>
                    <a:pt x="25556" y="33406"/>
                  </a:lnTo>
                  <a:lnTo>
                    <a:pt x="25964" y="33017"/>
                  </a:lnTo>
                  <a:lnTo>
                    <a:pt x="26168" y="32497"/>
                  </a:lnTo>
                  <a:lnTo>
                    <a:pt x="26205" y="32200"/>
                  </a:lnTo>
                  <a:lnTo>
                    <a:pt x="26205" y="1448"/>
                  </a:lnTo>
                  <a:lnTo>
                    <a:pt x="26168" y="1151"/>
                  </a:lnTo>
                  <a:lnTo>
                    <a:pt x="25964" y="632"/>
                  </a:lnTo>
                  <a:lnTo>
                    <a:pt x="25556" y="242"/>
                  </a:lnTo>
                  <a:lnTo>
                    <a:pt x="25036" y="19"/>
                  </a:lnTo>
                  <a:lnTo>
                    <a:pt x="24739" y="1"/>
                  </a:lnTo>
                  <a:lnTo>
                    <a:pt x="21380" y="1"/>
                  </a:lnTo>
                  <a:lnTo>
                    <a:pt x="21083" y="19"/>
                  </a:lnTo>
                  <a:lnTo>
                    <a:pt x="20564" y="242"/>
                  </a:lnTo>
                  <a:lnTo>
                    <a:pt x="20174" y="632"/>
                  </a:lnTo>
                  <a:lnTo>
                    <a:pt x="19951" y="1151"/>
                  </a:lnTo>
                  <a:lnTo>
                    <a:pt x="19933" y="1448"/>
                  </a:lnTo>
                  <a:lnTo>
                    <a:pt x="19933" y="13641"/>
                  </a:lnTo>
                  <a:lnTo>
                    <a:pt x="6273" y="13641"/>
                  </a:lnTo>
                  <a:lnTo>
                    <a:pt x="6273" y="1448"/>
                  </a:lnTo>
                  <a:lnTo>
                    <a:pt x="6255" y="1151"/>
                  </a:lnTo>
                  <a:lnTo>
                    <a:pt x="6032" y="632"/>
                  </a:lnTo>
                  <a:lnTo>
                    <a:pt x="5624" y="242"/>
                  </a:lnTo>
                  <a:lnTo>
                    <a:pt x="5104" y="19"/>
                  </a:lnTo>
                  <a:lnTo>
                    <a:pt x="4826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" name="Google Shape;144;p7"/>
            <p:cNvSpPr/>
            <p:nvPr/>
          </p:nvSpPr>
          <p:spPr>
            <a:xfrm>
              <a:off x="3382900" y="2466575"/>
              <a:ext cx="156375" cy="841200"/>
            </a:xfrm>
            <a:custGeom>
              <a:avLst/>
              <a:gdLst/>
              <a:ahLst/>
              <a:cxnLst/>
              <a:rect l="l" t="t" r="r" b="b"/>
              <a:pathLst>
                <a:path w="6255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2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1" y="1448"/>
                  </a:lnTo>
                  <a:lnTo>
                    <a:pt x="1" y="32182"/>
                  </a:lnTo>
                  <a:lnTo>
                    <a:pt x="19" y="32479"/>
                  </a:lnTo>
                  <a:lnTo>
                    <a:pt x="242" y="33017"/>
                  </a:lnTo>
                  <a:lnTo>
                    <a:pt x="632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07" y="33648"/>
                  </a:lnTo>
                  <a:lnTo>
                    <a:pt x="5104" y="33629"/>
                  </a:lnTo>
                  <a:lnTo>
                    <a:pt x="5624" y="33406"/>
                  </a:lnTo>
                  <a:lnTo>
                    <a:pt x="6014" y="33017"/>
                  </a:lnTo>
                  <a:lnTo>
                    <a:pt x="6236" y="32479"/>
                  </a:lnTo>
                  <a:lnTo>
                    <a:pt x="6255" y="32182"/>
                  </a:lnTo>
                  <a:lnTo>
                    <a:pt x="6255" y="1448"/>
                  </a:lnTo>
                  <a:lnTo>
                    <a:pt x="6236" y="1151"/>
                  </a:lnTo>
                  <a:lnTo>
                    <a:pt x="6014" y="632"/>
                  </a:lnTo>
                  <a:lnTo>
                    <a:pt x="5624" y="242"/>
                  </a:lnTo>
                  <a:lnTo>
                    <a:pt x="5104" y="19"/>
                  </a:lnTo>
                  <a:lnTo>
                    <a:pt x="4807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" name="Google Shape;145;p7"/>
            <p:cNvSpPr/>
            <p:nvPr/>
          </p:nvSpPr>
          <p:spPr>
            <a:xfrm>
              <a:off x="3610700" y="2663300"/>
              <a:ext cx="680675" cy="662575"/>
            </a:xfrm>
            <a:custGeom>
              <a:avLst/>
              <a:gdLst/>
              <a:ahLst/>
              <a:cxnLst/>
              <a:rect l="l" t="t" r="r" b="b"/>
              <a:pathLst>
                <a:path w="27227" h="26503" extrusionOk="0">
                  <a:moveTo>
                    <a:pt x="14087" y="5123"/>
                  </a:moveTo>
                  <a:lnTo>
                    <a:pt x="14959" y="5216"/>
                  </a:lnTo>
                  <a:lnTo>
                    <a:pt x="15757" y="5383"/>
                  </a:lnTo>
                  <a:lnTo>
                    <a:pt x="16500" y="5661"/>
                  </a:lnTo>
                  <a:lnTo>
                    <a:pt x="16852" y="5828"/>
                  </a:lnTo>
                  <a:lnTo>
                    <a:pt x="17521" y="6199"/>
                  </a:lnTo>
                  <a:lnTo>
                    <a:pt x="18634" y="7127"/>
                  </a:lnTo>
                  <a:lnTo>
                    <a:pt x="19098" y="7665"/>
                  </a:lnTo>
                  <a:lnTo>
                    <a:pt x="19525" y="8259"/>
                  </a:lnTo>
                  <a:lnTo>
                    <a:pt x="20193" y="9558"/>
                  </a:lnTo>
                  <a:lnTo>
                    <a:pt x="20434" y="10264"/>
                  </a:lnTo>
                  <a:lnTo>
                    <a:pt x="20638" y="10969"/>
                  </a:lnTo>
                  <a:lnTo>
                    <a:pt x="20861" y="12416"/>
                  </a:lnTo>
                  <a:lnTo>
                    <a:pt x="20880" y="13159"/>
                  </a:lnTo>
                  <a:lnTo>
                    <a:pt x="20861" y="13883"/>
                  </a:lnTo>
                  <a:lnTo>
                    <a:pt x="20638" y="15349"/>
                  </a:lnTo>
                  <a:lnTo>
                    <a:pt x="20434" y="16073"/>
                  </a:lnTo>
                  <a:lnTo>
                    <a:pt x="20193" y="16796"/>
                  </a:lnTo>
                  <a:lnTo>
                    <a:pt x="19525" y="18095"/>
                  </a:lnTo>
                  <a:lnTo>
                    <a:pt x="19098" y="18671"/>
                  </a:lnTo>
                  <a:lnTo>
                    <a:pt x="18634" y="19228"/>
                  </a:lnTo>
                  <a:lnTo>
                    <a:pt x="17521" y="20174"/>
                  </a:lnTo>
                  <a:lnTo>
                    <a:pt x="16852" y="20564"/>
                  </a:lnTo>
                  <a:lnTo>
                    <a:pt x="16500" y="20731"/>
                  </a:lnTo>
                  <a:lnTo>
                    <a:pt x="15757" y="21009"/>
                  </a:lnTo>
                  <a:lnTo>
                    <a:pt x="14959" y="21195"/>
                  </a:lnTo>
                  <a:lnTo>
                    <a:pt x="14087" y="21269"/>
                  </a:lnTo>
                  <a:lnTo>
                    <a:pt x="13623" y="21288"/>
                  </a:lnTo>
                  <a:lnTo>
                    <a:pt x="13159" y="21269"/>
                  </a:lnTo>
                  <a:lnTo>
                    <a:pt x="12287" y="21195"/>
                  </a:lnTo>
                  <a:lnTo>
                    <a:pt x="11470" y="21009"/>
                  </a:lnTo>
                  <a:lnTo>
                    <a:pt x="10728" y="20731"/>
                  </a:lnTo>
                  <a:lnTo>
                    <a:pt x="10394" y="20564"/>
                  </a:lnTo>
                  <a:lnTo>
                    <a:pt x="9726" y="20174"/>
                  </a:lnTo>
                  <a:lnTo>
                    <a:pt x="8612" y="19228"/>
                  </a:lnTo>
                  <a:lnTo>
                    <a:pt x="8148" y="18671"/>
                  </a:lnTo>
                  <a:lnTo>
                    <a:pt x="7721" y="18095"/>
                  </a:lnTo>
                  <a:lnTo>
                    <a:pt x="7053" y="16778"/>
                  </a:lnTo>
                  <a:lnTo>
                    <a:pt x="6812" y="16073"/>
                  </a:lnTo>
                  <a:lnTo>
                    <a:pt x="6608" y="15349"/>
                  </a:lnTo>
                  <a:lnTo>
                    <a:pt x="6385" y="13883"/>
                  </a:lnTo>
                  <a:lnTo>
                    <a:pt x="6367" y="13159"/>
                  </a:lnTo>
                  <a:lnTo>
                    <a:pt x="6385" y="12416"/>
                  </a:lnTo>
                  <a:lnTo>
                    <a:pt x="6608" y="10969"/>
                  </a:lnTo>
                  <a:lnTo>
                    <a:pt x="6812" y="10264"/>
                  </a:lnTo>
                  <a:lnTo>
                    <a:pt x="7053" y="9558"/>
                  </a:lnTo>
                  <a:lnTo>
                    <a:pt x="7721" y="8259"/>
                  </a:lnTo>
                  <a:lnTo>
                    <a:pt x="8148" y="7665"/>
                  </a:lnTo>
                  <a:lnTo>
                    <a:pt x="8612" y="7127"/>
                  </a:lnTo>
                  <a:lnTo>
                    <a:pt x="9726" y="6199"/>
                  </a:lnTo>
                  <a:lnTo>
                    <a:pt x="10394" y="5828"/>
                  </a:lnTo>
                  <a:lnTo>
                    <a:pt x="10728" y="5661"/>
                  </a:lnTo>
                  <a:lnTo>
                    <a:pt x="11470" y="5383"/>
                  </a:lnTo>
                  <a:lnTo>
                    <a:pt x="12287" y="5216"/>
                  </a:lnTo>
                  <a:lnTo>
                    <a:pt x="13159" y="5123"/>
                  </a:lnTo>
                  <a:close/>
                  <a:moveTo>
                    <a:pt x="13623" y="1"/>
                  </a:moveTo>
                  <a:lnTo>
                    <a:pt x="12918" y="19"/>
                  </a:lnTo>
                  <a:lnTo>
                    <a:pt x="11545" y="131"/>
                  </a:lnTo>
                  <a:lnTo>
                    <a:pt x="10227" y="372"/>
                  </a:lnTo>
                  <a:lnTo>
                    <a:pt x="8928" y="724"/>
                  </a:lnTo>
                  <a:lnTo>
                    <a:pt x="8297" y="947"/>
                  </a:lnTo>
                  <a:lnTo>
                    <a:pt x="7684" y="1188"/>
                  </a:lnTo>
                  <a:lnTo>
                    <a:pt x="6515" y="1745"/>
                  </a:lnTo>
                  <a:lnTo>
                    <a:pt x="5439" y="2413"/>
                  </a:lnTo>
                  <a:lnTo>
                    <a:pt x="4437" y="3174"/>
                  </a:lnTo>
                  <a:lnTo>
                    <a:pt x="3973" y="3601"/>
                  </a:lnTo>
                  <a:lnTo>
                    <a:pt x="3527" y="4046"/>
                  </a:lnTo>
                  <a:lnTo>
                    <a:pt x="2692" y="4993"/>
                  </a:lnTo>
                  <a:lnTo>
                    <a:pt x="1968" y="6032"/>
                  </a:lnTo>
                  <a:lnTo>
                    <a:pt x="1356" y="7146"/>
                  </a:lnTo>
                  <a:lnTo>
                    <a:pt x="1077" y="7758"/>
                  </a:lnTo>
                  <a:lnTo>
                    <a:pt x="818" y="8371"/>
                  </a:lnTo>
                  <a:lnTo>
                    <a:pt x="409" y="9651"/>
                  </a:lnTo>
                  <a:lnTo>
                    <a:pt x="149" y="10987"/>
                  </a:lnTo>
                  <a:lnTo>
                    <a:pt x="20" y="12416"/>
                  </a:lnTo>
                  <a:lnTo>
                    <a:pt x="1" y="13159"/>
                  </a:lnTo>
                  <a:lnTo>
                    <a:pt x="20" y="13883"/>
                  </a:lnTo>
                  <a:lnTo>
                    <a:pt x="149" y="15312"/>
                  </a:lnTo>
                  <a:lnTo>
                    <a:pt x="409" y="16666"/>
                  </a:lnTo>
                  <a:lnTo>
                    <a:pt x="818" y="17947"/>
                  </a:lnTo>
                  <a:lnTo>
                    <a:pt x="1077" y="18578"/>
                  </a:lnTo>
                  <a:lnTo>
                    <a:pt x="1356" y="19172"/>
                  </a:lnTo>
                  <a:lnTo>
                    <a:pt x="1968" y="20322"/>
                  </a:lnTo>
                  <a:lnTo>
                    <a:pt x="2692" y="21362"/>
                  </a:lnTo>
                  <a:lnTo>
                    <a:pt x="3527" y="22327"/>
                  </a:lnTo>
                  <a:lnTo>
                    <a:pt x="3973" y="22772"/>
                  </a:lnTo>
                  <a:lnTo>
                    <a:pt x="4437" y="23199"/>
                  </a:lnTo>
                  <a:lnTo>
                    <a:pt x="5439" y="23979"/>
                  </a:lnTo>
                  <a:lnTo>
                    <a:pt x="6515" y="24665"/>
                  </a:lnTo>
                  <a:lnTo>
                    <a:pt x="7684" y="25259"/>
                  </a:lnTo>
                  <a:lnTo>
                    <a:pt x="8297" y="25519"/>
                  </a:lnTo>
                  <a:lnTo>
                    <a:pt x="8928" y="25742"/>
                  </a:lnTo>
                  <a:lnTo>
                    <a:pt x="10227" y="26113"/>
                  </a:lnTo>
                  <a:lnTo>
                    <a:pt x="11545" y="26373"/>
                  </a:lnTo>
                  <a:lnTo>
                    <a:pt x="12918" y="26484"/>
                  </a:lnTo>
                  <a:lnTo>
                    <a:pt x="13623" y="26503"/>
                  </a:lnTo>
                  <a:lnTo>
                    <a:pt x="14328" y="26484"/>
                  </a:lnTo>
                  <a:lnTo>
                    <a:pt x="15683" y="26373"/>
                  </a:lnTo>
                  <a:lnTo>
                    <a:pt x="17019" y="26113"/>
                  </a:lnTo>
                  <a:lnTo>
                    <a:pt x="18300" y="25742"/>
                  </a:lnTo>
                  <a:lnTo>
                    <a:pt x="18931" y="25519"/>
                  </a:lnTo>
                  <a:lnTo>
                    <a:pt x="19562" y="25259"/>
                  </a:lnTo>
                  <a:lnTo>
                    <a:pt x="20731" y="24665"/>
                  </a:lnTo>
                  <a:lnTo>
                    <a:pt x="21808" y="23979"/>
                  </a:lnTo>
                  <a:lnTo>
                    <a:pt x="22810" y="23199"/>
                  </a:lnTo>
                  <a:lnTo>
                    <a:pt x="23274" y="22772"/>
                  </a:lnTo>
                  <a:lnTo>
                    <a:pt x="23719" y="22327"/>
                  </a:lnTo>
                  <a:lnTo>
                    <a:pt x="24536" y="21362"/>
                  </a:lnTo>
                  <a:lnTo>
                    <a:pt x="25260" y="20322"/>
                  </a:lnTo>
                  <a:lnTo>
                    <a:pt x="25891" y="19172"/>
                  </a:lnTo>
                  <a:lnTo>
                    <a:pt x="26169" y="18578"/>
                  </a:lnTo>
                  <a:lnTo>
                    <a:pt x="26429" y="17947"/>
                  </a:lnTo>
                  <a:lnTo>
                    <a:pt x="26818" y="16666"/>
                  </a:lnTo>
                  <a:lnTo>
                    <a:pt x="27097" y="15312"/>
                  </a:lnTo>
                  <a:lnTo>
                    <a:pt x="27227" y="13883"/>
                  </a:lnTo>
                  <a:lnTo>
                    <a:pt x="27227" y="13159"/>
                  </a:lnTo>
                  <a:lnTo>
                    <a:pt x="27227" y="12416"/>
                  </a:lnTo>
                  <a:lnTo>
                    <a:pt x="27097" y="10987"/>
                  </a:lnTo>
                  <a:lnTo>
                    <a:pt x="26818" y="9651"/>
                  </a:lnTo>
                  <a:lnTo>
                    <a:pt x="26429" y="8371"/>
                  </a:lnTo>
                  <a:lnTo>
                    <a:pt x="26169" y="7758"/>
                  </a:lnTo>
                  <a:lnTo>
                    <a:pt x="25891" y="7146"/>
                  </a:lnTo>
                  <a:lnTo>
                    <a:pt x="25260" y="6032"/>
                  </a:lnTo>
                  <a:lnTo>
                    <a:pt x="24536" y="4993"/>
                  </a:lnTo>
                  <a:lnTo>
                    <a:pt x="23719" y="4046"/>
                  </a:lnTo>
                  <a:lnTo>
                    <a:pt x="23274" y="3601"/>
                  </a:lnTo>
                  <a:lnTo>
                    <a:pt x="22810" y="3174"/>
                  </a:lnTo>
                  <a:lnTo>
                    <a:pt x="21808" y="2413"/>
                  </a:lnTo>
                  <a:lnTo>
                    <a:pt x="20731" y="1745"/>
                  </a:lnTo>
                  <a:lnTo>
                    <a:pt x="19562" y="1188"/>
                  </a:lnTo>
                  <a:lnTo>
                    <a:pt x="18931" y="947"/>
                  </a:lnTo>
                  <a:lnTo>
                    <a:pt x="18300" y="724"/>
                  </a:lnTo>
                  <a:lnTo>
                    <a:pt x="17019" y="372"/>
                  </a:lnTo>
                  <a:lnTo>
                    <a:pt x="15683" y="131"/>
                  </a:lnTo>
                  <a:lnTo>
                    <a:pt x="14328" y="19"/>
                  </a:lnTo>
                  <a:lnTo>
                    <a:pt x="13623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" name="Google Shape;146;p7"/>
            <p:cNvSpPr/>
            <p:nvPr/>
          </p:nvSpPr>
          <p:spPr>
            <a:xfrm>
              <a:off x="5231350" y="2663300"/>
              <a:ext cx="633825" cy="662575"/>
            </a:xfrm>
            <a:custGeom>
              <a:avLst/>
              <a:gdLst/>
              <a:ahLst/>
              <a:cxnLst/>
              <a:rect l="l" t="t" r="r" b="b"/>
              <a:pathLst>
                <a:path w="25353" h="26503" extrusionOk="0">
                  <a:moveTo>
                    <a:pt x="13196" y="4696"/>
                  </a:moveTo>
                  <a:lnTo>
                    <a:pt x="13939" y="4715"/>
                  </a:lnTo>
                  <a:lnTo>
                    <a:pt x="15256" y="4974"/>
                  </a:lnTo>
                  <a:lnTo>
                    <a:pt x="15832" y="5197"/>
                  </a:lnTo>
                  <a:lnTo>
                    <a:pt x="16388" y="5457"/>
                  </a:lnTo>
                  <a:lnTo>
                    <a:pt x="17298" y="6125"/>
                  </a:lnTo>
                  <a:lnTo>
                    <a:pt x="17687" y="6515"/>
                  </a:lnTo>
                  <a:lnTo>
                    <a:pt x="18040" y="6942"/>
                  </a:lnTo>
                  <a:lnTo>
                    <a:pt x="18578" y="7907"/>
                  </a:lnTo>
                  <a:lnTo>
                    <a:pt x="18764" y="8445"/>
                  </a:lnTo>
                  <a:lnTo>
                    <a:pt x="18912" y="9002"/>
                  </a:lnTo>
                  <a:lnTo>
                    <a:pt x="19079" y="10152"/>
                  </a:lnTo>
                  <a:lnTo>
                    <a:pt x="19098" y="10746"/>
                  </a:lnTo>
                  <a:lnTo>
                    <a:pt x="6274" y="10746"/>
                  </a:lnTo>
                  <a:lnTo>
                    <a:pt x="6329" y="10097"/>
                  </a:lnTo>
                  <a:lnTo>
                    <a:pt x="6664" y="8890"/>
                  </a:lnTo>
                  <a:lnTo>
                    <a:pt x="7202" y="7795"/>
                  </a:lnTo>
                  <a:lnTo>
                    <a:pt x="7963" y="6830"/>
                  </a:lnTo>
                  <a:lnTo>
                    <a:pt x="8427" y="6403"/>
                  </a:lnTo>
                  <a:lnTo>
                    <a:pt x="8928" y="5995"/>
                  </a:lnTo>
                  <a:lnTo>
                    <a:pt x="10023" y="5346"/>
                  </a:lnTo>
                  <a:lnTo>
                    <a:pt x="11210" y="4937"/>
                  </a:lnTo>
                  <a:lnTo>
                    <a:pt x="12510" y="4715"/>
                  </a:lnTo>
                  <a:lnTo>
                    <a:pt x="13196" y="4696"/>
                  </a:lnTo>
                  <a:close/>
                  <a:moveTo>
                    <a:pt x="13252" y="1"/>
                  </a:moveTo>
                  <a:lnTo>
                    <a:pt x="12565" y="19"/>
                  </a:lnTo>
                  <a:lnTo>
                    <a:pt x="11192" y="131"/>
                  </a:lnTo>
                  <a:lnTo>
                    <a:pt x="9893" y="372"/>
                  </a:lnTo>
                  <a:lnTo>
                    <a:pt x="8631" y="743"/>
                  </a:lnTo>
                  <a:lnTo>
                    <a:pt x="8018" y="966"/>
                  </a:lnTo>
                  <a:lnTo>
                    <a:pt x="7406" y="1226"/>
                  </a:lnTo>
                  <a:lnTo>
                    <a:pt x="6292" y="1801"/>
                  </a:lnTo>
                  <a:lnTo>
                    <a:pt x="5235" y="2469"/>
                  </a:lnTo>
                  <a:lnTo>
                    <a:pt x="4269" y="3248"/>
                  </a:lnTo>
                  <a:lnTo>
                    <a:pt x="3824" y="3675"/>
                  </a:lnTo>
                  <a:lnTo>
                    <a:pt x="3379" y="4121"/>
                  </a:lnTo>
                  <a:lnTo>
                    <a:pt x="2581" y="5086"/>
                  </a:lnTo>
                  <a:lnTo>
                    <a:pt x="1894" y="6144"/>
                  </a:lnTo>
                  <a:lnTo>
                    <a:pt x="1281" y="7294"/>
                  </a:lnTo>
                  <a:lnTo>
                    <a:pt x="1022" y="7907"/>
                  </a:lnTo>
                  <a:lnTo>
                    <a:pt x="780" y="8538"/>
                  </a:lnTo>
                  <a:lnTo>
                    <a:pt x="391" y="9837"/>
                  </a:lnTo>
                  <a:lnTo>
                    <a:pt x="149" y="11210"/>
                  </a:lnTo>
                  <a:lnTo>
                    <a:pt x="19" y="12658"/>
                  </a:lnTo>
                  <a:lnTo>
                    <a:pt x="1" y="13400"/>
                  </a:lnTo>
                  <a:lnTo>
                    <a:pt x="19" y="14161"/>
                  </a:lnTo>
                  <a:lnTo>
                    <a:pt x="149" y="15609"/>
                  </a:lnTo>
                  <a:lnTo>
                    <a:pt x="391" y="17000"/>
                  </a:lnTo>
                  <a:lnTo>
                    <a:pt x="780" y="18300"/>
                  </a:lnTo>
                  <a:lnTo>
                    <a:pt x="1022" y="18912"/>
                  </a:lnTo>
                  <a:lnTo>
                    <a:pt x="1281" y="19506"/>
                  </a:lnTo>
                  <a:lnTo>
                    <a:pt x="1894" y="20619"/>
                  </a:lnTo>
                  <a:lnTo>
                    <a:pt x="2599" y="21659"/>
                  </a:lnTo>
                  <a:lnTo>
                    <a:pt x="3397" y="22587"/>
                  </a:lnTo>
                  <a:lnTo>
                    <a:pt x="3843" y="23013"/>
                  </a:lnTo>
                  <a:lnTo>
                    <a:pt x="4288" y="23422"/>
                  </a:lnTo>
                  <a:lnTo>
                    <a:pt x="5272" y="24146"/>
                  </a:lnTo>
                  <a:lnTo>
                    <a:pt x="6348" y="24795"/>
                  </a:lnTo>
                  <a:lnTo>
                    <a:pt x="7480" y="25352"/>
                  </a:lnTo>
                  <a:lnTo>
                    <a:pt x="8093" y="25593"/>
                  </a:lnTo>
                  <a:lnTo>
                    <a:pt x="8705" y="25797"/>
                  </a:lnTo>
                  <a:lnTo>
                    <a:pt x="10004" y="26150"/>
                  </a:lnTo>
                  <a:lnTo>
                    <a:pt x="11340" y="26373"/>
                  </a:lnTo>
                  <a:lnTo>
                    <a:pt x="12732" y="26484"/>
                  </a:lnTo>
                  <a:lnTo>
                    <a:pt x="13475" y="26503"/>
                  </a:lnTo>
                  <a:lnTo>
                    <a:pt x="14236" y="26484"/>
                  </a:lnTo>
                  <a:lnTo>
                    <a:pt x="15683" y="26373"/>
                  </a:lnTo>
                  <a:lnTo>
                    <a:pt x="17075" y="26131"/>
                  </a:lnTo>
                  <a:lnTo>
                    <a:pt x="18374" y="25760"/>
                  </a:lnTo>
                  <a:lnTo>
                    <a:pt x="19599" y="25296"/>
                  </a:lnTo>
                  <a:lnTo>
                    <a:pt x="20731" y="24684"/>
                  </a:lnTo>
                  <a:lnTo>
                    <a:pt x="21789" y="23960"/>
                  </a:lnTo>
                  <a:lnTo>
                    <a:pt x="22773" y="23125"/>
                  </a:lnTo>
                  <a:lnTo>
                    <a:pt x="23237" y="22661"/>
                  </a:lnTo>
                  <a:lnTo>
                    <a:pt x="23422" y="22420"/>
                  </a:lnTo>
                  <a:lnTo>
                    <a:pt x="23608" y="21863"/>
                  </a:lnTo>
                  <a:lnTo>
                    <a:pt x="23552" y="21288"/>
                  </a:lnTo>
                  <a:lnTo>
                    <a:pt x="23274" y="20768"/>
                  </a:lnTo>
                  <a:lnTo>
                    <a:pt x="23051" y="20564"/>
                  </a:lnTo>
                  <a:lnTo>
                    <a:pt x="21158" y="19042"/>
                  </a:lnTo>
                  <a:lnTo>
                    <a:pt x="20935" y="18875"/>
                  </a:lnTo>
                  <a:lnTo>
                    <a:pt x="20434" y="18726"/>
                  </a:lnTo>
                  <a:lnTo>
                    <a:pt x="19915" y="18745"/>
                  </a:lnTo>
                  <a:lnTo>
                    <a:pt x="19432" y="18949"/>
                  </a:lnTo>
                  <a:lnTo>
                    <a:pt x="19246" y="19135"/>
                  </a:lnTo>
                  <a:lnTo>
                    <a:pt x="18820" y="19543"/>
                  </a:lnTo>
                  <a:lnTo>
                    <a:pt x="17892" y="20230"/>
                  </a:lnTo>
                  <a:lnTo>
                    <a:pt x="17372" y="20527"/>
                  </a:lnTo>
                  <a:lnTo>
                    <a:pt x="16964" y="20731"/>
                  </a:lnTo>
                  <a:lnTo>
                    <a:pt x="16073" y="21046"/>
                  </a:lnTo>
                  <a:lnTo>
                    <a:pt x="15071" y="21269"/>
                  </a:lnTo>
                  <a:lnTo>
                    <a:pt x="13994" y="21380"/>
                  </a:lnTo>
                  <a:lnTo>
                    <a:pt x="13419" y="21380"/>
                  </a:lnTo>
                  <a:lnTo>
                    <a:pt x="12732" y="21362"/>
                  </a:lnTo>
                  <a:lnTo>
                    <a:pt x="11433" y="21120"/>
                  </a:lnTo>
                  <a:lnTo>
                    <a:pt x="10802" y="20916"/>
                  </a:lnTo>
                  <a:lnTo>
                    <a:pt x="10190" y="20657"/>
                  </a:lnTo>
                  <a:lnTo>
                    <a:pt x="9076" y="20026"/>
                  </a:lnTo>
                  <a:lnTo>
                    <a:pt x="8557" y="19636"/>
                  </a:lnTo>
                  <a:lnTo>
                    <a:pt x="8074" y="19209"/>
                  </a:lnTo>
                  <a:lnTo>
                    <a:pt x="7295" y="18244"/>
                  </a:lnTo>
                  <a:lnTo>
                    <a:pt x="6979" y="17706"/>
                  </a:lnTo>
                  <a:lnTo>
                    <a:pt x="6682" y="17130"/>
                  </a:lnTo>
                  <a:lnTo>
                    <a:pt x="6329" y="15905"/>
                  </a:lnTo>
                  <a:lnTo>
                    <a:pt x="6274" y="15237"/>
                  </a:lnTo>
                  <a:lnTo>
                    <a:pt x="23905" y="15237"/>
                  </a:lnTo>
                  <a:lnTo>
                    <a:pt x="24202" y="15200"/>
                  </a:lnTo>
                  <a:lnTo>
                    <a:pt x="24721" y="14996"/>
                  </a:lnTo>
                  <a:lnTo>
                    <a:pt x="25111" y="14606"/>
                  </a:lnTo>
                  <a:lnTo>
                    <a:pt x="25334" y="14087"/>
                  </a:lnTo>
                  <a:lnTo>
                    <a:pt x="25352" y="13790"/>
                  </a:lnTo>
                  <a:lnTo>
                    <a:pt x="25352" y="13567"/>
                  </a:lnTo>
                  <a:lnTo>
                    <a:pt x="25352" y="12713"/>
                  </a:lnTo>
                  <a:lnTo>
                    <a:pt x="25222" y="11136"/>
                  </a:lnTo>
                  <a:lnTo>
                    <a:pt x="25000" y="9651"/>
                  </a:lnTo>
                  <a:lnTo>
                    <a:pt x="24666" y="8278"/>
                  </a:lnTo>
                  <a:lnTo>
                    <a:pt x="24443" y="7647"/>
                  </a:lnTo>
                  <a:lnTo>
                    <a:pt x="24202" y="7016"/>
                  </a:lnTo>
                  <a:lnTo>
                    <a:pt x="23663" y="5847"/>
                  </a:lnTo>
                  <a:lnTo>
                    <a:pt x="23032" y="4807"/>
                  </a:lnTo>
                  <a:lnTo>
                    <a:pt x="22309" y="3842"/>
                  </a:lnTo>
                  <a:lnTo>
                    <a:pt x="21919" y="3415"/>
                  </a:lnTo>
                  <a:lnTo>
                    <a:pt x="21511" y="3007"/>
                  </a:lnTo>
                  <a:lnTo>
                    <a:pt x="20620" y="2265"/>
                  </a:lnTo>
                  <a:lnTo>
                    <a:pt x="19655" y="1615"/>
                  </a:lnTo>
                  <a:lnTo>
                    <a:pt x="18634" y="1096"/>
                  </a:lnTo>
                  <a:lnTo>
                    <a:pt x="18077" y="873"/>
                  </a:lnTo>
                  <a:lnTo>
                    <a:pt x="17520" y="650"/>
                  </a:lnTo>
                  <a:lnTo>
                    <a:pt x="16370" y="335"/>
                  </a:lnTo>
                  <a:lnTo>
                    <a:pt x="15163" y="112"/>
                  </a:lnTo>
                  <a:lnTo>
                    <a:pt x="13901" y="19"/>
                  </a:lnTo>
                  <a:lnTo>
                    <a:pt x="13252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" name="Google Shape;147;p7"/>
            <p:cNvSpPr/>
            <p:nvPr/>
          </p:nvSpPr>
          <p:spPr>
            <a:xfrm>
              <a:off x="5884625" y="2663300"/>
              <a:ext cx="579075" cy="659800"/>
            </a:xfrm>
            <a:custGeom>
              <a:avLst/>
              <a:gdLst/>
              <a:ahLst/>
              <a:cxnLst/>
              <a:rect l="l" t="t" r="r" b="b"/>
              <a:pathLst>
                <a:path w="23163" h="26392" extrusionOk="0">
                  <a:moveTo>
                    <a:pt x="17223" y="14347"/>
                  </a:moveTo>
                  <a:lnTo>
                    <a:pt x="17223" y="15237"/>
                  </a:lnTo>
                  <a:lnTo>
                    <a:pt x="17205" y="15961"/>
                  </a:lnTo>
                  <a:lnTo>
                    <a:pt x="17001" y="17297"/>
                  </a:lnTo>
                  <a:lnTo>
                    <a:pt x="16574" y="18467"/>
                  </a:lnTo>
                  <a:lnTo>
                    <a:pt x="15943" y="19487"/>
                  </a:lnTo>
                  <a:lnTo>
                    <a:pt x="15553" y="19933"/>
                  </a:lnTo>
                  <a:lnTo>
                    <a:pt x="15108" y="20341"/>
                  </a:lnTo>
                  <a:lnTo>
                    <a:pt x="14087" y="20991"/>
                  </a:lnTo>
                  <a:lnTo>
                    <a:pt x="12862" y="21417"/>
                  </a:lnTo>
                  <a:lnTo>
                    <a:pt x="11433" y="21640"/>
                  </a:lnTo>
                  <a:lnTo>
                    <a:pt x="10653" y="21659"/>
                  </a:lnTo>
                  <a:lnTo>
                    <a:pt x="9855" y="21622"/>
                  </a:lnTo>
                  <a:lnTo>
                    <a:pt x="9076" y="21492"/>
                  </a:lnTo>
                  <a:lnTo>
                    <a:pt x="8705" y="21417"/>
                  </a:lnTo>
                  <a:lnTo>
                    <a:pt x="8000" y="21158"/>
                  </a:lnTo>
                  <a:lnTo>
                    <a:pt x="7666" y="20972"/>
                  </a:lnTo>
                  <a:lnTo>
                    <a:pt x="7369" y="20786"/>
                  </a:lnTo>
                  <a:lnTo>
                    <a:pt x="6867" y="20304"/>
                  </a:lnTo>
                  <a:lnTo>
                    <a:pt x="6645" y="20007"/>
                  </a:lnTo>
                  <a:lnTo>
                    <a:pt x="6478" y="19691"/>
                  </a:lnTo>
                  <a:lnTo>
                    <a:pt x="6274" y="18949"/>
                  </a:lnTo>
                  <a:lnTo>
                    <a:pt x="6255" y="18522"/>
                  </a:lnTo>
                  <a:lnTo>
                    <a:pt x="6274" y="18170"/>
                  </a:lnTo>
                  <a:lnTo>
                    <a:pt x="6385" y="17557"/>
                  </a:lnTo>
                  <a:lnTo>
                    <a:pt x="6626" y="17000"/>
                  </a:lnTo>
                  <a:lnTo>
                    <a:pt x="6979" y="16518"/>
                  </a:lnTo>
                  <a:lnTo>
                    <a:pt x="7202" y="16314"/>
                  </a:lnTo>
                  <a:lnTo>
                    <a:pt x="7684" y="15924"/>
                  </a:lnTo>
                  <a:lnTo>
                    <a:pt x="8872" y="15293"/>
                  </a:lnTo>
                  <a:lnTo>
                    <a:pt x="9540" y="15052"/>
                  </a:lnTo>
                  <a:lnTo>
                    <a:pt x="10264" y="14848"/>
                  </a:lnTo>
                  <a:lnTo>
                    <a:pt x="11804" y="14551"/>
                  </a:lnTo>
                  <a:lnTo>
                    <a:pt x="12621" y="14476"/>
                  </a:lnTo>
                  <a:lnTo>
                    <a:pt x="14272" y="14365"/>
                  </a:lnTo>
                  <a:lnTo>
                    <a:pt x="15813" y="14347"/>
                  </a:lnTo>
                  <a:close/>
                  <a:moveTo>
                    <a:pt x="12008" y="1"/>
                  </a:moveTo>
                  <a:lnTo>
                    <a:pt x="11284" y="19"/>
                  </a:lnTo>
                  <a:lnTo>
                    <a:pt x="9855" y="131"/>
                  </a:lnTo>
                  <a:lnTo>
                    <a:pt x="8445" y="390"/>
                  </a:lnTo>
                  <a:lnTo>
                    <a:pt x="7035" y="762"/>
                  </a:lnTo>
                  <a:lnTo>
                    <a:pt x="6348" y="1003"/>
                  </a:lnTo>
                  <a:lnTo>
                    <a:pt x="5327" y="1374"/>
                  </a:lnTo>
                  <a:lnTo>
                    <a:pt x="3434" y="2376"/>
                  </a:lnTo>
                  <a:lnTo>
                    <a:pt x="2580" y="3007"/>
                  </a:lnTo>
                  <a:lnTo>
                    <a:pt x="2339" y="3193"/>
                  </a:lnTo>
                  <a:lnTo>
                    <a:pt x="2061" y="3712"/>
                  </a:lnTo>
                  <a:lnTo>
                    <a:pt x="2005" y="4269"/>
                  </a:lnTo>
                  <a:lnTo>
                    <a:pt x="2191" y="4845"/>
                  </a:lnTo>
                  <a:lnTo>
                    <a:pt x="2358" y="5086"/>
                  </a:lnTo>
                  <a:lnTo>
                    <a:pt x="3712" y="6663"/>
                  </a:lnTo>
                  <a:lnTo>
                    <a:pt x="3898" y="6867"/>
                  </a:lnTo>
                  <a:lnTo>
                    <a:pt x="4381" y="7127"/>
                  </a:lnTo>
                  <a:lnTo>
                    <a:pt x="4900" y="7183"/>
                  </a:lnTo>
                  <a:lnTo>
                    <a:pt x="5420" y="7053"/>
                  </a:lnTo>
                  <a:lnTo>
                    <a:pt x="5661" y="6905"/>
                  </a:lnTo>
                  <a:lnTo>
                    <a:pt x="6107" y="6589"/>
                  </a:lnTo>
                  <a:lnTo>
                    <a:pt x="7127" y="5995"/>
                  </a:lnTo>
                  <a:lnTo>
                    <a:pt x="7684" y="5735"/>
                  </a:lnTo>
                  <a:lnTo>
                    <a:pt x="8129" y="5550"/>
                  </a:lnTo>
                  <a:lnTo>
                    <a:pt x="9057" y="5234"/>
                  </a:lnTo>
                  <a:lnTo>
                    <a:pt x="10022" y="5012"/>
                  </a:lnTo>
                  <a:lnTo>
                    <a:pt x="10988" y="4919"/>
                  </a:lnTo>
                  <a:lnTo>
                    <a:pt x="11489" y="4900"/>
                  </a:lnTo>
                  <a:lnTo>
                    <a:pt x="12064" y="4919"/>
                  </a:lnTo>
                  <a:lnTo>
                    <a:pt x="13159" y="5049"/>
                  </a:lnTo>
                  <a:lnTo>
                    <a:pt x="14161" y="5346"/>
                  </a:lnTo>
                  <a:lnTo>
                    <a:pt x="15089" y="5754"/>
                  </a:lnTo>
                  <a:lnTo>
                    <a:pt x="15534" y="6032"/>
                  </a:lnTo>
                  <a:lnTo>
                    <a:pt x="15924" y="6311"/>
                  </a:lnTo>
                  <a:lnTo>
                    <a:pt x="16574" y="7034"/>
                  </a:lnTo>
                  <a:lnTo>
                    <a:pt x="16982" y="7907"/>
                  </a:lnTo>
                  <a:lnTo>
                    <a:pt x="17205" y="8927"/>
                  </a:lnTo>
                  <a:lnTo>
                    <a:pt x="17223" y="9484"/>
                  </a:lnTo>
                  <a:lnTo>
                    <a:pt x="17223" y="10115"/>
                  </a:lnTo>
                  <a:lnTo>
                    <a:pt x="15757" y="10134"/>
                  </a:lnTo>
                  <a:lnTo>
                    <a:pt x="12769" y="10282"/>
                  </a:lnTo>
                  <a:lnTo>
                    <a:pt x="11247" y="10412"/>
                  </a:lnTo>
                  <a:lnTo>
                    <a:pt x="9744" y="10579"/>
                  </a:lnTo>
                  <a:lnTo>
                    <a:pt x="7647" y="11006"/>
                  </a:lnTo>
                  <a:lnTo>
                    <a:pt x="6329" y="11359"/>
                  </a:lnTo>
                  <a:lnTo>
                    <a:pt x="5698" y="11581"/>
                  </a:lnTo>
                  <a:lnTo>
                    <a:pt x="5067" y="11804"/>
                  </a:lnTo>
                  <a:lnTo>
                    <a:pt x="3935" y="12361"/>
                  </a:lnTo>
                  <a:lnTo>
                    <a:pt x="2914" y="12992"/>
                  </a:lnTo>
                  <a:lnTo>
                    <a:pt x="2005" y="13734"/>
                  </a:lnTo>
                  <a:lnTo>
                    <a:pt x="1597" y="14142"/>
                  </a:lnTo>
                  <a:lnTo>
                    <a:pt x="1207" y="14569"/>
                  </a:lnTo>
                  <a:lnTo>
                    <a:pt x="613" y="15553"/>
                  </a:lnTo>
                  <a:lnTo>
                    <a:pt x="223" y="16666"/>
                  </a:lnTo>
                  <a:lnTo>
                    <a:pt x="19" y="17928"/>
                  </a:lnTo>
                  <a:lnTo>
                    <a:pt x="1" y="18615"/>
                  </a:lnTo>
                  <a:lnTo>
                    <a:pt x="19" y="19172"/>
                  </a:lnTo>
                  <a:lnTo>
                    <a:pt x="131" y="20174"/>
                  </a:lnTo>
                  <a:lnTo>
                    <a:pt x="353" y="21083"/>
                  </a:lnTo>
                  <a:lnTo>
                    <a:pt x="706" y="21919"/>
                  </a:lnTo>
                  <a:lnTo>
                    <a:pt x="910" y="22308"/>
                  </a:lnTo>
                  <a:lnTo>
                    <a:pt x="1151" y="22661"/>
                  </a:lnTo>
                  <a:lnTo>
                    <a:pt x="1671" y="23348"/>
                  </a:lnTo>
                  <a:lnTo>
                    <a:pt x="2246" y="23941"/>
                  </a:lnTo>
                  <a:lnTo>
                    <a:pt x="2877" y="24461"/>
                  </a:lnTo>
                  <a:lnTo>
                    <a:pt x="3211" y="24702"/>
                  </a:lnTo>
                  <a:lnTo>
                    <a:pt x="3917" y="25129"/>
                  </a:lnTo>
                  <a:lnTo>
                    <a:pt x="5420" y="25779"/>
                  </a:lnTo>
                  <a:lnTo>
                    <a:pt x="6236" y="26001"/>
                  </a:lnTo>
                  <a:lnTo>
                    <a:pt x="7053" y="26187"/>
                  </a:lnTo>
                  <a:lnTo>
                    <a:pt x="8631" y="26373"/>
                  </a:lnTo>
                  <a:lnTo>
                    <a:pt x="9391" y="26391"/>
                  </a:lnTo>
                  <a:lnTo>
                    <a:pt x="10060" y="26391"/>
                  </a:lnTo>
                  <a:lnTo>
                    <a:pt x="11303" y="26243"/>
                  </a:lnTo>
                  <a:lnTo>
                    <a:pt x="12491" y="25983"/>
                  </a:lnTo>
                  <a:lnTo>
                    <a:pt x="13604" y="25575"/>
                  </a:lnTo>
                  <a:lnTo>
                    <a:pt x="14143" y="25315"/>
                  </a:lnTo>
                  <a:lnTo>
                    <a:pt x="14644" y="25055"/>
                  </a:lnTo>
                  <a:lnTo>
                    <a:pt x="15553" y="24442"/>
                  </a:lnTo>
                  <a:lnTo>
                    <a:pt x="16314" y="23756"/>
                  </a:lnTo>
                  <a:lnTo>
                    <a:pt x="16926" y="22995"/>
                  </a:lnTo>
                  <a:lnTo>
                    <a:pt x="17168" y="22587"/>
                  </a:lnTo>
                  <a:lnTo>
                    <a:pt x="17316" y="22587"/>
                  </a:lnTo>
                  <a:lnTo>
                    <a:pt x="17316" y="24313"/>
                  </a:lnTo>
                  <a:lnTo>
                    <a:pt x="17335" y="24610"/>
                  </a:lnTo>
                  <a:lnTo>
                    <a:pt x="17557" y="25129"/>
                  </a:lnTo>
                  <a:lnTo>
                    <a:pt x="17947" y="25519"/>
                  </a:lnTo>
                  <a:lnTo>
                    <a:pt x="18467" y="25742"/>
                  </a:lnTo>
                  <a:lnTo>
                    <a:pt x="18764" y="25760"/>
                  </a:lnTo>
                  <a:lnTo>
                    <a:pt x="21715" y="25760"/>
                  </a:lnTo>
                  <a:lnTo>
                    <a:pt x="22011" y="25742"/>
                  </a:lnTo>
                  <a:lnTo>
                    <a:pt x="22531" y="25519"/>
                  </a:lnTo>
                  <a:lnTo>
                    <a:pt x="22921" y="25129"/>
                  </a:lnTo>
                  <a:lnTo>
                    <a:pt x="23144" y="24610"/>
                  </a:lnTo>
                  <a:lnTo>
                    <a:pt x="23162" y="24313"/>
                  </a:lnTo>
                  <a:lnTo>
                    <a:pt x="23162" y="10542"/>
                  </a:lnTo>
                  <a:lnTo>
                    <a:pt x="23144" y="9596"/>
                  </a:lnTo>
                  <a:lnTo>
                    <a:pt x="22902" y="7721"/>
                  </a:lnTo>
                  <a:lnTo>
                    <a:pt x="22661" y="6775"/>
                  </a:lnTo>
                  <a:lnTo>
                    <a:pt x="22531" y="6311"/>
                  </a:lnTo>
                  <a:lnTo>
                    <a:pt x="22197" y="5420"/>
                  </a:lnTo>
                  <a:lnTo>
                    <a:pt x="21752" y="4566"/>
                  </a:lnTo>
                  <a:lnTo>
                    <a:pt x="21232" y="3768"/>
                  </a:lnTo>
                  <a:lnTo>
                    <a:pt x="20917" y="3378"/>
                  </a:lnTo>
                  <a:lnTo>
                    <a:pt x="20917" y="3397"/>
                  </a:lnTo>
                  <a:lnTo>
                    <a:pt x="20601" y="3026"/>
                  </a:lnTo>
                  <a:lnTo>
                    <a:pt x="19859" y="2339"/>
                  </a:lnTo>
                  <a:lnTo>
                    <a:pt x="19005" y="1727"/>
                  </a:lnTo>
                  <a:lnTo>
                    <a:pt x="18040" y="1188"/>
                  </a:lnTo>
                  <a:lnTo>
                    <a:pt x="17502" y="947"/>
                  </a:lnTo>
                  <a:lnTo>
                    <a:pt x="16945" y="724"/>
                  </a:lnTo>
                  <a:lnTo>
                    <a:pt x="15720" y="372"/>
                  </a:lnTo>
                  <a:lnTo>
                    <a:pt x="14347" y="131"/>
                  </a:lnTo>
                  <a:lnTo>
                    <a:pt x="12825" y="19"/>
                  </a:lnTo>
                  <a:lnTo>
                    <a:pt x="12008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" name="Google Shape;148;p7"/>
            <p:cNvSpPr/>
            <p:nvPr/>
          </p:nvSpPr>
          <p:spPr>
            <a:xfrm>
              <a:off x="6545800" y="2664225"/>
              <a:ext cx="373975" cy="643550"/>
            </a:xfrm>
            <a:custGeom>
              <a:avLst/>
              <a:gdLst/>
              <a:ahLst/>
              <a:cxnLst/>
              <a:rect l="l" t="t" r="r" b="b"/>
              <a:pathLst>
                <a:path w="14959" h="25742" extrusionOk="0">
                  <a:moveTo>
                    <a:pt x="13400" y="1"/>
                  </a:moveTo>
                  <a:lnTo>
                    <a:pt x="13400" y="19"/>
                  </a:lnTo>
                  <a:lnTo>
                    <a:pt x="12639" y="75"/>
                  </a:lnTo>
                  <a:lnTo>
                    <a:pt x="11339" y="279"/>
                  </a:lnTo>
                  <a:lnTo>
                    <a:pt x="10300" y="613"/>
                  </a:lnTo>
                  <a:lnTo>
                    <a:pt x="9409" y="1059"/>
                  </a:lnTo>
                  <a:lnTo>
                    <a:pt x="9020" y="1318"/>
                  </a:lnTo>
                  <a:lnTo>
                    <a:pt x="8556" y="1671"/>
                  </a:lnTo>
                  <a:lnTo>
                    <a:pt x="7721" y="2451"/>
                  </a:lnTo>
                  <a:lnTo>
                    <a:pt x="6997" y="3341"/>
                  </a:lnTo>
                  <a:lnTo>
                    <a:pt x="6366" y="4325"/>
                  </a:lnTo>
                  <a:lnTo>
                    <a:pt x="6106" y="4863"/>
                  </a:lnTo>
                  <a:lnTo>
                    <a:pt x="5995" y="4863"/>
                  </a:lnTo>
                  <a:lnTo>
                    <a:pt x="5995" y="2135"/>
                  </a:lnTo>
                  <a:lnTo>
                    <a:pt x="5976" y="1838"/>
                  </a:lnTo>
                  <a:lnTo>
                    <a:pt x="5753" y="1318"/>
                  </a:lnTo>
                  <a:lnTo>
                    <a:pt x="5364" y="929"/>
                  </a:lnTo>
                  <a:lnTo>
                    <a:pt x="4844" y="706"/>
                  </a:lnTo>
                  <a:lnTo>
                    <a:pt x="4547" y="687"/>
                  </a:lnTo>
                  <a:lnTo>
                    <a:pt x="1448" y="687"/>
                  </a:lnTo>
                  <a:lnTo>
                    <a:pt x="1151" y="706"/>
                  </a:lnTo>
                  <a:lnTo>
                    <a:pt x="631" y="929"/>
                  </a:lnTo>
                  <a:lnTo>
                    <a:pt x="241" y="1318"/>
                  </a:lnTo>
                  <a:lnTo>
                    <a:pt x="19" y="1838"/>
                  </a:lnTo>
                  <a:lnTo>
                    <a:pt x="0" y="2135"/>
                  </a:lnTo>
                  <a:lnTo>
                    <a:pt x="0" y="24276"/>
                  </a:lnTo>
                  <a:lnTo>
                    <a:pt x="19" y="24573"/>
                  </a:lnTo>
                  <a:lnTo>
                    <a:pt x="241" y="25092"/>
                  </a:lnTo>
                  <a:lnTo>
                    <a:pt x="631" y="25500"/>
                  </a:lnTo>
                  <a:lnTo>
                    <a:pt x="1151" y="25705"/>
                  </a:lnTo>
                  <a:lnTo>
                    <a:pt x="1448" y="25742"/>
                  </a:lnTo>
                  <a:lnTo>
                    <a:pt x="4807" y="25742"/>
                  </a:lnTo>
                  <a:lnTo>
                    <a:pt x="5104" y="25705"/>
                  </a:lnTo>
                  <a:lnTo>
                    <a:pt x="5623" y="25500"/>
                  </a:lnTo>
                  <a:lnTo>
                    <a:pt x="6013" y="25092"/>
                  </a:lnTo>
                  <a:lnTo>
                    <a:pt x="6236" y="24573"/>
                  </a:lnTo>
                  <a:lnTo>
                    <a:pt x="6254" y="24276"/>
                  </a:lnTo>
                  <a:lnTo>
                    <a:pt x="6254" y="12324"/>
                  </a:lnTo>
                  <a:lnTo>
                    <a:pt x="6273" y="11971"/>
                  </a:lnTo>
                  <a:lnTo>
                    <a:pt x="6403" y="11062"/>
                  </a:lnTo>
                  <a:lnTo>
                    <a:pt x="6514" y="10505"/>
                  </a:lnTo>
                  <a:lnTo>
                    <a:pt x="6663" y="9930"/>
                  </a:lnTo>
                  <a:lnTo>
                    <a:pt x="7164" y="8816"/>
                  </a:lnTo>
                  <a:lnTo>
                    <a:pt x="7516" y="8259"/>
                  </a:lnTo>
                  <a:lnTo>
                    <a:pt x="7906" y="7721"/>
                  </a:lnTo>
                  <a:lnTo>
                    <a:pt x="8908" y="6775"/>
                  </a:lnTo>
                  <a:lnTo>
                    <a:pt x="9539" y="6385"/>
                  </a:lnTo>
                  <a:lnTo>
                    <a:pt x="10170" y="6014"/>
                  </a:lnTo>
                  <a:lnTo>
                    <a:pt x="11636" y="5439"/>
                  </a:lnTo>
                  <a:lnTo>
                    <a:pt x="12917" y="5142"/>
                  </a:lnTo>
                  <a:lnTo>
                    <a:pt x="13678" y="5030"/>
                  </a:lnTo>
                  <a:lnTo>
                    <a:pt x="13938" y="4993"/>
                  </a:lnTo>
                  <a:lnTo>
                    <a:pt x="14420" y="4752"/>
                  </a:lnTo>
                  <a:lnTo>
                    <a:pt x="14754" y="4344"/>
                  </a:lnTo>
                  <a:lnTo>
                    <a:pt x="14940" y="3861"/>
                  </a:lnTo>
                  <a:lnTo>
                    <a:pt x="14958" y="3583"/>
                  </a:lnTo>
                  <a:lnTo>
                    <a:pt x="14940" y="1430"/>
                  </a:lnTo>
                  <a:lnTo>
                    <a:pt x="14903" y="1133"/>
                  </a:lnTo>
                  <a:lnTo>
                    <a:pt x="14661" y="595"/>
                  </a:lnTo>
                  <a:lnTo>
                    <a:pt x="14253" y="205"/>
                  </a:lnTo>
                  <a:lnTo>
                    <a:pt x="13696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" name="Google Shape;149;p7"/>
            <p:cNvSpPr/>
            <p:nvPr/>
          </p:nvSpPr>
          <p:spPr>
            <a:xfrm>
              <a:off x="6961975" y="2500450"/>
              <a:ext cx="420375" cy="820325"/>
            </a:xfrm>
            <a:custGeom>
              <a:avLst/>
              <a:gdLst/>
              <a:ahLst/>
              <a:cxnLst/>
              <a:rect l="l" t="t" r="r" b="b"/>
              <a:pathLst>
                <a:path w="16815" h="32813" extrusionOk="0">
                  <a:moveTo>
                    <a:pt x="5846" y="1"/>
                  </a:moveTo>
                  <a:lnTo>
                    <a:pt x="5549" y="19"/>
                  </a:lnTo>
                  <a:lnTo>
                    <a:pt x="5030" y="242"/>
                  </a:lnTo>
                  <a:lnTo>
                    <a:pt x="4621" y="632"/>
                  </a:lnTo>
                  <a:lnTo>
                    <a:pt x="4417" y="1151"/>
                  </a:lnTo>
                  <a:lnTo>
                    <a:pt x="4399" y="1448"/>
                  </a:lnTo>
                  <a:lnTo>
                    <a:pt x="4399" y="6515"/>
                  </a:lnTo>
                  <a:lnTo>
                    <a:pt x="1448" y="6515"/>
                  </a:lnTo>
                  <a:lnTo>
                    <a:pt x="1169" y="6533"/>
                  </a:lnTo>
                  <a:lnTo>
                    <a:pt x="650" y="6756"/>
                  </a:lnTo>
                  <a:lnTo>
                    <a:pt x="242" y="7146"/>
                  </a:lnTo>
                  <a:lnTo>
                    <a:pt x="19" y="7665"/>
                  </a:lnTo>
                  <a:lnTo>
                    <a:pt x="0" y="7962"/>
                  </a:lnTo>
                  <a:lnTo>
                    <a:pt x="0" y="10078"/>
                  </a:lnTo>
                  <a:lnTo>
                    <a:pt x="19" y="10375"/>
                  </a:lnTo>
                  <a:lnTo>
                    <a:pt x="242" y="10895"/>
                  </a:lnTo>
                  <a:lnTo>
                    <a:pt x="650" y="11284"/>
                  </a:lnTo>
                  <a:lnTo>
                    <a:pt x="1169" y="11507"/>
                  </a:lnTo>
                  <a:lnTo>
                    <a:pt x="1448" y="11526"/>
                  </a:lnTo>
                  <a:lnTo>
                    <a:pt x="4399" y="11526"/>
                  </a:lnTo>
                  <a:lnTo>
                    <a:pt x="4399" y="23941"/>
                  </a:lnTo>
                  <a:lnTo>
                    <a:pt x="4399" y="24851"/>
                  </a:lnTo>
                  <a:lnTo>
                    <a:pt x="4566" y="26558"/>
                  </a:lnTo>
                  <a:lnTo>
                    <a:pt x="4733" y="27356"/>
                  </a:lnTo>
                  <a:lnTo>
                    <a:pt x="4918" y="28136"/>
                  </a:lnTo>
                  <a:lnTo>
                    <a:pt x="5549" y="29546"/>
                  </a:lnTo>
                  <a:lnTo>
                    <a:pt x="5976" y="30177"/>
                  </a:lnTo>
                  <a:lnTo>
                    <a:pt x="6217" y="30474"/>
                  </a:lnTo>
                  <a:lnTo>
                    <a:pt x="6756" y="31031"/>
                  </a:lnTo>
                  <a:lnTo>
                    <a:pt x="7368" y="31513"/>
                  </a:lnTo>
                  <a:lnTo>
                    <a:pt x="8073" y="31922"/>
                  </a:lnTo>
                  <a:lnTo>
                    <a:pt x="8463" y="32107"/>
                  </a:lnTo>
                  <a:lnTo>
                    <a:pt x="8853" y="32274"/>
                  </a:lnTo>
                  <a:lnTo>
                    <a:pt x="9762" y="32534"/>
                  </a:lnTo>
                  <a:lnTo>
                    <a:pt x="10783" y="32720"/>
                  </a:lnTo>
                  <a:lnTo>
                    <a:pt x="11915" y="32794"/>
                  </a:lnTo>
                  <a:lnTo>
                    <a:pt x="12527" y="32812"/>
                  </a:lnTo>
                  <a:lnTo>
                    <a:pt x="13047" y="32794"/>
                  </a:lnTo>
                  <a:lnTo>
                    <a:pt x="14142" y="32701"/>
                  </a:lnTo>
                  <a:lnTo>
                    <a:pt x="14717" y="32627"/>
                  </a:lnTo>
                  <a:lnTo>
                    <a:pt x="15274" y="32534"/>
                  </a:lnTo>
                  <a:lnTo>
                    <a:pt x="16276" y="32274"/>
                  </a:lnTo>
                  <a:lnTo>
                    <a:pt x="16703" y="32126"/>
                  </a:lnTo>
                  <a:lnTo>
                    <a:pt x="16499" y="27226"/>
                  </a:lnTo>
                  <a:lnTo>
                    <a:pt x="15887" y="27467"/>
                  </a:lnTo>
                  <a:lnTo>
                    <a:pt x="15181" y="27616"/>
                  </a:lnTo>
                  <a:lnTo>
                    <a:pt x="14476" y="27727"/>
                  </a:lnTo>
                  <a:lnTo>
                    <a:pt x="13827" y="27746"/>
                  </a:lnTo>
                  <a:lnTo>
                    <a:pt x="13326" y="27746"/>
                  </a:lnTo>
                  <a:lnTo>
                    <a:pt x="12472" y="27597"/>
                  </a:lnTo>
                  <a:lnTo>
                    <a:pt x="11804" y="27319"/>
                  </a:lnTo>
                  <a:lnTo>
                    <a:pt x="11303" y="26911"/>
                  </a:lnTo>
                  <a:lnTo>
                    <a:pt x="11154" y="26651"/>
                  </a:lnTo>
                  <a:lnTo>
                    <a:pt x="11006" y="26372"/>
                  </a:lnTo>
                  <a:lnTo>
                    <a:pt x="10783" y="25760"/>
                  </a:lnTo>
                  <a:lnTo>
                    <a:pt x="10560" y="24702"/>
                  </a:lnTo>
                  <a:lnTo>
                    <a:pt x="10542" y="23886"/>
                  </a:lnTo>
                  <a:lnTo>
                    <a:pt x="10542" y="11526"/>
                  </a:lnTo>
                  <a:lnTo>
                    <a:pt x="15367" y="11526"/>
                  </a:lnTo>
                  <a:lnTo>
                    <a:pt x="15645" y="11507"/>
                  </a:lnTo>
                  <a:lnTo>
                    <a:pt x="16165" y="11284"/>
                  </a:lnTo>
                  <a:lnTo>
                    <a:pt x="16573" y="10895"/>
                  </a:lnTo>
                  <a:lnTo>
                    <a:pt x="16796" y="10375"/>
                  </a:lnTo>
                  <a:lnTo>
                    <a:pt x="16815" y="10078"/>
                  </a:lnTo>
                  <a:lnTo>
                    <a:pt x="16815" y="7962"/>
                  </a:lnTo>
                  <a:lnTo>
                    <a:pt x="16796" y="7665"/>
                  </a:lnTo>
                  <a:lnTo>
                    <a:pt x="16573" y="7146"/>
                  </a:lnTo>
                  <a:lnTo>
                    <a:pt x="16165" y="6756"/>
                  </a:lnTo>
                  <a:lnTo>
                    <a:pt x="15645" y="6533"/>
                  </a:lnTo>
                  <a:lnTo>
                    <a:pt x="15367" y="6515"/>
                  </a:lnTo>
                  <a:lnTo>
                    <a:pt x="10542" y="6515"/>
                  </a:lnTo>
                  <a:lnTo>
                    <a:pt x="10542" y="1448"/>
                  </a:lnTo>
                  <a:lnTo>
                    <a:pt x="10523" y="1151"/>
                  </a:lnTo>
                  <a:lnTo>
                    <a:pt x="10300" y="632"/>
                  </a:lnTo>
                  <a:lnTo>
                    <a:pt x="9911" y="242"/>
                  </a:lnTo>
                  <a:lnTo>
                    <a:pt x="9391" y="19"/>
                  </a:lnTo>
                  <a:lnTo>
                    <a:pt x="9094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" name="Google Shape;150;p7"/>
            <p:cNvSpPr/>
            <p:nvPr/>
          </p:nvSpPr>
          <p:spPr>
            <a:xfrm>
              <a:off x="4511750" y="2466575"/>
              <a:ext cx="655150" cy="841200"/>
            </a:xfrm>
            <a:custGeom>
              <a:avLst/>
              <a:gdLst/>
              <a:ahLst/>
              <a:cxnLst/>
              <a:rect l="l" t="t" r="r" b="b"/>
              <a:pathLst>
                <a:path w="26206" h="33648" extrusionOk="0">
                  <a:moveTo>
                    <a:pt x="1466" y="1"/>
                  </a:moveTo>
                  <a:lnTo>
                    <a:pt x="1169" y="19"/>
                  </a:lnTo>
                  <a:lnTo>
                    <a:pt x="650" y="242"/>
                  </a:lnTo>
                  <a:lnTo>
                    <a:pt x="241" y="632"/>
                  </a:lnTo>
                  <a:lnTo>
                    <a:pt x="19" y="1151"/>
                  </a:lnTo>
                  <a:lnTo>
                    <a:pt x="0" y="1448"/>
                  </a:lnTo>
                  <a:lnTo>
                    <a:pt x="0" y="32200"/>
                  </a:lnTo>
                  <a:lnTo>
                    <a:pt x="19" y="32497"/>
                  </a:lnTo>
                  <a:lnTo>
                    <a:pt x="241" y="33017"/>
                  </a:lnTo>
                  <a:lnTo>
                    <a:pt x="650" y="33406"/>
                  </a:lnTo>
                  <a:lnTo>
                    <a:pt x="1169" y="33629"/>
                  </a:lnTo>
                  <a:lnTo>
                    <a:pt x="1466" y="33648"/>
                  </a:lnTo>
                  <a:lnTo>
                    <a:pt x="4825" y="33648"/>
                  </a:lnTo>
                  <a:lnTo>
                    <a:pt x="5122" y="33629"/>
                  </a:lnTo>
                  <a:lnTo>
                    <a:pt x="5642" y="33406"/>
                  </a:lnTo>
                  <a:lnTo>
                    <a:pt x="6032" y="33017"/>
                  </a:lnTo>
                  <a:lnTo>
                    <a:pt x="6255" y="32497"/>
                  </a:lnTo>
                  <a:lnTo>
                    <a:pt x="6273" y="32200"/>
                  </a:lnTo>
                  <a:lnTo>
                    <a:pt x="6273" y="18133"/>
                  </a:lnTo>
                  <a:lnTo>
                    <a:pt x="19932" y="18133"/>
                  </a:lnTo>
                  <a:lnTo>
                    <a:pt x="19932" y="32200"/>
                  </a:lnTo>
                  <a:lnTo>
                    <a:pt x="19951" y="32497"/>
                  </a:lnTo>
                  <a:lnTo>
                    <a:pt x="20174" y="33017"/>
                  </a:lnTo>
                  <a:lnTo>
                    <a:pt x="20563" y="33406"/>
                  </a:lnTo>
                  <a:lnTo>
                    <a:pt x="21083" y="33629"/>
                  </a:lnTo>
                  <a:lnTo>
                    <a:pt x="21380" y="33648"/>
                  </a:lnTo>
                  <a:lnTo>
                    <a:pt x="24758" y="33648"/>
                  </a:lnTo>
                  <a:lnTo>
                    <a:pt x="25036" y="33629"/>
                  </a:lnTo>
                  <a:lnTo>
                    <a:pt x="25556" y="33406"/>
                  </a:lnTo>
                  <a:lnTo>
                    <a:pt x="25964" y="33017"/>
                  </a:lnTo>
                  <a:lnTo>
                    <a:pt x="26187" y="32497"/>
                  </a:lnTo>
                  <a:lnTo>
                    <a:pt x="26205" y="32200"/>
                  </a:lnTo>
                  <a:lnTo>
                    <a:pt x="26205" y="1448"/>
                  </a:lnTo>
                  <a:lnTo>
                    <a:pt x="26187" y="1151"/>
                  </a:lnTo>
                  <a:lnTo>
                    <a:pt x="25964" y="632"/>
                  </a:lnTo>
                  <a:lnTo>
                    <a:pt x="25556" y="242"/>
                  </a:lnTo>
                  <a:lnTo>
                    <a:pt x="25036" y="19"/>
                  </a:lnTo>
                  <a:lnTo>
                    <a:pt x="24758" y="1"/>
                  </a:lnTo>
                  <a:lnTo>
                    <a:pt x="21380" y="1"/>
                  </a:lnTo>
                  <a:lnTo>
                    <a:pt x="21083" y="19"/>
                  </a:lnTo>
                  <a:lnTo>
                    <a:pt x="20563" y="242"/>
                  </a:lnTo>
                  <a:lnTo>
                    <a:pt x="20174" y="632"/>
                  </a:lnTo>
                  <a:lnTo>
                    <a:pt x="19951" y="1151"/>
                  </a:lnTo>
                  <a:lnTo>
                    <a:pt x="19932" y="1448"/>
                  </a:lnTo>
                  <a:lnTo>
                    <a:pt x="19932" y="13641"/>
                  </a:lnTo>
                  <a:lnTo>
                    <a:pt x="6273" y="13641"/>
                  </a:lnTo>
                  <a:lnTo>
                    <a:pt x="6273" y="1448"/>
                  </a:lnTo>
                  <a:lnTo>
                    <a:pt x="6255" y="1151"/>
                  </a:lnTo>
                  <a:lnTo>
                    <a:pt x="6032" y="632"/>
                  </a:lnTo>
                  <a:lnTo>
                    <a:pt x="5642" y="242"/>
                  </a:lnTo>
                  <a:lnTo>
                    <a:pt x="5122" y="19"/>
                  </a:lnTo>
                  <a:lnTo>
                    <a:pt x="4825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" name="Google Shape;151;p7"/>
            <p:cNvSpPr/>
            <p:nvPr/>
          </p:nvSpPr>
          <p:spPr>
            <a:xfrm>
              <a:off x="2392800" y="2663300"/>
              <a:ext cx="633800" cy="662575"/>
            </a:xfrm>
            <a:custGeom>
              <a:avLst/>
              <a:gdLst/>
              <a:ahLst/>
              <a:cxnLst/>
              <a:rect l="l" t="t" r="r" b="b"/>
              <a:pathLst>
                <a:path w="25352" h="26503" extrusionOk="0">
                  <a:moveTo>
                    <a:pt x="13195" y="4696"/>
                  </a:moveTo>
                  <a:lnTo>
                    <a:pt x="13938" y="4715"/>
                  </a:lnTo>
                  <a:lnTo>
                    <a:pt x="15255" y="4974"/>
                  </a:lnTo>
                  <a:lnTo>
                    <a:pt x="15831" y="5197"/>
                  </a:lnTo>
                  <a:lnTo>
                    <a:pt x="16369" y="5457"/>
                  </a:lnTo>
                  <a:lnTo>
                    <a:pt x="17297" y="6125"/>
                  </a:lnTo>
                  <a:lnTo>
                    <a:pt x="17687" y="6515"/>
                  </a:lnTo>
                  <a:lnTo>
                    <a:pt x="18039" y="6942"/>
                  </a:lnTo>
                  <a:lnTo>
                    <a:pt x="18559" y="7907"/>
                  </a:lnTo>
                  <a:lnTo>
                    <a:pt x="18745" y="8445"/>
                  </a:lnTo>
                  <a:lnTo>
                    <a:pt x="18912" y="9002"/>
                  </a:lnTo>
                  <a:lnTo>
                    <a:pt x="19079" y="10152"/>
                  </a:lnTo>
                  <a:lnTo>
                    <a:pt x="19097" y="10746"/>
                  </a:lnTo>
                  <a:lnTo>
                    <a:pt x="6254" y="10746"/>
                  </a:lnTo>
                  <a:lnTo>
                    <a:pt x="6329" y="10097"/>
                  </a:lnTo>
                  <a:lnTo>
                    <a:pt x="6663" y="8890"/>
                  </a:lnTo>
                  <a:lnTo>
                    <a:pt x="7201" y="7795"/>
                  </a:lnTo>
                  <a:lnTo>
                    <a:pt x="7962" y="6830"/>
                  </a:lnTo>
                  <a:lnTo>
                    <a:pt x="8426" y="6403"/>
                  </a:lnTo>
                  <a:lnTo>
                    <a:pt x="8927" y="5995"/>
                  </a:lnTo>
                  <a:lnTo>
                    <a:pt x="10003" y="5346"/>
                  </a:lnTo>
                  <a:lnTo>
                    <a:pt x="11210" y="4937"/>
                  </a:lnTo>
                  <a:lnTo>
                    <a:pt x="12509" y="4715"/>
                  </a:lnTo>
                  <a:lnTo>
                    <a:pt x="13195" y="4696"/>
                  </a:lnTo>
                  <a:close/>
                  <a:moveTo>
                    <a:pt x="13251" y="1"/>
                  </a:moveTo>
                  <a:lnTo>
                    <a:pt x="12546" y="19"/>
                  </a:lnTo>
                  <a:lnTo>
                    <a:pt x="11191" y="131"/>
                  </a:lnTo>
                  <a:lnTo>
                    <a:pt x="9873" y="372"/>
                  </a:lnTo>
                  <a:lnTo>
                    <a:pt x="8611" y="743"/>
                  </a:lnTo>
                  <a:lnTo>
                    <a:pt x="8018" y="966"/>
                  </a:lnTo>
                  <a:lnTo>
                    <a:pt x="7405" y="1226"/>
                  </a:lnTo>
                  <a:lnTo>
                    <a:pt x="6273" y="1801"/>
                  </a:lnTo>
                  <a:lnTo>
                    <a:pt x="5234" y="2469"/>
                  </a:lnTo>
                  <a:lnTo>
                    <a:pt x="4269" y="3248"/>
                  </a:lnTo>
                  <a:lnTo>
                    <a:pt x="3805" y="3675"/>
                  </a:lnTo>
                  <a:lnTo>
                    <a:pt x="3378" y="4121"/>
                  </a:lnTo>
                  <a:lnTo>
                    <a:pt x="2580" y="5086"/>
                  </a:lnTo>
                  <a:lnTo>
                    <a:pt x="1875" y="6144"/>
                  </a:lnTo>
                  <a:lnTo>
                    <a:pt x="1281" y="7294"/>
                  </a:lnTo>
                  <a:lnTo>
                    <a:pt x="1021" y="7907"/>
                  </a:lnTo>
                  <a:lnTo>
                    <a:pt x="780" y="8538"/>
                  </a:lnTo>
                  <a:lnTo>
                    <a:pt x="390" y="9837"/>
                  </a:lnTo>
                  <a:lnTo>
                    <a:pt x="130" y="11210"/>
                  </a:lnTo>
                  <a:lnTo>
                    <a:pt x="19" y="12658"/>
                  </a:lnTo>
                  <a:lnTo>
                    <a:pt x="0" y="13400"/>
                  </a:lnTo>
                  <a:lnTo>
                    <a:pt x="19" y="14161"/>
                  </a:lnTo>
                  <a:lnTo>
                    <a:pt x="130" y="15609"/>
                  </a:lnTo>
                  <a:lnTo>
                    <a:pt x="390" y="17000"/>
                  </a:lnTo>
                  <a:lnTo>
                    <a:pt x="780" y="18300"/>
                  </a:lnTo>
                  <a:lnTo>
                    <a:pt x="1021" y="18912"/>
                  </a:lnTo>
                  <a:lnTo>
                    <a:pt x="1281" y="19506"/>
                  </a:lnTo>
                  <a:lnTo>
                    <a:pt x="1893" y="20619"/>
                  </a:lnTo>
                  <a:lnTo>
                    <a:pt x="2598" y="21659"/>
                  </a:lnTo>
                  <a:lnTo>
                    <a:pt x="3396" y="22587"/>
                  </a:lnTo>
                  <a:lnTo>
                    <a:pt x="3842" y="23013"/>
                  </a:lnTo>
                  <a:lnTo>
                    <a:pt x="4287" y="23422"/>
                  </a:lnTo>
                  <a:lnTo>
                    <a:pt x="5271" y="24146"/>
                  </a:lnTo>
                  <a:lnTo>
                    <a:pt x="6329" y="24795"/>
                  </a:lnTo>
                  <a:lnTo>
                    <a:pt x="7479" y="25352"/>
                  </a:lnTo>
                  <a:lnTo>
                    <a:pt x="8092" y="25593"/>
                  </a:lnTo>
                  <a:lnTo>
                    <a:pt x="8704" y="25797"/>
                  </a:lnTo>
                  <a:lnTo>
                    <a:pt x="9985" y="26150"/>
                  </a:lnTo>
                  <a:lnTo>
                    <a:pt x="11340" y="26373"/>
                  </a:lnTo>
                  <a:lnTo>
                    <a:pt x="12731" y="26484"/>
                  </a:lnTo>
                  <a:lnTo>
                    <a:pt x="13455" y="26503"/>
                  </a:lnTo>
                  <a:lnTo>
                    <a:pt x="14216" y="26484"/>
                  </a:lnTo>
                  <a:lnTo>
                    <a:pt x="15682" y="26373"/>
                  </a:lnTo>
                  <a:lnTo>
                    <a:pt x="17074" y="26131"/>
                  </a:lnTo>
                  <a:lnTo>
                    <a:pt x="18373" y="25760"/>
                  </a:lnTo>
                  <a:lnTo>
                    <a:pt x="19598" y="25296"/>
                  </a:lnTo>
                  <a:lnTo>
                    <a:pt x="20730" y="24684"/>
                  </a:lnTo>
                  <a:lnTo>
                    <a:pt x="21788" y="23960"/>
                  </a:lnTo>
                  <a:lnTo>
                    <a:pt x="22772" y="23125"/>
                  </a:lnTo>
                  <a:lnTo>
                    <a:pt x="23236" y="22661"/>
                  </a:lnTo>
                  <a:lnTo>
                    <a:pt x="23421" y="22420"/>
                  </a:lnTo>
                  <a:lnTo>
                    <a:pt x="23607" y="21863"/>
                  </a:lnTo>
                  <a:lnTo>
                    <a:pt x="23551" y="21288"/>
                  </a:lnTo>
                  <a:lnTo>
                    <a:pt x="23273" y="20768"/>
                  </a:lnTo>
                  <a:lnTo>
                    <a:pt x="23050" y="20564"/>
                  </a:lnTo>
                  <a:lnTo>
                    <a:pt x="21139" y="19042"/>
                  </a:lnTo>
                  <a:lnTo>
                    <a:pt x="20916" y="18875"/>
                  </a:lnTo>
                  <a:lnTo>
                    <a:pt x="20415" y="18726"/>
                  </a:lnTo>
                  <a:lnTo>
                    <a:pt x="19914" y="18745"/>
                  </a:lnTo>
                  <a:lnTo>
                    <a:pt x="19431" y="18949"/>
                  </a:lnTo>
                  <a:lnTo>
                    <a:pt x="19227" y="19135"/>
                  </a:lnTo>
                  <a:lnTo>
                    <a:pt x="18819" y="19543"/>
                  </a:lnTo>
                  <a:lnTo>
                    <a:pt x="17891" y="20230"/>
                  </a:lnTo>
                  <a:lnTo>
                    <a:pt x="17371" y="20527"/>
                  </a:lnTo>
                  <a:lnTo>
                    <a:pt x="16963" y="20731"/>
                  </a:lnTo>
                  <a:lnTo>
                    <a:pt x="16053" y="21046"/>
                  </a:lnTo>
                  <a:lnTo>
                    <a:pt x="15070" y="21269"/>
                  </a:lnTo>
                  <a:lnTo>
                    <a:pt x="13993" y="21380"/>
                  </a:lnTo>
                  <a:lnTo>
                    <a:pt x="13400" y="21380"/>
                  </a:lnTo>
                  <a:lnTo>
                    <a:pt x="12731" y="21362"/>
                  </a:lnTo>
                  <a:lnTo>
                    <a:pt x="11432" y="21120"/>
                  </a:lnTo>
                  <a:lnTo>
                    <a:pt x="10801" y="20916"/>
                  </a:lnTo>
                  <a:lnTo>
                    <a:pt x="10189" y="20657"/>
                  </a:lnTo>
                  <a:lnTo>
                    <a:pt x="9057" y="20026"/>
                  </a:lnTo>
                  <a:lnTo>
                    <a:pt x="8556" y="19636"/>
                  </a:lnTo>
                  <a:lnTo>
                    <a:pt x="8073" y="19209"/>
                  </a:lnTo>
                  <a:lnTo>
                    <a:pt x="7275" y="18244"/>
                  </a:lnTo>
                  <a:lnTo>
                    <a:pt x="6960" y="17706"/>
                  </a:lnTo>
                  <a:lnTo>
                    <a:pt x="6681" y="17130"/>
                  </a:lnTo>
                  <a:lnTo>
                    <a:pt x="6329" y="15905"/>
                  </a:lnTo>
                  <a:lnTo>
                    <a:pt x="6254" y="15237"/>
                  </a:lnTo>
                  <a:lnTo>
                    <a:pt x="23904" y="15237"/>
                  </a:lnTo>
                  <a:lnTo>
                    <a:pt x="24201" y="15200"/>
                  </a:lnTo>
                  <a:lnTo>
                    <a:pt x="24702" y="14996"/>
                  </a:lnTo>
                  <a:lnTo>
                    <a:pt x="25110" y="14606"/>
                  </a:lnTo>
                  <a:lnTo>
                    <a:pt x="25333" y="14087"/>
                  </a:lnTo>
                  <a:lnTo>
                    <a:pt x="25351" y="13790"/>
                  </a:lnTo>
                  <a:lnTo>
                    <a:pt x="25351" y="13567"/>
                  </a:lnTo>
                  <a:lnTo>
                    <a:pt x="25333" y="12713"/>
                  </a:lnTo>
                  <a:lnTo>
                    <a:pt x="25222" y="11136"/>
                  </a:lnTo>
                  <a:lnTo>
                    <a:pt x="24999" y="9651"/>
                  </a:lnTo>
                  <a:lnTo>
                    <a:pt x="24665" y="8278"/>
                  </a:lnTo>
                  <a:lnTo>
                    <a:pt x="24442" y="7647"/>
                  </a:lnTo>
                  <a:lnTo>
                    <a:pt x="24201" y="7016"/>
                  </a:lnTo>
                  <a:lnTo>
                    <a:pt x="23663" y="5847"/>
                  </a:lnTo>
                  <a:lnTo>
                    <a:pt x="23032" y="4807"/>
                  </a:lnTo>
                  <a:lnTo>
                    <a:pt x="22308" y="3842"/>
                  </a:lnTo>
                  <a:lnTo>
                    <a:pt x="21900" y="3415"/>
                  </a:lnTo>
                  <a:lnTo>
                    <a:pt x="21918" y="3415"/>
                  </a:lnTo>
                  <a:lnTo>
                    <a:pt x="21491" y="3007"/>
                  </a:lnTo>
                  <a:lnTo>
                    <a:pt x="20619" y="2265"/>
                  </a:lnTo>
                  <a:lnTo>
                    <a:pt x="19654" y="1615"/>
                  </a:lnTo>
                  <a:lnTo>
                    <a:pt x="18633" y="1096"/>
                  </a:lnTo>
                  <a:lnTo>
                    <a:pt x="18076" y="873"/>
                  </a:lnTo>
                  <a:lnTo>
                    <a:pt x="17520" y="650"/>
                  </a:lnTo>
                  <a:lnTo>
                    <a:pt x="16369" y="335"/>
                  </a:lnTo>
                  <a:lnTo>
                    <a:pt x="15163" y="112"/>
                  </a:lnTo>
                  <a:lnTo>
                    <a:pt x="13901" y="19"/>
                  </a:lnTo>
                  <a:lnTo>
                    <a:pt x="13251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" name="Google Shape;152;p7"/>
            <p:cNvSpPr/>
            <p:nvPr/>
          </p:nvSpPr>
          <p:spPr>
            <a:xfrm>
              <a:off x="237650" y="2349675"/>
              <a:ext cx="1219800" cy="1015625"/>
            </a:xfrm>
            <a:custGeom>
              <a:avLst/>
              <a:gdLst/>
              <a:ahLst/>
              <a:cxnLst/>
              <a:rect l="l" t="t" r="r" b="b"/>
              <a:pathLst>
                <a:path w="48792" h="40625" extrusionOk="0">
                  <a:moveTo>
                    <a:pt x="11915" y="0"/>
                  </a:moveTo>
                  <a:lnTo>
                    <a:pt x="10746" y="93"/>
                  </a:lnTo>
                  <a:lnTo>
                    <a:pt x="9614" y="297"/>
                  </a:lnTo>
                  <a:lnTo>
                    <a:pt x="8500" y="612"/>
                  </a:lnTo>
                  <a:lnTo>
                    <a:pt x="7443" y="1039"/>
                  </a:lnTo>
                  <a:lnTo>
                    <a:pt x="6422" y="1559"/>
                  </a:lnTo>
                  <a:lnTo>
                    <a:pt x="5457" y="2171"/>
                  </a:lnTo>
                  <a:lnTo>
                    <a:pt x="4547" y="2858"/>
                  </a:lnTo>
                  <a:lnTo>
                    <a:pt x="3712" y="3638"/>
                  </a:lnTo>
                  <a:lnTo>
                    <a:pt x="2933" y="4491"/>
                  </a:lnTo>
                  <a:lnTo>
                    <a:pt x="2246" y="5419"/>
                  </a:lnTo>
                  <a:lnTo>
                    <a:pt x="1634" y="6403"/>
                  </a:lnTo>
                  <a:lnTo>
                    <a:pt x="1114" y="7442"/>
                  </a:lnTo>
                  <a:lnTo>
                    <a:pt x="687" y="8556"/>
                  </a:lnTo>
                  <a:lnTo>
                    <a:pt x="372" y="9688"/>
                  </a:lnTo>
                  <a:lnTo>
                    <a:pt x="149" y="10875"/>
                  </a:lnTo>
                  <a:lnTo>
                    <a:pt x="75" y="11488"/>
                  </a:lnTo>
                  <a:lnTo>
                    <a:pt x="0" y="12583"/>
                  </a:lnTo>
                  <a:lnTo>
                    <a:pt x="130" y="14736"/>
                  </a:lnTo>
                  <a:lnTo>
                    <a:pt x="539" y="16870"/>
                  </a:lnTo>
                  <a:lnTo>
                    <a:pt x="1225" y="18967"/>
                  </a:lnTo>
                  <a:lnTo>
                    <a:pt x="2116" y="21008"/>
                  </a:lnTo>
                  <a:lnTo>
                    <a:pt x="3230" y="23013"/>
                  </a:lnTo>
                  <a:lnTo>
                    <a:pt x="4510" y="24961"/>
                  </a:lnTo>
                  <a:lnTo>
                    <a:pt x="5921" y="26836"/>
                  </a:lnTo>
                  <a:lnTo>
                    <a:pt x="7461" y="28636"/>
                  </a:lnTo>
                  <a:lnTo>
                    <a:pt x="9076" y="30362"/>
                  </a:lnTo>
                  <a:lnTo>
                    <a:pt x="11600" y="32793"/>
                  </a:lnTo>
                  <a:lnTo>
                    <a:pt x="14996" y="35688"/>
                  </a:lnTo>
                  <a:lnTo>
                    <a:pt x="18188" y="38120"/>
                  </a:lnTo>
                  <a:lnTo>
                    <a:pt x="19617" y="39140"/>
                  </a:lnTo>
                  <a:lnTo>
                    <a:pt x="20155" y="39493"/>
                  </a:lnTo>
                  <a:lnTo>
                    <a:pt x="21325" y="40050"/>
                  </a:lnTo>
                  <a:lnTo>
                    <a:pt x="22531" y="40439"/>
                  </a:lnTo>
                  <a:lnTo>
                    <a:pt x="23774" y="40625"/>
                  </a:lnTo>
                  <a:lnTo>
                    <a:pt x="25036" y="40625"/>
                  </a:lnTo>
                  <a:lnTo>
                    <a:pt x="26280" y="40439"/>
                  </a:lnTo>
                  <a:lnTo>
                    <a:pt x="27486" y="40050"/>
                  </a:lnTo>
                  <a:lnTo>
                    <a:pt x="28637" y="39493"/>
                  </a:lnTo>
                  <a:lnTo>
                    <a:pt x="29193" y="39140"/>
                  </a:lnTo>
                  <a:lnTo>
                    <a:pt x="30567" y="38157"/>
                  </a:lnTo>
                  <a:lnTo>
                    <a:pt x="33648" y="35818"/>
                  </a:lnTo>
                  <a:lnTo>
                    <a:pt x="36914" y="33053"/>
                  </a:lnTo>
                  <a:lnTo>
                    <a:pt x="39364" y="30733"/>
                  </a:lnTo>
                  <a:lnTo>
                    <a:pt x="40941" y="29081"/>
                  </a:lnTo>
                  <a:lnTo>
                    <a:pt x="42444" y="27356"/>
                  </a:lnTo>
                  <a:lnTo>
                    <a:pt x="43855" y="25555"/>
                  </a:lnTo>
                  <a:lnTo>
                    <a:pt x="45135" y="23699"/>
                  </a:lnTo>
                  <a:lnTo>
                    <a:pt x="46268" y="21788"/>
                  </a:lnTo>
                  <a:lnTo>
                    <a:pt x="47233" y="19839"/>
                  </a:lnTo>
                  <a:lnTo>
                    <a:pt x="47994" y="17835"/>
                  </a:lnTo>
                  <a:lnTo>
                    <a:pt x="48513" y="15793"/>
                  </a:lnTo>
                  <a:lnTo>
                    <a:pt x="48773" y="13715"/>
                  </a:lnTo>
                  <a:lnTo>
                    <a:pt x="48792" y="12676"/>
                  </a:lnTo>
                  <a:lnTo>
                    <a:pt x="48773" y="12082"/>
                  </a:lnTo>
                  <a:lnTo>
                    <a:pt x="48736" y="11488"/>
                  </a:lnTo>
                  <a:lnTo>
                    <a:pt x="48662" y="10820"/>
                  </a:lnTo>
                  <a:lnTo>
                    <a:pt x="48272" y="9224"/>
                  </a:lnTo>
                  <a:lnTo>
                    <a:pt x="47845" y="8017"/>
                  </a:lnTo>
                  <a:lnTo>
                    <a:pt x="47270" y="6830"/>
                  </a:lnTo>
                  <a:lnTo>
                    <a:pt x="46509" y="5753"/>
                  </a:lnTo>
                  <a:lnTo>
                    <a:pt x="45785" y="5104"/>
                  </a:lnTo>
                  <a:lnTo>
                    <a:pt x="45247" y="4788"/>
                  </a:lnTo>
                  <a:lnTo>
                    <a:pt x="44653" y="4547"/>
                  </a:lnTo>
                  <a:lnTo>
                    <a:pt x="44003" y="4417"/>
                  </a:lnTo>
                  <a:lnTo>
                    <a:pt x="43242" y="4417"/>
                  </a:lnTo>
                  <a:lnTo>
                    <a:pt x="42444" y="4565"/>
                  </a:lnTo>
                  <a:lnTo>
                    <a:pt x="41684" y="4881"/>
                  </a:lnTo>
                  <a:lnTo>
                    <a:pt x="40997" y="5345"/>
                  </a:lnTo>
                  <a:lnTo>
                    <a:pt x="40681" y="5642"/>
                  </a:lnTo>
                  <a:lnTo>
                    <a:pt x="27616" y="18707"/>
                  </a:lnTo>
                  <a:lnTo>
                    <a:pt x="27393" y="18930"/>
                  </a:lnTo>
                  <a:lnTo>
                    <a:pt x="27059" y="19450"/>
                  </a:lnTo>
                  <a:lnTo>
                    <a:pt x="26836" y="20006"/>
                  </a:lnTo>
                  <a:lnTo>
                    <a:pt x="26725" y="20582"/>
                  </a:lnTo>
                  <a:lnTo>
                    <a:pt x="26725" y="21175"/>
                  </a:lnTo>
                  <a:lnTo>
                    <a:pt x="26836" y="21751"/>
                  </a:lnTo>
                  <a:lnTo>
                    <a:pt x="27059" y="22308"/>
                  </a:lnTo>
                  <a:lnTo>
                    <a:pt x="27393" y="22809"/>
                  </a:lnTo>
                  <a:lnTo>
                    <a:pt x="27616" y="23050"/>
                  </a:lnTo>
                  <a:lnTo>
                    <a:pt x="27839" y="23254"/>
                  </a:lnTo>
                  <a:lnTo>
                    <a:pt x="28358" y="23607"/>
                  </a:lnTo>
                  <a:lnTo>
                    <a:pt x="28915" y="23829"/>
                  </a:lnTo>
                  <a:lnTo>
                    <a:pt x="29490" y="23941"/>
                  </a:lnTo>
                  <a:lnTo>
                    <a:pt x="30084" y="23941"/>
                  </a:lnTo>
                  <a:lnTo>
                    <a:pt x="30660" y="23829"/>
                  </a:lnTo>
                  <a:lnTo>
                    <a:pt x="31216" y="23607"/>
                  </a:lnTo>
                  <a:lnTo>
                    <a:pt x="31717" y="23254"/>
                  </a:lnTo>
                  <a:lnTo>
                    <a:pt x="31959" y="23050"/>
                  </a:lnTo>
                  <a:lnTo>
                    <a:pt x="43075" y="11933"/>
                  </a:lnTo>
                  <a:lnTo>
                    <a:pt x="43168" y="11840"/>
                  </a:lnTo>
                  <a:lnTo>
                    <a:pt x="43410" y="11748"/>
                  </a:lnTo>
                  <a:lnTo>
                    <a:pt x="43651" y="11748"/>
                  </a:lnTo>
                  <a:lnTo>
                    <a:pt x="43873" y="11840"/>
                  </a:lnTo>
                  <a:lnTo>
                    <a:pt x="43966" y="11933"/>
                  </a:lnTo>
                  <a:lnTo>
                    <a:pt x="44727" y="12694"/>
                  </a:lnTo>
                  <a:lnTo>
                    <a:pt x="44820" y="12787"/>
                  </a:lnTo>
                  <a:lnTo>
                    <a:pt x="44913" y="13010"/>
                  </a:lnTo>
                  <a:lnTo>
                    <a:pt x="44913" y="13269"/>
                  </a:lnTo>
                  <a:lnTo>
                    <a:pt x="44820" y="13492"/>
                  </a:lnTo>
                  <a:lnTo>
                    <a:pt x="44727" y="13585"/>
                  </a:lnTo>
                  <a:lnTo>
                    <a:pt x="33703" y="24627"/>
                  </a:lnTo>
                  <a:lnTo>
                    <a:pt x="33314" y="24999"/>
                  </a:lnTo>
                  <a:lnTo>
                    <a:pt x="32441" y="25592"/>
                  </a:lnTo>
                  <a:lnTo>
                    <a:pt x="31476" y="26019"/>
                  </a:lnTo>
                  <a:lnTo>
                    <a:pt x="30455" y="26261"/>
                  </a:lnTo>
                  <a:lnTo>
                    <a:pt x="29936" y="26298"/>
                  </a:lnTo>
                  <a:lnTo>
                    <a:pt x="29360" y="26298"/>
                  </a:lnTo>
                  <a:lnTo>
                    <a:pt x="28247" y="26094"/>
                  </a:lnTo>
                  <a:lnTo>
                    <a:pt x="27208" y="25667"/>
                  </a:lnTo>
                  <a:lnTo>
                    <a:pt x="26280" y="25017"/>
                  </a:lnTo>
                  <a:lnTo>
                    <a:pt x="25871" y="24627"/>
                  </a:lnTo>
                  <a:lnTo>
                    <a:pt x="25500" y="24201"/>
                  </a:lnTo>
                  <a:lnTo>
                    <a:pt x="24925" y="23291"/>
                  </a:lnTo>
                  <a:lnTo>
                    <a:pt x="24572" y="22326"/>
                  </a:lnTo>
                  <a:lnTo>
                    <a:pt x="24405" y="21287"/>
                  </a:lnTo>
                  <a:lnTo>
                    <a:pt x="24424" y="20248"/>
                  </a:lnTo>
                  <a:lnTo>
                    <a:pt x="24647" y="19227"/>
                  </a:lnTo>
                  <a:lnTo>
                    <a:pt x="25055" y="18262"/>
                  </a:lnTo>
                  <a:lnTo>
                    <a:pt x="25649" y="17352"/>
                  </a:lnTo>
                  <a:lnTo>
                    <a:pt x="26038" y="16963"/>
                  </a:lnTo>
                  <a:lnTo>
                    <a:pt x="33351" y="9651"/>
                  </a:lnTo>
                  <a:lnTo>
                    <a:pt x="39011" y="3972"/>
                  </a:lnTo>
                  <a:lnTo>
                    <a:pt x="39456" y="3563"/>
                  </a:lnTo>
                  <a:lnTo>
                    <a:pt x="40422" y="2895"/>
                  </a:lnTo>
                  <a:lnTo>
                    <a:pt x="41479" y="2413"/>
                  </a:lnTo>
                  <a:lnTo>
                    <a:pt x="42611" y="2134"/>
                  </a:lnTo>
                  <a:lnTo>
                    <a:pt x="43205" y="2079"/>
                  </a:lnTo>
                  <a:lnTo>
                    <a:pt x="42444" y="1577"/>
                  </a:lnTo>
                  <a:lnTo>
                    <a:pt x="40811" y="798"/>
                  </a:lnTo>
                  <a:lnTo>
                    <a:pt x="39067" y="260"/>
                  </a:lnTo>
                  <a:lnTo>
                    <a:pt x="37229" y="0"/>
                  </a:lnTo>
                  <a:lnTo>
                    <a:pt x="36283" y="0"/>
                  </a:lnTo>
                  <a:lnTo>
                    <a:pt x="35299" y="56"/>
                  </a:lnTo>
                  <a:lnTo>
                    <a:pt x="33425" y="371"/>
                  </a:lnTo>
                  <a:lnTo>
                    <a:pt x="31643" y="965"/>
                  </a:lnTo>
                  <a:lnTo>
                    <a:pt x="29991" y="1819"/>
                  </a:lnTo>
                  <a:lnTo>
                    <a:pt x="28507" y="2877"/>
                  </a:lnTo>
                  <a:lnTo>
                    <a:pt x="27171" y="4157"/>
                  </a:lnTo>
                  <a:lnTo>
                    <a:pt x="26057" y="5623"/>
                  </a:lnTo>
                  <a:lnTo>
                    <a:pt x="25129" y="7256"/>
                  </a:lnTo>
                  <a:lnTo>
                    <a:pt x="24776" y="8147"/>
                  </a:lnTo>
                  <a:lnTo>
                    <a:pt x="24721" y="8259"/>
                  </a:lnTo>
                  <a:lnTo>
                    <a:pt x="24517" y="8389"/>
                  </a:lnTo>
                  <a:lnTo>
                    <a:pt x="24294" y="8389"/>
                  </a:lnTo>
                  <a:lnTo>
                    <a:pt x="24090" y="8259"/>
                  </a:lnTo>
                  <a:lnTo>
                    <a:pt x="24034" y="8147"/>
                  </a:lnTo>
                  <a:lnTo>
                    <a:pt x="23663" y="7256"/>
                  </a:lnTo>
                  <a:lnTo>
                    <a:pt x="22754" y="5623"/>
                  </a:lnTo>
                  <a:lnTo>
                    <a:pt x="21640" y="4157"/>
                  </a:lnTo>
                  <a:lnTo>
                    <a:pt x="20304" y="2877"/>
                  </a:lnTo>
                  <a:lnTo>
                    <a:pt x="18819" y="1819"/>
                  </a:lnTo>
                  <a:lnTo>
                    <a:pt x="17167" y="965"/>
                  </a:lnTo>
                  <a:lnTo>
                    <a:pt x="15386" y="371"/>
                  </a:lnTo>
                  <a:lnTo>
                    <a:pt x="13493" y="56"/>
                  </a:lnTo>
                  <a:lnTo>
                    <a:pt x="12528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8993221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2B Section Break/Big Idea  - Add Image">
  <p:cSld name="B2B Section Break/Big Idea  - Add Image">
    <p:bg>
      <p:bgPr>
        <a:solidFill>
          <a:schemeClr val="lt2"/>
        </a:solidFill>
        <a:effectLst/>
      </p:bgPr>
    </p:bg>
    <p:spTree>
      <p:nvGrpSpPr>
        <p:cNvPr id="1" name="Shape 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4" name="Google Shape;154;p8"/>
          <p:cNvGrpSpPr/>
          <p:nvPr/>
        </p:nvGrpSpPr>
        <p:grpSpPr>
          <a:xfrm>
            <a:off x="415598" y="6427310"/>
            <a:ext cx="1329629" cy="189008"/>
            <a:chOff x="237650" y="2349675"/>
            <a:chExt cx="7144700" cy="1015625"/>
          </a:xfrm>
        </p:grpSpPr>
        <p:sp>
          <p:nvSpPr>
            <p:cNvPr id="155" name="Google Shape;155;p8"/>
            <p:cNvSpPr/>
            <p:nvPr/>
          </p:nvSpPr>
          <p:spPr>
            <a:xfrm>
              <a:off x="3096625" y="2466575"/>
              <a:ext cx="156400" cy="841200"/>
            </a:xfrm>
            <a:custGeom>
              <a:avLst/>
              <a:gdLst/>
              <a:ahLst/>
              <a:cxnLst/>
              <a:rect l="l" t="t" r="r" b="b"/>
              <a:pathLst>
                <a:path w="6256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2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1" y="1448"/>
                  </a:lnTo>
                  <a:lnTo>
                    <a:pt x="1" y="32182"/>
                  </a:lnTo>
                  <a:lnTo>
                    <a:pt x="19" y="32479"/>
                  </a:lnTo>
                  <a:lnTo>
                    <a:pt x="242" y="33017"/>
                  </a:lnTo>
                  <a:lnTo>
                    <a:pt x="632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08" y="33648"/>
                  </a:lnTo>
                  <a:lnTo>
                    <a:pt x="5105" y="33629"/>
                  </a:lnTo>
                  <a:lnTo>
                    <a:pt x="5624" y="33406"/>
                  </a:lnTo>
                  <a:lnTo>
                    <a:pt x="6014" y="33017"/>
                  </a:lnTo>
                  <a:lnTo>
                    <a:pt x="6237" y="32479"/>
                  </a:lnTo>
                  <a:lnTo>
                    <a:pt x="6255" y="32182"/>
                  </a:lnTo>
                  <a:lnTo>
                    <a:pt x="6255" y="1448"/>
                  </a:lnTo>
                  <a:lnTo>
                    <a:pt x="6237" y="1151"/>
                  </a:lnTo>
                  <a:lnTo>
                    <a:pt x="6014" y="632"/>
                  </a:lnTo>
                  <a:lnTo>
                    <a:pt x="5624" y="242"/>
                  </a:lnTo>
                  <a:lnTo>
                    <a:pt x="5105" y="19"/>
                  </a:lnTo>
                  <a:lnTo>
                    <a:pt x="4808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" name="Google Shape;156;p8"/>
            <p:cNvSpPr/>
            <p:nvPr/>
          </p:nvSpPr>
          <p:spPr>
            <a:xfrm>
              <a:off x="1673175" y="2466575"/>
              <a:ext cx="655150" cy="841200"/>
            </a:xfrm>
            <a:custGeom>
              <a:avLst/>
              <a:gdLst/>
              <a:ahLst/>
              <a:cxnLst/>
              <a:rect l="l" t="t" r="r" b="b"/>
              <a:pathLst>
                <a:path w="26206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1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0" y="1448"/>
                  </a:lnTo>
                  <a:lnTo>
                    <a:pt x="0" y="32200"/>
                  </a:lnTo>
                  <a:lnTo>
                    <a:pt x="19" y="32497"/>
                  </a:lnTo>
                  <a:lnTo>
                    <a:pt x="242" y="33017"/>
                  </a:lnTo>
                  <a:lnTo>
                    <a:pt x="631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26" y="33648"/>
                  </a:lnTo>
                  <a:lnTo>
                    <a:pt x="5104" y="33629"/>
                  </a:lnTo>
                  <a:lnTo>
                    <a:pt x="5624" y="33406"/>
                  </a:lnTo>
                  <a:lnTo>
                    <a:pt x="6032" y="33017"/>
                  </a:lnTo>
                  <a:lnTo>
                    <a:pt x="6255" y="32497"/>
                  </a:lnTo>
                  <a:lnTo>
                    <a:pt x="6273" y="32200"/>
                  </a:lnTo>
                  <a:lnTo>
                    <a:pt x="6273" y="18133"/>
                  </a:lnTo>
                  <a:lnTo>
                    <a:pt x="19933" y="18133"/>
                  </a:lnTo>
                  <a:lnTo>
                    <a:pt x="19933" y="32200"/>
                  </a:lnTo>
                  <a:lnTo>
                    <a:pt x="19951" y="32497"/>
                  </a:lnTo>
                  <a:lnTo>
                    <a:pt x="20174" y="33017"/>
                  </a:lnTo>
                  <a:lnTo>
                    <a:pt x="20564" y="33406"/>
                  </a:lnTo>
                  <a:lnTo>
                    <a:pt x="21083" y="33629"/>
                  </a:lnTo>
                  <a:lnTo>
                    <a:pt x="21380" y="33648"/>
                  </a:lnTo>
                  <a:lnTo>
                    <a:pt x="24739" y="33648"/>
                  </a:lnTo>
                  <a:lnTo>
                    <a:pt x="25036" y="33629"/>
                  </a:lnTo>
                  <a:lnTo>
                    <a:pt x="25556" y="33406"/>
                  </a:lnTo>
                  <a:lnTo>
                    <a:pt x="25964" y="33017"/>
                  </a:lnTo>
                  <a:lnTo>
                    <a:pt x="26168" y="32497"/>
                  </a:lnTo>
                  <a:lnTo>
                    <a:pt x="26205" y="32200"/>
                  </a:lnTo>
                  <a:lnTo>
                    <a:pt x="26205" y="1448"/>
                  </a:lnTo>
                  <a:lnTo>
                    <a:pt x="26168" y="1151"/>
                  </a:lnTo>
                  <a:lnTo>
                    <a:pt x="25964" y="632"/>
                  </a:lnTo>
                  <a:lnTo>
                    <a:pt x="25556" y="242"/>
                  </a:lnTo>
                  <a:lnTo>
                    <a:pt x="25036" y="19"/>
                  </a:lnTo>
                  <a:lnTo>
                    <a:pt x="24739" y="1"/>
                  </a:lnTo>
                  <a:lnTo>
                    <a:pt x="21380" y="1"/>
                  </a:lnTo>
                  <a:lnTo>
                    <a:pt x="21083" y="19"/>
                  </a:lnTo>
                  <a:lnTo>
                    <a:pt x="20564" y="242"/>
                  </a:lnTo>
                  <a:lnTo>
                    <a:pt x="20174" y="632"/>
                  </a:lnTo>
                  <a:lnTo>
                    <a:pt x="19951" y="1151"/>
                  </a:lnTo>
                  <a:lnTo>
                    <a:pt x="19933" y="1448"/>
                  </a:lnTo>
                  <a:lnTo>
                    <a:pt x="19933" y="13641"/>
                  </a:lnTo>
                  <a:lnTo>
                    <a:pt x="6273" y="13641"/>
                  </a:lnTo>
                  <a:lnTo>
                    <a:pt x="6273" y="1448"/>
                  </a:lnTo>
                  <a:lnTo>
                    <a:pt x="6255" y="1151"/>
                  </a:lnTo>
                  <a:lnTo>
                    <a:pt x="6032" y="632"/>
                  </a:lnTo>
                  <a:lnTo>
                    <a:pt x="5624" y="242"/>
                  </a:lnTo>
                  <a:lnTo>
                    <a:pt x="5104" y="19"/>
                  </a:lnTo>
                  <a:lnTo>
                    <a:pt x="4826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" name="Google Shape;157;p8"/>
            <p:cNvSpPr/>
            <p:nvPr/>
          </p:nvSpPr>
          <p:spPr>
            <a:xfrm>
              <a:off x="3382900" y="2466575"/>
              <a:ext cx="156375" cy="841200"/>
            </a:xfrm>
            <a:custGeom>
              <a:avLst/>
              <a:gdLst/>
              <a:ahLst/>
              <a:cxnLst/>
              <a:rect l="l" t="t" r="r" b="b"/>
              <a:pathLst>
                <a:path w="6255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2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1" y="1448"/>
                  </a:lnTo>
                  <a:lnTo>
                    <a:pt x="1" y="32182"/>
                  </a:lnTo>
                  <a:lnTo>
                    <a:pt x="19" y="32479"/>
                  </a:lnTo>
                  <a:lnTo>
                    <a:pt x="242" y="33017"/>
                  </a:lnTo>
                  <a:lnTo>
                    <a:pt x="632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07" y="33648"/>
                  </a:lnTo>
                  <a:lnTo>
                    <a:pt x="5104" y="33629"/>
                  </a:lnTo>
                  <a:lnTo>
                    <a:pt x="5624" y="33406"/>
                  </a:lnTo>
                  <a:lnTo>
                    <a:pt x="6014" y="33017"/>
                  </a:lnTo>
                  <a:lnTo>
                    <a:pt x="6236" y="32479"/>
                  </a:lnTo>
                  <a:lnTo>
                    <a:pt x="6255" y="32182"/>
                  </a:lnTo>
                  <a:lnTo>
                    <a:pt x="6255" y="1448"/>
                  </a:lnTo>
                  <a:lnTo>
                    <a:pt x="6236" y="1151"/>
                  </a:lnTo>
                  <a:lnTo>
                    <a:pt x="6014" y="632"/>
                  </a:lnTo>
                  <a:lnTo>
                    <a:pt x="5624" y="242"/>
                  </a:lnTo>
                  <a:lnTo>
                    <a:pt x="5104" y="19"/>
                  </a:lnTo>
                  <a:lnTo>
                    <a:pt x="4807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" name="Google Shape;158;p8"/>
            <p:cNvSpPr/>
            <p:nvPr/>
          </p:nvSpPr>
          <p:spPr>
            <a:xfrm>
              <a:off x="3610700" y="2663300"/>
              <a:ext cx="680675" cy="662575"/>
            </a:xfrm>
            <a:custGeom>
              <a:avLst/>
              <a:gdLst/>
              <a:ahLst/>
              <a:cxnLst/>
              <a:rect l="l" t="t" r="r" b="b"/>
              <a:pathLst>
                <a:path w="27227" h="26503" extrusionOk="0">
                  <a:moveTo>
                    <a:pt x="14087" y="5123"/>
                  </a:moveTo>
                  <a:lnTo>
                    <a:pt x="14959" y="5216"/>
                  </a:lnTo>
                  <a:lnTo>
                    <a:pt x="15757" y="5383"/>
                  </a:lnTo>
                  <a:lnTo>
                    <a:pt x="16500" y="5661"/>
                  </a:lnTo>
                  <a:lnTo>
                    <a:pt x="16852" y="5828"/>
                  </a:lnTo>
                  <a:lnTo>
                    <a:pt x="17521" y="6199"/>
                  </a:lnTo>
                  <a:lnTo>
                    <a:pt x="18634" y="7127"/>
                  </a:lnTo>
                  <a:lnTo>
                    <a:pt x="19098" y="7665"/>
                  </a:lnTo>
                  <a:lnTo>
                    <a:pt x="19525" y="8259"/>
                  </a:lnTo>
                  <a:lnTo>
                    <a:pt x="20193" y="9558"/>
                  </a:lnTo>
                  <a:lnTo>
                    <a:pt x="20434" y="10264"/>
                  </a:lnTo>
                  <a:lnTo>
                    <a:pt x="20638" y="10969"/>
                  </a:lnTo>
                  <a:lnTo>
                    <a:pt x="20861" y="12416"/>
                  </a:lnTo>
                  <a:lnTo>
                    <a:pt x="20880" y="13159"/>
                  </a:lnTo>
                  <a:lnTo>
                    <a:pt x="20861" y="13883"/>
                  </a:lnTo>
                  <a:lnTo>
                    <a:pt x="20638" y="15349"/>
                  </a:lnTo>
                  <a:lnTo>
                    <a:pt x="20434" y="16073"/>
                  </a:lnTo>
                  <a:lnTo>
                    <a:pt x="20193" y="16796"/>
                  </a:lnTo>
                  <a:lnTo>
                    <a:pt x="19525" y="18095"/>
                  </a:lnTo>
                  <a:lnTo>
                    <a:pt x="19098" y="18671"/>
                  </a:lnTo>
                  <a:lnTo>
                    <a:pt x="18634" y="19228"/>
                  </a:lnTo>
                  <a:lnTo>
                    <a:pt x="17521" y="20174"/>
                  </a:lnTo>
                  <a:lnTo>
                    <a:pt x="16852" y="20564"/>
                  </a:lnTo>
                  <a:lnTo>
                    <a:pt x="16500" y="20731"/>
                  </a:lnTo>
                  <a:lnTo>
                    <a:pt x="15757" y="21009"/>
                  </a:lnTo>
                  <a:lnTo>
                    <a:pt x="14959" y="21195"/>
                  </a:lnTo>
                  <a:lnTo>
                    <a:pt x="14087" y="21269"/>
                  </a:lnTo>
                  <a:lnTo>
                    <a:pt x="13623" y="21288"/>
                  </a:lnTo>
                  <a:lnTo>
                    <a:pt x="13159" y="21269"/>
                  </a:lnTo>
                  <a:lnTo>
                    <a:pt x="12287" y="21195"/>
                  </a:lnTo>
                  <a:lnTo>
                    <a:pt x="11470" y="21009"/>
                  </a:lnTo>
                  <a:lnTo>
                    <a:pt x="10728" y="20731"/>
                  </a:lnTo>
                  <a:lnTo>
                    <a:pt x="10394" y="20564"/>
                  </a:lnTo>
                  <a:lnTo>
                    <a:pt x="9726" y="20174"/>
                  </a:lnTo>
                  <a:lnTo>
                    <a:pt x="8612" y="19228"/>
                  </a:lnTo>
                  <a:lnTo>
                    <a:pt x="8148" y="18671"/>
                  </a:lnTo>
                  <a:lnTo>
                    <a:pt x="7721" y="18095"/>
                  </a:lnTo>
                  <a:lnTo>
                    <a:pt x="7053" y="16778"/>
                  </a:lnTo>
                  <a:lnTo>
                    <a:pt x="6812" y="16073"/>
                  </a:lnTo>
                  <a:lnTo>
                    <a:pt x="6608" y="15349"/>
                  </a:lnTo>
                  <a:lnTo>
                    <a:pt x="6385" y="13883"/>
                  </a:lnTo>
                  <a:lnTo>
                    <a:pt x="6367" y="13159"/>
                  </a:lnTo>
                  <a:lnTo>
                    <a:pt x="6385" y="12416"/>
                  </a:lnTo>
                  <a:lnTo>
                    <a:pt x="6608" y="10969"/>
                  </a:lnTo>
                  <a:lnTo>
                    <a:pt x="6812" y="10264"/>
                  </a:lnTo>
                  <a:lnTo>
                    <a:pt x="7053" y="9558"/>
                  </a:lnTo>
                  <a:lnTo>
                    <a:pt x="7721" y="8259"/>
                  </a:lnTo>
                  <a:lnTo>
                    <a:pt x="8148" y="7665"/>
                  </a:lnTo>
                  <a:lnTo>
                    <a:pt x="8612" y="7127"/>
                  </a:lnTo>
                  <a:lnTo>
                    <a:pt x="9726" y="6199"/>
                  </a:lnTo>
                  <a:lnTo>
                    <a:pt x="10394" y="5828"/>
                  </a:lnTo>
                  <a:lnTo>
                    <a:pt x="10728" y="5661"/>
                  </a:lnTo>
                  <a:lnTo>
                    <a:pt x="11470" y="5383"/>
                  </a:lnTo>
                  <a:lnTo>
                    <a:pt x="12287" y="5216"/>
                  </a:lnTo>
                  <a:lnTo>
                    <a:pt x="13159" y="5123"/>
                  </a:lnTo>
                  <a:close/>
                  <a:moveTo>
                    <a:pt x="13623" y="1"/>
                  </a:moveTo>
                  <a:lnTo>
                    <a:pt x="12918" y="19"/>
                  </a:lnTo>
                  <a:lnTo>
                    <a:pt x="11545" y="131"/>
                  </a:lnTo>
                  <a:lnTo>
                    <a:pt x="10227" y="372"/>
                  </a:lnTo>
                  <a:lnTo>
                    <a:pt x="8928" y="724"/>
                  </a:lnTo>
                  <a:lnTo>
                    <a:pt x="8297" y="947"/>
                  </a:lnTo>
                  <a:lnTo>
                    <a:pt x="7684" y="1188"/>
                  </a:lnTo>
                  <a:lnTo>
                    <a:pt x="6515" y="1745"/>
                  </a:lnTo>
                  <a:lnTo>
                    <a:pt x="5439" y="2413"/>
                  </a:lnTo>
                  <a:lnTo>
                    <a:pt x="4437" y="3174"/>
                  </a:lnTo>
                  <a:lnTo>
                    <a:pt x="3973" y="3601"/>
                  </a:lnTo>
                  <a:lnTo>
                    <a:pt x="3527" y="4046"/>
                  </a:lnTo>
                  <a:lnTo>
                    <a:pt x="2692" y="4993"/>
                  </a:lnTo>
                  <a:lnTo>
                    <a:pt x="1968" y="6032"/>
                  </a:lnTo>
                  <a:lnTo>
                    <a:pt x="1356" y="7146"/>
                  </a:lnTo>
                  <a:lnTo>
                    <a:pt x="1077" y="7758"/>
                  </a:lnTo>
                  <a:lnTo>
                    <a:pt x="818" y="8371"/>
                  </a:lnTo>
                  <a:lnTo>
                    <a:pt x="409" y="9651"/>
                  </a:lnTo>
                  <a:lnTo>
                    <a:pt x="149" y="10987"/>
                  </a:lnTo>
                  <a:lnTo>
                    <a:pt x="20" y="12416"/>
                  </a:lnTo>
                  <a:lnTo>
                    <a:pt x="1" y="13159"/>
                  </a:lnTo>
                  <a:lnTo>
                    <a:pt x="20" y="13883"/>
                  </a:lnTo>
                  <a:lnTo>
                    <a:pt x="149" y="15312"/>
                  </a:lnTo>
                  <a:lnTo>
                    <a:pt x="409" y="16666"/>
                  </a:lnTo>
                  <a:lnTo>
                    <a:pt x="818" y="17947"/>
                  </a:lnTo>
                  <a:lnTo>
                    <a:pt x="1077" y="18578"/>
                  </a:lnTo>
                  <a:lnTo>
                    <a:pt x="1356" y="19172"/>
                  </a:lnTo>
                  <a:lnTo>
                    <a:pt x="1968" y="20322"/>
                  </a:lnTo>
                  <a:lnTo>
                    <a:pt x="2692" y="21362"/>
                  </a:lnTo>
                  <a:lnTo>
                    <a:pt x="3527" y="22327"/>
                  </a:lnTo>
                  <a:lnTo>
                    <a:pt x="3973" y="22772"/>
                  </a:lnTo>
                  <a:lnTo>
                    <a:pt x="4437" y="23199"/>
                  </a:lnTo>
                  <a:lnTo>
                    <a:pt x="5439" y="23979"/>
                  </a:lnTo>
                  <a:lnTo>
                    <a:pt x="6515" y="24665"/>
                  </a:lnTo>
                  <a:lnTo>
                    <a:pt x="7684" y="25259"/>
                  </a:lnTo>
                  <a:lnTo>
                    <a:pt x="8297" y="25519"/>
                  </a:lnTo>
                  <a:lnTo>
                    <a:pt x="8928" y="25742"/>
                  </a:lnTo>
                  <a:lnTo>
                    <a:pt x="10227" y="26113"/>
                  </a:lnTo>
                  <a:lnTo>
                    <a:pt x="11545" y="26373"/>
                  </a:lnTo>
                  <a:lnTo>
                    <a:pt x="12918" y="26484"/>
                  </a:lnTo>
                  <a:lnTo>
                    <a:pt x="13623" y="26503"/>
                  </a:lnTo>
                  <a:lnTo>
                    <a:pt x="14328" y="26484"/>
                  </a:lnTo>
                  <a:lnTo>
                    <a:pt x="15683" y="26373"/>
                  </a:lnTo>
                  <a:lnTo>
                    <a:pt x="17019" y="26113"/>
                  </a:lnTo>
                  <a:lnTo>
                    <a:pt x="18300" y="25742"/>
                  </a:lnTo>
                  <a:lnTo>
                    <a:pt x="18931" y="25519"/>
                  </a:lnTo>
                  <a:lnTo>
                    <a:pt x="19562" y="25259"/>
                  </a:lnTo>
                  <a:lnTo>
                    <a:pt x="20731" y="24665"/>
                  </a:lnTo>
                  <a:lnTo>
                    <a:pt x="21808" y="23979"/>
                  </a:lnTo>
                  <a:lnTo>
                    <a:pt x="22810" y="23199"/>
                  </a:lnTo>
                  <a:lnTo>
                    <a:pt x="23274" y="22772"/>
                  </a:lnTo>
                  <a:lnTo>
                    <a:pt x="23719" y="22327"/>
                  </a:lnTo>
                  <a:lnTo>
                    <a:pt x="24536" y="21362"/>
                  </a:lnTo>
                  <a:lnTo>
                    <a:pt x="25260" y="20322"/>
                  </a:lnTo>
                  <a:lnTo>
                    <a:pt x="25891" y="19172"/>
                  </a:lnTo>
                  <a:lnTo>
                    <a:pt x="26169" y="18578"/>
                  </a:lnTo>
                  <a:lnTo>
                    <a:pt x="26429" y="17947"/>
                  </a:lnTo>
                  <a:lnTo>
                    <a:pt x="26818" y="16666"/>
                  </a:lnTo>
                  <a:lnTo>
                    <a:pt x="27097" y="15312"/>
                  </a:lnTo>
                  <a:lnTo>
                    <a:pt x="27227" y="13883"/>
                  </a:lnTo>
                  <a:lnTo>
                    <a:pt x="27227" y="13159"/>
                  </a:lnTo>
                  <a:lnTo>
                    <a:pt x="27227" y="12416"/>
                  </a:lnTo>
                  <a:lnTo>
                    <a:pt x="27097" y="10987"/>
                  </a:lnTo>
                  <a:lnTo>
                    <a:pt x="26818" y="9651"/>
                  </a:lnTo>
                  <a:lnTo>
                    <a:pt x="26429" y="8371"/>
                  </a:lnTo>
                  <a:lnTo>
                    <a:pt x="26169" y="7758"/>
                  </a:lnTo>
                  <a:lnTo>
                    <a:pt x="25891" y="7146"/>
                  </a:lnTo>
                  <a:lnTo>
                    <a:pt x="25260" y="6032"/>
                  </a:lnTo>
                  <a:lnTo>
                    <a:pt x="24536" y="4993"/>
                  </a:lnTo>
                  <a:lnTo>
                    <a:pt x="23719" y="4046"/>
                  </a:lnTo>
                  <a:lnTo>
                    <a:pt x="23274" y="3601"/>
                  </a:lnTo>
                  <a:lnTo>
                    <a:pt x="22810" y="3174"/>
                  </a:lnTo>
                  <a:lnTo>
                    <a:pt x="21808" y="2413"/>
                  </a:lnTo>
                  <a:lnTo>
                    <a:pt x="20731" y="1745"/>
                  </a:lnTo>
                  <a:lnTo>
                    <a:pt x="19562" y="1188"/>
                  </a:lnTo>
                  <a:lnTo>
                    <a:pt x="18931" y="947"/>
                  </a:lnTo>
                  <a:lnTo>
                    <a:pt x="18300" y="724"/>
                  </a:lnTo>
                  <a:lnTo>
                    <a:pt x="17019" y="372"/>
                  </a:lnTo>
                  <a:lnTo>
                    <a:pt x="15683" y="131"/>
                  </a:lnTo>
                  <a:lnTo>
                    <a:pt x="14328" y="19"/>
                  </a:lnTo>
                  <a:lnTo>
                    <a:pt x="13623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9" name="Google Shape;159;p8"/>
            <p:cNvSpPr/>
            <p:nvPr/>
          </p:nvSpPr>
          <p:spPr>
            <a:xfrm>
              <a:off x="5231350" y="2663300"/>
              <a:ext cx="633825" cy="662575"/>
            </a:xfrm>
            <a:custGeom>
              <a:avLst/>
              <a:gdLst/>
              <a:ahLst/>
              <a:cxnLst/>
              <a:rect l="l" t="t" r="r" b="b"/>
              <a:pathLst>
                <a:path w="25353" h="26503" extrusionOk="0">
                  <a:moveTo>
                    <a:pt x="13196" y="4696"/>
                  </a:moveTo>
                  <a:lnTo>
                    <a:pt x="13939" y="4715"/>
                  </a:lnTo>
                  <a:lnTo>
                    <a:pt x="15256" y="4974"/>
                  </a:lnTo>
                  <a:lnTo>
                    <a:pt x="15832" y="5197"/>
                  </a:lnTo>
                  <a:lnTo>
                    <a:pt x="16388" y="5457"/>
                  </a:lnTo>
                  <a:lnTo>
                    <a:pt x="17298" y="6125"/>
                  </a:lnTo>
                  <a:lnTo>
                    <a:pt x="17687" y="6515"/>
                  </a:lnTo>
                  <a:lnTo>
                    <a:pt x="18040" y="6942"/>
                  </a:lnTo>
                  <a:lnTo>
                    <a:pt x="18578" y="7907"/>
                  </a:lnTo>
                  <a:lnTo>
                    <a:pt x="18764" y="8445"/>
                  </a:lnTo>
                  <a:lnTo>
                    <a:pt x="18912" y="9002"/>
                  </a:lnTo>
                  <a:lnTo>
                    <a:pt x="19079" y="10152"/>
                  </a:lnTo>
                  <a:lnTo>
                    <a:pt x="19098" y="10746"/>
                  </a:lnTo>
                  <a:lnTo>
                    <a:pt x="6274" y="10746"/>
                  </a:lnTo>
                  <a:lnTo>
                    <a:pt x="6329" y="10097"/>
                  </a:lnTo>
                  <a:lnTo>
                    <a:pt x="6664" y="8890"/>
                  </a:lnTo>
                  <a:lnTo>
                    <a:pt x="7202" y="7795"/>
                  </a:lnTo>
                  <a:lnTo>
                    <a:pt x="7963" y="6830"/>
                  </a:lnTo>
                  <a:lnTo>
                    <a:pt x="8427" y="6403"/>
                  </a:lnTo>
                  <a:lnTo>
                    <a:pt x="8928" y="5995"/>
                  </a:lnTo>
                  <a:lnTo>
                    <a:pt x="10023" y="5346"/>
                  </a:lnTo>
                  <a:lnTo>
                    <a:pt x="11210" y="4937"/>
                  </a:lnTo>
                  <a:lnTo>
                    <a:pt x="12510" y="4715"/>
                  </a:lnTo>
                  <a:lnTo>
                    <a:pt x="13196" y="4696"/>
                  </a:lnTo>
                  <a:close/>
                  <a:moveTo>
                    <a:pt x="13252" y="1"/>
                  </a:moveTo>
                  <a:lnTo>
                    <a:pt x="12565" y="19"/>
                  </a:lnTo>
                  <a:lnTo>
                    <a:pt x="11192" y="131"/>
                  </a:lnTo>
                  <a:lnTo>
                    <a:pt x="9893" y="372"/>
                  </a:lnTo>
                  <a:lnTo>
                    <a:pt x="8631" y="743"/>
                  </a:lnTo>
                  <a:lnTo>
                    <a:pt x="8018" y="966"/>
                  </a:lnTo>
                  <a:lnTo>
                    <a:pt x="7406" y="1226"/>
                  </a:lnTo>
                  <a:lnTo>
                    <a:pt x="6292" y="1801"/>
                  </a:lnTo>
                  <a:lnTo>
                    <a:pt x="5235" y="2469"/>
                  </a:lnTo>
                  <a:lnTo>
                    <a:pt x="4269" y="3248"/>
                  </a:lnTo>
                  <a:lnTo>
                    <a:pt x="3824" y="3675"/>
                  </a:lnTo>
                  <a:lnTo>
                    <a:pt x="3379" y="4121"/>
                  </a:lnTo>
                  <a:lnTo>
                    <a:pt x="2581" y="5086"/>
                  </a:lnTo>
                  <a:lnTo>
                    <a:pt x="1894" y="6144"/>
                  </a:lnTo>
                  <a:lnTo>
                    <a:pt x="1281" y="7294"/>
                  </a:lnTo>
                  <a:lnTo>
                    <a:pt x="1022" y="7907"/>
                  </a:lnTo>
                  <a:lnTo>
                    <a:pt x="780" y="8538"/>
                  </a:lnTo>
                  <a:lnTo>
                    <a:pt x="391" y="9837"/>
                  </a:lnTo>
                  <a:lnTo>
                    <a:pt x="149" y="11210"/>
                  </a:lnTo>
                  <a:lnTo>
                    <a:pt x="19" y="12658"/>
                  </a:lnTo>
                  <a:lnTo>
                    <a:pt x="1" y="13400"/>
                  </a:lnTo>
                  <a:lnTo>
                    <a:pt x="19" y="14161"/>
                  </a:lnTo>
                  <a:lnTo>
                    <a:pt x="149" y="15609"/>
                  </a:lnTo>
                  <a:lnTo>
                    <a:pt x="391" y="17000"/>
                  </a:lnTo>
                  <a:lnTo>
                    <a:pt x="780" y="18300"/>
                  </a:lnTo>
                  <a:lnTo>
                    <a:pt x="1022" y="18912"/>
                  </a:lnTo>
                  <a:lnTo>
                    <a:pt x="1281" y="19506"/>
                  </a:lnTo>
                  <a:lnTo>
                    <a:pt x="1894" y="20619"/>
                  </a:lnTo>
                  <a:lnTo>
                    <a:pt x="2599" y="21659"/>
                  </a:lnTo>
                  <a:lnTo>
                    <a:pt x="3397" y="22587"/>
                  </a:lnTo>
                  <a:lnTo>
                    <a:pt x="3843" y="23013"/>
                  </a:lnTo>
                  <a:lnTo>
                    <a:pt x="4288" y="23422"/>
                  </a:lnTo>
                  <a:lnTo>
                    <a:pt x="5272" y="24146"/>
                  </a:lnTo>
                  <a:lnTo>
                    <a:pt x="6348" y="24795"/>
                  </a:lnTo>
                  <a:lnTo>
                    <a:pt x="7480" y="25352"/>
                  </a:lnTo>
                  <a:lnTo>
                    <a:pt x="8093" y="25593"/>
                  </a:lnTo>
                  <a:lnTo>
                    <a:pt x="8705" y="25797"/>
                  </a:lnTo>
                  <a:lnTo>
                    <a:pt x="10004" y="26150"/>
                  </a:lnTo>
                  <a:lnTo>
                    <a:pt x="11340" y="26373"/>
                  </a:lnTo>
                  <a:lnTo>
                    <a:pt x="12732" y="26484"/>
                  </a:lnTo>
                  <a:lnTo>
                    <a:pt x="13475" y="26503"/>
                  </a:lnTo>
                  <a:lnTo>
                    <a:pt x="14236" y="26484"/>
                  </a:lnTo>
                  <a:lnTo>
                    <a:pt x="15683" y="26373"/>
                  </a:lnTo>
                  <a:lnTo>
                    <a:pt x="17075" y="26131"/>
                  </a:lnTo>
                  <a:lnTo>
                    <a:pt x="18374" y="25760"/>
                  </a:lnTo>
                  <a:lnTo>
                    <a:pt x="19599" y="25296"/>
                  </a:lnTo>
                  <a:lnTo>
                    <a:pt x="20731" y="24684"/>
                  </a:lnTo>
                  <a:lnTo>
                    <a:pt x="21789" y="23960"/>
                  </a:lnTo>
                  <a:lnTo>
                    <a:pt x="22773" y="23125"/>
                  </a:lnTo>
                  <a:lnTo>
                    <a:pt x="23237" y="22661"/>
                  </a:lnTo>
                  <a:lnTo>
                    <a:pt x="23422" y="22420"/>
                  </a:lnTo>
                  <a:lnTo>
                    <a:pt x="23608" y="21863"/>
                  </a:lnTo>
                  <a:lnTo>
                    <a:pt x="23552" y="21288"/>
                  </a:lnTo>
                  <a:lnTo>
                    <a:pt x="23274" y="20768"/>
                  </a:lnTo>
                  <a:lnTo>
                    <a:pt x="23051" y="20564"/>
                  </a:lnTo>
                  <a:lnTo>
                    <a:pt x="21158" y="19042"/>
                  </a:lnTo>
                  <a:lnTo>
                    <a:pt x="20935" y="18875"/>
                  </a:lnTo>
                  <a:lnTo>
                    <a:pt x="20434" y="18726"/>
                  </a:lnTo>
                  <a:lnTo>
                    <a:pt x="19915" y="18745"/>
                  </a:lnTo>
                  <a:lnTo>
                    <a:pt x="19432" y="18949"/>
                  </a:lnTo>
                  <a:lnTo>
                    <a:pt x="19246" y="19135"/>
                  </a:lnTo>
                  <a:lnTo>
                    <a:pt x="18820" y="19543"/>
                  </a:lnTo>
                  <a:lnTo>
                    <a:pt x="17892" y="20230"/>
                  </a:lnTo>
                  <a:lnTo>
                    <a:pt x="17372" y="20527"/>
                  </a:lnTo>
                  <a:lnTo>
                    <a:pt x="16964" y="20731"/>
                  </a:lnTo>
                  <a:lnTo>
                    <a:pt x="16073" y="21046"/>
                  </a:lnTo>
                  <a:lnTo>
                    <a:pt x="15071" y="21269"/>
                  </a:lnTo>
                  <a:lnTo>
                    <a:pt x="13994" y="21380"/>
                  </a:lnTo>
                  <a:lnTo>
                    <a:pt x="13419" y="21380"/>
                  </a:lnTo>
                  <a:lnTo>
                    <a:pt x="12732" y="21362"/>
                  </a:lnTo>
                  <a:lnTo>
                    <a:pt x="11433" y="21120"/>
                  </a:lnTo>
                  <a:lnTo>
                    <a:pt x="10802" y="20916"/>
                  </a:lnTo>
                  <a:lnTo>
                    <a:pt x="10190" y="20657"/>
                  </a:lnTo>
                  <a:lnTo>
                    <a:pt x="9076" y="20026"/>
                  </a:lnTo>
                  <a:lnTo>
                    <a:pt x="8557" y="19636"/>
                  </a:lnTo>
                  <a:lnTo>
                    <a:pt x="8074" y="19209"/>
                  </a:lnTo>
                  <a:lnTo>
                    <a:pt x="7295" y="18244"/>
                  </a:lnTo>
                  <a:lnTo>
                    <a:pt x="6979" y="17706"/>
                  </a:lnTo>
                  <a:lnTo>
                    <a:pt x="6682" y="17130"/>
                  </a:lnTo>
                  <a:lnTo>
                    <a:pt x="6329" y="15905"/>
                  </a:lnTo>
                  <a:lnTo>
                    <a:pt x="6274" y="15237"/>
                  </a:lnTo>
                  <a:lnTo>
                    <a:pt x="23905" y="15237"/>
                  </a:lnTo>
                  <a:lnTo>
                    <a:pt x="24202" y="15200"/>
                  </a:lnTo>
                  <a:lnTo>
                    <a:pt x="24721" y="14996"/>
                  </a:lnTo>
                  <a:lnTo>
                    <a:pt x="25111" y="14606"/>
                  </a:lnTo>
                  <a:lnTo>
                    <a:pt x="25334" y="14087"/>
                  </a:lnTo>
                  <a:lnTo>
                    <a:pt x="25352" y="13790"/>
                  </a:lnTo>
                  <a:lnTo>
                    <a:pt x="25352" y="13567"/>
                  </a:lnTo>
                  <a:lnTo>
                    <a:pt x="25352" y="12713"/>
                  </a:lnTo>
                  <a:lnTo>
                    <a:pt x="25222" y="11136"/>
                  </a:lnTo>
                  <a:lnTo>
                    <a:pt x="25000" y="9651"/>
                  </a:lnTo>
                  <a:lnTo>
                    <a:pt x="24666" y="8278"/>
                  </a:lnTo>
                  <a:lnTo>
                    <a:pt x="24443" y="7647"/>
                  </a:lnTo>
                  <a:lnTo>
                    <a:pt x="24202" y="7016"/>
                  </a:lnTo>
                  <a:lnTo>
                    <a:pt x="23663" y="5847"/>
                  </a:lnTo>
                  <a:lnTo>
                    <a:pt x="23032" y="4807"/>
                  </a:lnTo>
                  <a:lnTo>
                    <a:pt x="22309" y="3842"/>
                  </a:lnTo>
                  <a:lnTo>
                    <a:pt x="21919" y="3415"/>
                  </a:lnTo>
                  <a:lnTo>
                    <a:pt x="21511" y="3007"/>
                  </a:lnTo>
                  <a:lnTo>
                    <a:pt x="20620" y="2265"/>
                  </a:lnTo>
                  <a:lnTo>
                    <a:pt x="19655" y="1615"/>
                  </a:lnTo>
                  <a:lnTo>
                    <a:pt x="18634" y="1096"/>
                  </a:lnTo>
                  <a:lnTo>
                    <a:pt x="18077" y="873"/>
                  </a:lnTo>
                  <a:lnTo>
                    <a:pt x="17520" y="650"/>
                  </a:lnTo>
                  <a:lnTo>
                    <a:pt x="16370" y="335"/>
                  </a:lnTo>
                  <a:lnTo>
                    <a:pt x="15163" y="112"/>
                  </a:lnTo>
                  <a:lnTo>
                    <a:pt x="13901" y="19"/>
                  </a:lnTo>
                  <a:lnTo>
                    <a:pt x="13252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" name="Google Shape;160;p8"/>
            <p:cNvSpPr/>
            <p:nvPr/>
          </p:nvSpPr>
          <p:spPr>
            <a:xfrm>
              <a:off x="5884625" y="2663300"/>
              <a:ext cx="579075" cy="659800"/>
            </a:xfrm>
            <a:custGeom>
              <a:avLst/>
              <a:gdLst/>
              <a:ahLst/>
              <a:cxnLst/>
              <a:rect l="l" t="t" r="r" b="b"/>
              <a:pathLst>
                <a:path w="23163" h="26392" extrusionOk="0">
                  <a:moveTo>
                    <a:pt x="17223" y="14347"/>
                  </a:moveTo>
                  <a:lnTo>
                    <a:pt x="17223" y="15237"/>
                  </a:lnTo>
                  <a:lnTo>
                    <a:pt x="17205" y="15961"/>
                  </a:lnTo>
                  <a:lnTo>
                    <a:pt x="17001" y="17297"/>
                  </a:lnTo>
                  <a:lnTo>
                    <a:pt x="16574" y="18467"/>
                  </a:lnTo>
                  <a:lnTo>
                    <a:pt x="15943" y="19487"/>
                  </a:lnTo>
                  <a:lnTo>
                    <a:pt x="15553" y="19933"/>
                  </a:lnTo>
                  <a:lnTo>
                    <a:pt x="15108" y="20341"/>
                  </a:lnTo>
                  <a:lnTo>
                    <a:pt x="14087" y="20991"/>
                  </a:lnTo>
                  <a:lnTo>
                    <a:pt x="12862" y="21417"/>
                  </a:lnTo>
                  <a:lnTo>
                    <a:pt x="11433" y="21640"/>
                  </a:lnTo>
                  <a:lnTo>
                    <a:pt x="10653" y="21659"/>
                  </a:lnTo>
                  <a:lnTo>
                    <a:pt x="9855" y="21622"/>
                  </a:lnTo>
                  <a:lnTo>
                    <a:pt x="9076" y="21492"/>
                  </a:lnTo>
                  <a:lnTo>
                    <a:pt x="8705" y="21417"/>
                  </a:lnTo>
                  <a:lnTo>
                    <a:pt x="8000" y="21158"/>
                  </a:lnTo>
                  <a:lnTo>
                    <a:pt x="7666" y="20972"/>
                  </a:lnTo>
                  <a:lnTo>
                    <a:pt x="7369" y="20786"/>
                  </a:lnTo>
                  <a:lnTo>
                    <a:pt x="6867" y="20304"/>
                  </a:lnTo>
                  <a:lnTo>
                    <a:pt x="6645" y="20007"/>
                  </a:lnTo>
                  <a:lnTo>
                    <a:pt x="6478" y="19691"/>
                  </a:lnTo>
                  <a:lnTo>
                    <a:pt x="6274" y="18949"/>
                  </a:lnTo>
                  <a:lnTo>
                    <a:pt x="6255" y="18522"/>
                  </a:lnTo>
                  <a:lnTo>
                    <a:pt x="6274" y="18170"/>
                  </a:lnTo>
                  <a:lnTo>
                    <a:pt x="6385" y="17557"/>
                  </a:lnTo>
                  <a:lnTo>
                    <a:pt x="6626" y="17000"/>
                  </a:lnTo>
                  <a:lnTo>
                    <a:pt x="6979" y="16518"/>
                  </a:lnTo>
                  <a:lnTo>
                    <a:pt x="7202" y="16314"/>
                  </a:lnTo>
                  <a:lnTo>
                    <a:pt x="7684" y="15924"/>
                  </a:lnTo>
                  <a:lnTo>
                    <a:pt x="8872" y="15293"/>
                  </a:lnTo>
                  <a:lnTo>
                    <a:pt x="9540" y="15052"/>
                  </a:lnTo>
                  <a:lnTo>
                    <a:pt x="10264" y="14848"/>
                  </a:lnTo>
                  <a:lnTo>
                    <a:pt x="11804" y="14551"/>
                  </a:lnTo>
                  <a:lnTo>
                    <a:pt x="12621" y="14476"/>
                  </a:lnTo>
                  <a:lnTo>
                    <a:pt x="14272" y="14365"/>
                  </a:lnTo>
                  <a:lnTo>
                    <a:pt x="15813" y="14347"/>
                  </a:lnTo>
                  <a:close/>
                  <a:moveTo>
                    <a:pt x="12008" y="1"/>
                  </a:moveTo>
                  <a:lnTo>
                    <a:pt x="11284" y="19"/>
                  </a:lnTo>
                  <a:lnTo>
                    <a:pt x="9855" y="131"/>
                  </a:lnTo>
                  <a:lnTo>
                    <a:pt x="8445" y="390"/>
                  </a:lnTo>
                  <a:lnTo>
                    <a:pt x="7035" y="762"/>
                  </a:lnTo>
                  <a:lnTo>
                    <a:pt x="6348" y="1003"/>
                  </a:lnTo>
                  <a:lnTo>
                    <a:pt x="5327" y="1374"/>
                  </a:lnTo>
                  <a:lnTo>
                    <a:pt x="3434" y="2376"/>
                  </a:lnTo>
                  <a:lnTo>
                    <a:pt x="2580" y="3007"/>
                  </a:lnTo>
                  <a:lnTo>
                    <a:pt x="2339" y="3193"/>
                  </a:lnTo>
                  <a:lnTo>
                    <a:pt x="2061" y="3712"/>
                  </a:lnTo>
                  <a:lnTo>
                    <a:pt x="2005" y="4269"/>
                  </a:lnTo>
                  <a:lnTo>
                    <a:pt x="2191" y="4845"/>
                  </a:lnTo>
                  <a:lnTo>
                    <a:pt x="2358" y="5086"/>
                  </a:lnTo>
                  <a:lnTo>
                    <a:pt x="3712" y="6663"/>
                  </a:lnTo>
                  <a:lnTo>
                    <a:pt x="3898" y="6867"/>
                  </a:lnTo>
                  <a:lnTo>
                    <a:pt x="4381" y="7127"/>
                  </a:lnTo>
                  <a:lnTo>
                    <a:pt x="4900" y="7183"/>
                  </a:lnTo>
                  <a:lnTo>
                    <a:pt x="5420" y="7053"/>
                  </a:lnTo>
                  <a:lnTo>
                    <a:pt x="5661" y="6905"/>
                  </a:lnTo>
                  <a:lnTo>
                    <a:pt x="6107" y="6589"/>
                  </a:lnTo>
                  <a:lnTo>
                    <a:pt x="7127" y="5995"/>
                  </a:lnTo>
                  <a:lnTo>
                    <a:pt x="7684" y="5735"/>
                  </a:lnTo>
                  <a:lnTo>
                    <a:pt x="8129" y="5550"/>
                  </a:lnTo>
                  <a:lnTo>
                    <a:pt x="9057" y="5234"/>
                  </a:lnTo>
                  <a:lnTo>
                    <a:pt x="10022" y="5012"/>
                  </a:lnTo>
                  <a:lnTo>
                    <a:pt x="10988" y="4919"/>
                  </a:lnTo>
                  <a:lnTo>
                    <a:pt x="11489" y="4900"/>
                  </a:lnTo>
                  <a:lnTo>
                    <a:pt x="12064" y="4919"/>
                  </a:lnTo>
                  <a:lnTo>
                    <a:pt x="13159" y="5049"/>
                  </a:lnTo>
                  <a:lnTo>
                    <a:pt x="14161" y="5346"/>
                  </a:lnTo>
                  <a:lnTo>
                    <a:pt x="15089" y="5754"/>
                  </a:lnTo>
                  <a:lnTo>
                    <a:pt x="15534" y="6032"/>
                  </a:lnTo>
                  <a:lnTo>
                    <a:pt x="15924" y="6311"/>
                  </a:lnTo>
                  <a:lnTo>
                    <a:pt x="16574" y="7034"/>
                  </a:lnTo>
                  <a:lnTo>
                    <a:pt x="16982" y="7907"/>
                  </a:lnTo>
                  <a:lnTo>
                    <a:pt x="17205" y="8927"/>
                  </a:lnTo>
                  <a:lnTo>
                    <a:pt x="17223" y="9484"/>
                  </a:lnTo>
                  <a:lnTo>
                    <a:pt x="17223" y="10115"/>
                  </a:lnTo>
                  <a:lnTo>
                    <a:pt x="15757" y="10134"/>
                  </a:lnTo>
                  <a:lnTo>
                    <a:pt x="12769" y="10282"/>
                  </a:lnTo>
                  <a:lnTo>
                    <a:pt x="11247" y="10412"/>
                  </a:lnTo>
                  <a:lnTo>
                    <a:pt x="9744" y="10579"/>
                  </a:lnTo>
                  <a:lnTo>
                    <a:pt x="7647" y="11006"/>
                  </a:lnTo>
                  <a:lnTo>
                    <a:pt x="6329" y="11359"/>
                  </a:lnTo>
                  <a:lnTo>
                    <a:pt x="5698" y="11581"/>
                  </a:lnTo>
                  <a:lnTo>
                    <a:pt x="5067" y="11804"/>
                  </a:lnTo>
                  <a:lnTo>
                    <a:pt x="3935" y="12361"/>
                  </a:lnTo>
                  <a:lnTo>
                    <a:pt x="2914" y="12992"/>
                  </a:lnTo>
                  <a:lnTo>
                    <a:pt x="2005" y="13734"/>
                  </a:lnTo>
                  <a:lnTo>
                    <a:pt x="1597" y="14142"/>
                  </a:lnTo>
                  <a:lnTo>
                    <a:pt x="1207" y="14569"/>
                  </a:lnTo>
                  <a:lnTo>
                    <a:pt x="613" y="15553"/>
                  </a:lnTo>
                  <a:lnTo>
                    <a:pt x="223" y="16666"/>
                  </a:lnTo>
                  <a:lnTo>
                    <a:pt x="19" y="17928"/>
                  </a:lnTo>
                  <a:lnTo>
                    <a:pt x="1" y="18615"/>
                  </a:lnTo>
                  <a:lnTo>
                    <a:pt x="19" y="19172"/>
                  </a:lnTo>
                  <a:lnTo>
                    <a:pt x="131" y="20174"/>
                  </a:lnTo>
                  <a:lnTo>
                    <a:pt x="353" y="21083"/>
                  </a:lnTo>
                  <a:lnTo>
                    <a:pt x="706" y="21919"/>
                  </a:lnTo>
                  <a:lnTo>
                    <a:pt x="910" y="22308"/>
                  </a:lnTo>
                  <a:lnTo>
                    <a:pt x="1151" y="22661"/>
                  </a:lnTo>
                  <a:lnTo>
                    <a:pt x="1671" y="23348"/>
                  </a:lnTo>
                  <a:lnTo>
                    <a:pt x="2246" y="23941"/>
                  </a:lnTo>
                  <a:lnTo>
                    <a:pt x="2877" y="24461"/>
                  </a:lnTo>
                  <a:lnTo>
                    <a:pt x="3211" y="24702"/>
                  </a:lnTo>
                  <a:lnTo>
                    <a:pt x="3917" y="25129"/>
                  </a:lnTo>
                  <a:lnTo>
                    <a:pt x="5420" y="25779"/>
                  </a:lnTo>
                  <a:lnTo>
                    <a:pt x="6236" y="26001"/>
                  </a:lnTo>
                  <a:lnTo>
                    <a:pt x="7053" y="26187"/>
                  </a:lnTo>
                  <a:lnTo>
                    <a:pt x="8631" y="26373"/>
                  </a:lnTo>
                  <a:lnTo>
                    <a:pt x="9391" y="26391"/>
                  </a:lnTo>
                  <a:lnTo>
                    <a:pt x="10060" y="26391"/>
                  </a:lnTo>
                  <a:lnTo>
                    <a:pt x="11303" y="26243"/>
                  </a:lnTo>
                  <a:lnTo>
                    <a:pt x="12491" y="25983"/>
                  </a:lnTo>
                  <a:lnTo>
                    <a:pt x="13604" y="25575"/>
                  </a:lnTo>
                  <a:lnTo>
                    <a:pt x="14143" y="25315"/>
                  </a:lnTo>
                  <a:lnTo>
                    <a:pt x="14644" y="25055"/>
                  </a:lnTo>
                  <a:lnTo>
                    <a:pt x="15553" y="24442"/>
                  </a:lnTo>
                  <a:lnTo>
                    <a:pt x="16314" y="23756"/>
                  </a:lnTo>
                  <a:lnTo>
                    <a:pt x="16926" y="22995"/>
                  </a:lnTo>
                  <a:lnTo>
                    <a:pt x="17168" y="22587"/>
                  </a:lnTo>
                  <a:lnTo>
                    <a:pt x="17316" y="22587"/>
                  </a:lnTo>
                  <a:lnTo>
                    <a:pt x="17316" y="24313"/>
                  </a:lnTo>
                  <a:lnTo>
                    <a:pt x="17335" y="24610"/>
                  </a:lnTo>
                  <a:lnTo>
                    <a:pt x="17557" y="25129"/>
                  </a:lnTo>
                  <a:lnTo>
                    <a:pt x="17947" y="25519"/>
                  </a:lnTo>
                  <a:lnTo>
                    <a:pt x="18467" y="25742"/>
                  </a:lnTo>
                  <a:lnTo>
                    <a:pt x="18764" y="25760"/>
                  </a:lnTo>
                  <a:lnTo>
                    <a:pt x="21715" y="25760"/>
                  </a:lnTo>
                  <a:lnTo>
                    <a:pt x="22011" y="25742"/>
                  </a:lnTo>
                  <a:lnTo>
                    <a:pt x="22531" y="25519"/>
                  </a:lnTo>
                  <a:lnTo>
                    <a:pt x="22921" y="25129"/>
                  </a:lnTo>
                  <a:lnTo>
                    <a:pt x="23144" y="24610"/>
                  </a:lnTo>
                  <a:lnTo>
                    <a:pt x="23162" y="24313"/>
                  </a:lnTo>
                  <a:lnTo>
                    <a:pt x="23162" y="10542"/>
                  </a:lnTo>
                  <a:lnTo>
                    <a:pt x="23144" y="9596"/>
                  </a:lnTo>
                  <a:lnTo>
                    <a:pt x="22902" y="7721"/>
                  </a:lnTo>
                  <a:lnTo>
                    <a:pt x="22661" y="6775"/>
                  </a:lnTo>
                  <a:lnTo>
                    <a:pt x="22531" y="6311"/>
                  </a:lnTo>
                  <a:lnTo>
                    <a:pt x="22197" y="5420"/>
                  </a:lnTo>
                  <a:lnTo>
                    <a:pt x="21752" y="4566"/>
                  </a:lnTo>
                  <a:lnTo>
                    <a:pt x="21232" y="3768"/>
                  </a:lnTo>
                  <a:lnTo>
                    <a:pt x="20917" y="3378"/>
                  </a:lnTo>
                  <a:lnTo>
                    <a:pt x="20917" y="3397"/>
                  </a:lnTo>
                  <a:lnTo>
                    <a:pt x="20601" y="3026"/>
                  </a:lnTo>
                  <a:lnTo>
                    <a:pt x="19859" y="2339"/>
                  </a:lnTo>
                  <a:lnTo>
                    <a:pt x="19005" y="1727"/>
                  </a:lnTo>
                  <a:lnTo>
                    <a:pt x="18040" y="1188"/>
                  </a:lnTo>
                  <a:lnTo>
                    <a:pt x="17502" y="947"/>
                  </a:lnTo>
                  <a:lnTo>
                    <a:pt x="16945" y="724"/>
                  </a:lnTo>
                  <a:lnTo>
                    <a:pt x="15720" y="372"/>
                  </a:lnTo>
                  <a:lnTo>
                    <a:pt x="14347" y="131"/>
                  </a:lnTo>
                  <a:lnTo>
                    <a:pt x="12825" y="19"/>
                  </a:lnTo>
                  <a:lnTo>
                    <a:pt x="12008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1" name="Google Shape;161;p8"/>
            <p:cNvSpPr/>
            <p:nvPr/>
          </p:nvSpPr>
          <p:spPr>
            <a:xfrm>
              <a:off x="6545800" y="2664225"/>
              <a:ext cx="373975" cy="643550"/>
            </a:xfrm>
            <a:custGeom>
              <a:avLst/>
              <a:gdLst/>
              <a:ahLst/>
              <a:cxnLst/>
              <a:rect l="l" t="t" r="r" b="b"/>
              <a:pathLst>
                <a:path w="14959" h="25742" extrusionOk="0">
                  <a:moveTo>
                    <a:pt x="13400" y="1"/>
                  </a:moveTo>
                  <a:lnTo>
                    <a:pt x="13400" y="19"/>
                  </a:lnTo>
                  <a:lnTo>
                    <a:pt x="12639" y="75"/>
                  </a:lnTo>
                  <a:lnTo>
                    <a:pt x="11339" y="279"/>
                  </a:lnTo>
                  <a:lnTo>
                    <a:pt x="10300" y="613"/>
                  </a:lnTo>
                  <a:lnTo>
                    <a:pt x="9409" y="1059"/>
                  </a:lnTo>
                  <a:lnTo>
                    <a:pt x="9020" y="1318"/>
                  </a:lnTo>
                  <a:lnTo>
                    <a:pt x="8556" y="1671"/>
                  </a:lnTo>
                  <a:lnTo>
                    <a:pt x="7721" y="2451"/>
                  </a:lnTo>
                  <a:lnTo>
                    <a:pt x="6997" y="3341"/>
                  </a:lnTo>
                  <a:lnTo>
                    <a:pt x="6366" y="4325"/>
                  </a:lnTo>
                  <a:lnTo>
                    <a:pt x="6106" y="4863"/>
                  </a:lnTo>
                  <a:lnTo>
                    <a:pt x="5995" y="4863"/>
                  </a:lnTo>
                  <a:lnTo>
                    <a:pt x="5995" y="2135"/>
                  </a:lnTo>
                  <a:lnTo>
                    <a:pt x="5976" y="1838"/>
                  </a:lnTo>
                  <a:lnTo>
                    <a:pt x="5753" y="1318"/>
                  </a:lnTo>
                  <a:lnTo>
                    <a:pt x="5364" y="929"/>
                  </a:lnTo>
                  <a:lnTo>
                    <a:pt x="4844" y="706"/>
                  </a:lnTo>
                  <a:lnTo>
                    <a:pt x="4547" y="687"/>
                  </a:lnTo>
                  <a:lnTo>
                    <a:pt x="1448" y="687"/>
                  </a:lnTo>
                  <a:lnTo>
                    <a:pt x="1151" y="706"/>
                  </a:lnTo>
                  <a:lnTo>
                    <a:pt x="631" y="929"/>
                  </a:lnTo>
                  <a:lnTo>
                    <a:pt x="241" y="1318"/>
                  </a:lnTo>
                  <a:lnTo>
                    <a:pt x="19" y="1838"/>
                  </a:lnTo>
                  <a:lnTo>
                    <a:pt x="0" y="2135"/>
                  </a:lnTo>
                  <a:lnTo>
                    <a:pt x="0" y="24276"/>
                  </a:lnTo>
                  <a:lnTo>
                    <a:pt x="19" y="24573"/>
                  </a:lnTo>
                  <a:lnTo>
                    <a:pt x="241" y="25092"/>
                  </a:lnTo>
                  <a:lnTo>
                    <a:pt x="631" y="25500"/>
                  </a:lnTo>
                  <a:lnTo>
                    <a:pt x="1151" y="25705"/>
                  </a:lnTo>
                  <a:lnTo>
                    <a:pt x="1448" y="25742"/>
                  </a:lnTo>
                  <a:lnTo>
                    <a:pt x="4807" y="25742"/>
                  </a:lnTo>
                  <a:lnTo>
                    <a:pt x="5104" y="25705"/>
                  </a:lnTo>
                  <a:lnTo>
                    <a:pt x="5623" y="25500"/>
                  </a:lnTo>
                  <a:lnTo>
                    <a:pt x="6013" y="25092"/>
                  </a:lnTo>
                  <a:lnTo>
                    <a:pt x="6236" y="24573"/>
                  </a:lnTo>
                  <a:lnTo>
                    <a:pt x="6254" y="24276"/>
                  </a:lnTo>
                  <a:lnTo>
                    <a:pt x="6254" y="12324"/>
                  </a:lnTo>
                  <a:lnTo>
                    <a:pt x="6273" y="11971"/>
                  </a:lnTo>
                  <a:lnTo>
                    <a:pt x="6403" y="11062"/>
                  </a:lnTo>
                  <a:lnTo>
                    <a:pt x="6514" y="10505"/>
                  </a:lnTo>
                  <a:lnTo>
                    <a:pt x="6663" y="9930"/>
                  </a:lnTo>
                  <a:lnTo>
                    <a:pt x="7164" y="8816"/>
                  </a:lnTo>
                  <a:lnTo>
                    <a:pt x="7516" y="8259"/>
                  </a:lnTo>
                  <a:lnTo>
                    <a:pt x="7906" y="7721"/>
                  </a:lnTo>
                  <a:lnTo>
                    <a:pt x="8908" y="6775"/>
                  </a:lnTo>
                  <a:lnTo>
                    <a:pt x="9539" y="6385"/>
                  </a:lnTo>
                  <a:lnTo>
                    <a:pt x="10170" y="6014"/>
                  </a:lnTo>
                  <a:lnTo>
                    <a:pt x="11636" y="5439"/>
                  </a:lnTo>
                  <a:lnTo>
                    <a:pt x="12917" y="5142"/>
                  </a:lnTo>
                  <a:lnTo>
                    <a:pt x="13678" y="5030"/>
                  </a:lnTo>
                  <a:lnTo>
                    <a:pt x="13938" y="4993"/>
                  </a:lnTo>
                  <a:lnTo>
                    <a:pt x="14420" y="4752"/>
                  </a:lnTo>
                  <a:lnTo>
                    <a:pt x="14754" y="4344"/>
                  </a:lnTo>
                  <a:lnTo>
                    <a:pt x="14940" y="3861"/>
                  </a:lnTo>
                  <a:lnTo>
                    <a:pt x="14958" y="3583"/>
                  </a:lnTo>
                  <a:lnTo>
                    <a:pt x="14940" y="1430"/>
                  </a:lnTo>
                  <a:lnTo>
                    <a:pt x="14903" y="1133"/>
                  </a:lnTo>
                  <a:lnTo>
                    <a:pt x="14661" y="595"/>
                  </a:lnTo>
                  <a:lnTo>
                    <a:pt x="14253" y="205"/>
                  </a:lnTo>
                  <a:lnTo>
                    <a:pt x="13696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" name="Google Shape;162;p8"/>
            <p:cNvSpPr/>
            <p:nvPr/>
          </p:nvSpPr>
          <p:spPr>
            <a:xfrm>
              <a:off x="6961975" y="2500450"/>
              <a:ext cx="420375" cy="820325"/>
            </a:xfrm>
            <a:custGeom>
              <a:avLst/>
              <a:gdLst/>
              <a:ahLst/>
              <a:cxnLst/>
              <a:rect l="l" t="t" r="r" b="b"/>
              <a:pathLst>
                <a:path w="16815" h="32813" extrusionOk="0">
                  <a:moveTo>
                    <a:pt x="5846" y="1"/>
                  </a:moveTo>
                  <a:lnTo>
                    <a:pt x="5549" y="19"/>
                  </a:lnTo>
                  <a:lnTo>
                    <a:pt x="5030" y="242"/>
                  </a:lnTo>
                  <a:lnTo>
                    <a:pt x="4621" y="632"/>
                  </a:lnTo>
                  <a:lnTo>
                    <a:pt x="4417" y="1151"/>
                  </a:lnTo>
                  <a:lnTo>
                    <a:pt x="4399" y="1448"/>
                  </a:lnTo>
                  <a:lnTo>
                    <a:pt x="4399" y="6515"/>
                  </a:lnTo>
                  <a:lnTo>
                    <a:pt x="1448" y="6515"/>
                  </a:lnTo>
                  <a:lnTo>
                    <a:pt x="1169" y="6533"/>
                  </a:lnTo>
                  <a:lnTo>
                    <a:pt x="650" y="6756"/>
                  </a:lnTo>
                  <a:lnTo>
                    <a:pt x="242" y="7146"/>
                  </a:lnTo>
                  <a:lnTo>
                    <a:pt x="19" y="7665"/>
                  </a:lnTo>
                  <a:lnTo>
                    <a:pt x="0" y="7962"/>
                  </a:lnTo>
                  <a:lnTo>
                    <a:pt x="0" y="10078"/>
                  </a:lnTo>
                  <a:lnTo>
                    <a:pt x="19" y="10375"/>
                  </a:lnTo>
                  <a:lnTo>
                    <a:pt x="242" y="10895"/>
                  </a:lnTo>
                  <a:lnTo>
                    <a:pt x="650" y="11284"/>
                  </a:lnTo>
                  <a:lnTo>
                    <a:pt x="1169" y="11507"/>
                  </a:lnTo>
                  <a:lnTo>
                    <a:pt x="1448" y="11526"/>
                  </a:lnTo>
                  <a:lnTo>
                    <a:pt x="4399" y="11526"/>
                  </a:lnTo>
                  <a:lnTo>
                    <a:pt x="4399" y="23941"/>
                  </a:lnTo>
                  <a:lnTo>
                    <a:pt x="4399" y="24851"/>
                  </a:lnTo>
                  <a:lnTo>
                    <a:pt x="4566" y="26558"/>
                  </a:lnTo>
                  <a:lnTo>
                    <a:pt x="4733" y="27356"/>
                  </a:lnTo>
                  <a:lnTo>
                    <a:pt x="4918" y="28136"/>
                  </a:lnTo>
                  <a:lnTo>
                    <a:pt x="5549" y="29546"/>
                  </a:lnTo>
                  <a:lnTo>
                    <a:pt x="5976" y="30177"/>
                  </a:lnTo>
                  <a:lnTo>
                    <a:pt x="6217" y="30474"/>
                  </a:lnTo>
                  <a:lnTo>
                    <a:pt x="6756" y="31031"/>
                  </a:lnTo>
                  <a:lnTo>
                    <a:pt x="7368" y="31513"/>
                  </a:lnTo>
                  <a:lnTo>
                    <a:pt x="8073" y="31922"/>
                  </a:lnTo>
                  <a:lnTo>
                    <a:pt x="8463" y="32107"/>
                  </a:lnTo>
                  <a:lnTo>
                    <a:pt x="8853" y="32274"/>
                  </a:lnTo>
                  <a:lnTo>
                    <a:pt x="9762" y="32534"/>
                  </a:lnTo>
                  <a:lnTo>
                    <a:pt x="10783" y="32720"/>
                  </a:lnTo>
                  <a:lnTo>
                    <a:pt x="11915" y="32794"/>
                  </a:lnTo>
                  <a:lnTo>
                    <a:pt x="12527" y="32812"/>
                  </a:lnTo>
                  <a:lnTo>
                    <a:pt x="13047" y="32794"/>
                  </a:lnTo>
                  <a:lnTo>
                    <a:pt x="14142" y="32701"/>
                  </a:lnTo>
                  <a:lnTo>
                    <a:pt x="14717" y="32627"/>
                  </a:lnTo>
                  <a:lnTo>
                    <a:pt x="15274" y="32534"/>
                  </a:lnTo>
                  <a:lnTo>
                    <a:pt x="16276" y="32274"/>
                  </a:lnTo>
                  <a:lnTo>
                    <a:pt x="16703" y="32126"/>
                  </a:lnTo>
                  <a:lnTo>
                    <a:pt x="16499" y="27226"/>
                  </a:lnTo>
                  <a:lnTo>
                    <a:pt x="15887" y="27467"/>
                  </a:lnTo>
                  <a:lnTo>
                    <a:pt x="15181" y="27616"/>
                  </a:lnTo>
                  <a:lnTo>
                    <a:pt x="14476" y="27727"/>
                  </a:lnTo>
                  <a:lnTo>
                    <a:pt x="13827" y="27746"/>
                  </a:lnTo>
                  <a:lnTo>
                    <a:pt x="13326" y="27746"/>
                  </a:lnTo>
                  <a:lnTo>
                    <a:pt x="12472" y="27597"/>
                  </a:lnTo>
                  <a:lnTo>
                    <a:pt x="11804" y="27319"/>
                  </a:lnTo>
                  <a:lnTo>
                    <a:pt x="11303" y="26911"/>
                  </a:lnTo>
                  <a:lnTo>
                    <a:pt x="11154" y="26651"/>
                  </a:lnTo>
                  <a:lnTo>
                    <a:pt x="11006" y="26372"/>
                  </a:lnTo>
                  <a:lnTo>
                    <a:pt x="10783" y="25760"/>
                  </a:lnTo>
                  <a:lnTo>
                    <a:pt x="10560" y="24702"/>
                  </a:lnTo>
                  <a:lnTo>
                    <a:pt x="10542" y="23886"/>
                  </a:lnTo>
                  <a:lnTo>
                    <a:pt x="10542" y="11526"/>
                  </a:lnTo>
                  <a:lnTo>
                    <a:pt x="15367" y="11526"/>
                  </a:lnTo>
                  <a:lnTo>
                    <a:pt x="15645" y="11507"/>
                  </a:lnTo>
                  <a:lnTo>
                    <a:pt x="16165" y="11284"/>
                  </a:lnTo>
                  <a:lnTo>
                    <a:pt x="16573" y="10895"/>
                  </a:lnTo>
                  <a:lnTo>
                    <a:pt x="16796" y="10375"/>
                  </a:lnTo>
                  <a:lnTo>
                    <a:pt x="16815" y="10078"/>
                  </a:lnTo>
                  <a:lnTo>
                    <a:pt x="16815" y="7962"/>
                  </a:lnTo>
                  <a:lnTo>
                    <a:pt x="16796" y="7665"/>
                  </a:lnTo>
                  <a:lnTo>
                    <a:pt x="16573" y="7146"/>
                  </a:lnTo>
                  <a:lnTo>
                    <a:pt x="16165" y="6756"/>
                  </a:lnTo>
                  <a:lnTo>
                    <a:pt x="15645" y="6533"/>
                  </a:lnTo>
                  <a:lnTo>
                    <a:pt x="15367" y="6515"/>
                  </a:lnTo>
                  <a:lnTo>
                    <a:pt x="10542" y="6515"/>
                  </a:lnTo>
                  <a:lnTo>
                    <a:pt x="10542" y="1448"/>
                  </a:lnTo>
                  <a:lnTo>
                    <a:pt x="10523" y="1151"/>
                  </a:lnTo>
                  <a:lnTo>
                    <a:pt x="10300" y="632"/>
                  </a:lnTo>
                  <a:lnTo>
                    <a:pt x="9911" y="242"/>
                  </a:lnTo>
                  <a:lnTo>
                    <a:pt x="9391" y="19"/>
                  </a:lnTo>
                  <a:lnTo>
                    <a:pt x="9094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" name="Google Shape;163;p8"/>
            <p:cNvSpPr/>
            <p:nvPr/>
          </p:nvSpPr>
          <p:spPr>
            <a:xfrm>
              <a:off x="4511750" y="2466575"/>
              <a:ext cx="655150" cy="841200"/>
            </a:xfrm>
            <a:custGeom>
              <a:avLst/>
              <a:gdLst/>
              <a:ahLst/>
              <a:cxnLst/>
              <a:rect l="l" t="t" r="r" b="b"/>
              <a:pathLst>
                <a:path w="26206" h="33648" extrusionOk="0">
                  <a:moveTo>
                    <a:pt x="1466" y="1"/>
                  </a:moveTo>
                  <a:lnTo>
                    <a:pt x="1169" y="19"/>
                  </a:lnTo>
                  <a:lnTo>
                    <a:pt x="650" y="242"/>
                  </a:lnTo>
                  <a:lnTo>
                    <a:pt x="241" y="632"/>
                  </a:lnTo>
                  <a:lnTo>
                    <a:pt x="19" y="1151"/>
                  </a:lnTo>
                  <a:lnTo>
                    <a:pt x="0" y="1448"/>
                  </a:lnTo>
                  <a:lnTo>
                    <a:pt x="0" y="32200"/>
                  </a:lnTo>
                  <a:lnTo>
                    <a:pt x="19" y="32497"/>
                  </a:lnTo>
                  <a:lnTo>
                    <a:pt x="241" y="33017"/>
                  </a:lnTo>
                  <a:lnTo>
                    <a:pt x="650" y="33406"/>
                  </a:lnTo>
                  <a:lnTo>
                    <a:pt x="1169" y="33629"/>
                  </a:lnTo>
                  <a:lnTo>
                    <a:pt x="1466" y="33648"/>
                  </a:lnTo>
                  <a:lnTo>
                    <a:pt x="4825" y="33648"/>
                  </a:lnTo>
                  <a:lnTo>
                    <a:pt x="5122" y="33629"/>
                  </a:lnTo>
                  <a:lnTo>
                    <a:pt x="5642" y="33406"/>
                  </a:lnTo>
                  <a:lnTo>
                    <a:pt x="6032" y="33017"/>
                  </a:lnTo>
                  <a:lnTo>
                    <a:pt x="6255" y="32497"/>
                  </a:lnTo>
                  <a:lnTo>
                    <a:pt x="6273" y="32200"/>
                  </a:lnTo>
                  <a:lnTo>
                    <a:pt x="6273" y="18133"/>
                  </a:lnTo>
                  <a:lnTo>
                    <a:pt x="19932" y="18133"/>
                  </a:lnTo>
                  <a:lnTo>
                    <a:pt x="19932" y="32200"/>
                  </a:lnTo>
                  <a:lnTo>
                    <a:pt x="19951" y="32497"/>
                  </a:lnTo>
                  <a:lnTo>
                    <a:pt x="20174" y="33017"/>
                  </a:lnTo>
                  <a:lnTo>
                    <a:pt x="20563" y="33406"/>
                  </a:lnTo>
                  <a:lnTo>
                    <a:pt x="21083" y="33629"/>
                  </a:lnTo>
                  <a:lnTo>
                    <a:pt x="21380" y="33648"/>
                  </a:lnTo>
                  <a:lnTo>
                    <a:pt x="24758" y="33648"/>
                  </a:lnTo>
                  <a:lnTo>
                    <a:pt x="25036" y="33629"/>
                  </a:lnTo>
                  <a:lnTo>
                    <a:pt x="25556" y="33406"/>
                  </a:lnTo>
                  <a:lnTo>
                    <a:pt x="25964" y="33017"/>
                  </a:lnTo>
                  <a:lnTo>
                    <a:pt x="26187" y="32497"/>
                  </a:lnTo>
                  <a:lnTo>
                    <a:pt x="26205" y="32200"/>
                  </a:lnTo>
                  <a:lnTo>
                    <a:pt x="26205" y="1448"/>
                  </a:lnTo>
                  <a:lnTo>
                    <a:pt x="26187" y="1151"/>
                  </a:lnTo>
                  <a:lnTo>
                    <a:pt x="25964" y="632"/>
                  </a:lnTo>
                  <a:lnTo>
                    <a:pt x="25556" y="242"/>
                  </a:lnTo>
                  <a:lnTo>
                    <a:pt x="25036" y="19"/>
                  </a:lnTo>
                  <a:lnTo>
                    <a:pt x="24758" y="1"/>
                  </a:lnTo>
                  <a:lnTo>
                    <a:pt x="21380" y="1"/>
                  </a:lnTo>
                  <a:lnTo>
                    <a:pt x="21083" y="19"/>
                  </a:lnTo>
                  <a:lnTo>
                    <a:pt x="20563" y="242"/>
                  </a:lnTo>
                  <a:lnTo>
                    <a:pt x="20174" y="632"/>
                  </a:lnTo>
                  <a:lnTo>
                    <a:pt x="19951" y="1151"/>
                  </a:lnTo>
                  <a:lnTo>
                    <a:pt x="19932" y="1448"/>
                  </a:lnTo>
                  <a:lnTo>
                    <a:pt x="19932" y="13641"/>
                  </a:lnTo>
                  <a:lnTo>
                    <a:pt x="6273" y="13641"/>
                  </a:lnTo>
                  <a:lnTo>
                    <a:pt x="6273" y="1448"/>
                  </a:lnTo>
                  <a:lnTo>
                    <a:pt x="6255" y="1151"/>
                  </a:lnTo>
                  <a:lnTo>
                    <a:pt x="6032" y="632"/>
                  </a:lnTo>
                  <a:lnTo>
                    <a:pt x="5642" y="242"/>
                  </a:lnTo>
                  <a:lnTo>
                    <a:pt x="5122" y="19"/>
                  </a:lnTo>
                  <a:lnTo>
                    <a:pt x="4825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" name="Google Shape;164;p8"/>
            <p:cNvSpPr/>
            <p:nvPr/>
          </p:nvSpPr>
          <p:spPr>
            <a:xfrm>
              <a:off x="2392800" y="2663300"/>
              <a:ext cx="633800" cy="662575"/>
            </a:xfrm>
            <a:custGeom>
              <a:avLst/>
              <a:gdLst/>
              <a:ahLst/>
              <a:cxnLst/>
              <a:rect l="l" t="t" r="r" b="b"/>
              <a:pathLst>
                <a:path w="25352" h="26503" extrusionOk="0">
                  <a:moveTo>
                    <a:pt x="13195" y="4696"/>
                  </a:moveTo>
                  <a:lnTo>
                    <a:pt x="13938" y="4715"/>
                  </a:lnTo>
                  <a:lnTo>
                    <a:pt x="15255" y="4974"/>
                  </a:lnTo>
                  <a:lnTo>
                    <a:pt x="15831" y="5197"/>
                  </a:lnTo>
                  <a:lnTo>
                    <a:pt x="16369" y="5457"/>
                  </a:lnTo>
                  <a:lnTo>
                    <a:pt x="17297" y="6125"/>
                  </a:lnTo>
                  <a:lnTo>
                    <a:pt x="17687" y="6515"/>
                  </a:lnTo>
                  <a:lnTo>
                    <a:pt x="18039" y="6942"/>
                  </a:lnTo>
                  <a:lnTo>
                    <a:pt x="18559" y="7907"/>
                  </a:lnTo>
                  <a:lnTo>
                    <a:pt x="18745" y="8445"/>
                  </a:lnTo>
                  <a:lnTo>
                    <a:pt x="18912" y="9002"/>
                  </a:lnTo>
                  <a:lnTo>
                    <a:pt x="19079" y="10152"/>
                  </a:lnTo>
                  <a:lnTo>
                    <a:pt x="19097" y="10746"/>
                  </a:lnTo>
                  <a:lnTo>
                    <a:pt x="6254" y="10746"/>
                  </a:lnTo>
                  <a:lnTo>
                    <a:pt x="6329" y="10097"/>
                  </a:lnTo>
                  <a:lnTo>
                    <a:pt x="6663" y="8890"/>
                  </a:lnTo>
                  <a:lnTo>
                    <a:pt x="7201" y="7795"/>
                  </a:lnTo>
                  <a:lnTo>
                    <a:pt x="7962" y="6830"/>
                  </a:lnTo>
                  <a:lnTo>
                    <a:pt x="8426" y="6403"/>
                  </a:lnTo>
                  <a:lnTo>
                    <a:pt x="8927" y="5995"/>
                  </a:lnTo>
                  <a:lnTo>
                    <a:pt x="10003" y="5346"/>
                  </a:lnTo>
                  <a:lnTo>
                    <a:pt x="11210" y="4937"/>
                  </a:lnTo>
                  <a:lnTo>
                    <a:pt x="12509" y="4715"/>
                  </a:lnTo>
                  <a:lnTo>
                    <a:pt x="13195" y="4696"/>
                  </a:lnTo>
                  <a:close/>
                  <a:moveTo>
                    <a:pt x="13251" y="1"/>
                  </a:moveTo>
                  <a:lnTo>
                    <a:pt x="12546" y="19"/>
                  </a:lnTo>
                  <a:lnTo>
                    <a:pt x="11191" y="131"/>
                  </a:lnTo>
                  <a:lnTo>
                    <a:pt x="9873" y="372"/>
                  </a:lnTo>
                  <a:lnTo>
                    <a:pt x="8611" y="743"/>
                  </a:lnTo>
                  <a:lnTo>
                    <a:pt x="8018" y="966"/>
                  </a:lnTo>
                  <a:lnTo>
                    <a:pt x="7405" y="1226"/>
                  </a:lnTo>
                  <a:lnTo>
                    <a:pt x="6273" y="1801"/>
                  </a:lnTo>
                  <a:lnTo>
                    <a:pt x="5234" y="2469"/>
                  </a:lnTo>
                  <a:lnTo>
                    <a:pt x="4269" y="3248"/>
                  </a:lnTo>
                  <a:lnTo>
                    <a:pt x="3805" y="3675"/>
                  </a:lnTo>
                  <a:lnTo>
                    <a:pt x="3378" y="4121"/>
                  </a:lnTo>
                  <a:lnTo>
                    <a:pt x="2580" y="5086"/>
                  </a:lnTo>
                  <a:lnTo>
                    <a:pt x="1875" y="6144"/>
                  </a:lnTo>
                  <a:lnTo>
                    <a:pt x="1281" y="7294"/>
                  </a:lnTo>
                  <a:lnTo>
                    <a:pt x="1021" y="7907"/>
                  </a:lnTo>
                  <a:lnTo>
                    <a:pt x="780" y="8538"/>
                  </a:lnTo>
                  <a:lnTo>
                    <a:pt x="390" y="9837"/>
                  </a:lnTo>
                  <a:lnTo>
                    <a:pt x="130" y="11210"/>
                  </a:lnTo>
                  <a:lnTo>
                    <a:pt x="19" y="12658"/>
                  </a:lnTo>
                  <a:lnTo>
                    <a:pt x="0" y="13400"/>
                  </a:lnTo>
                  <a:lnTo>
                    <a:pt x="19" y="14161"/>
                  </a:lnTo>
                  <a:lnTo>
                    <a:pt x="130" y="15609"/>
                  </a:lnTo>
                  <a:lnTo>
                    <a:pt x="390" y="17000"/>
                  </a:lnTo>
                  <a:lnTo>
                    <a:pt x="780" y="18300"/>
                  </a:lnTo>
                  <a:lnTo>
                    <a:pt x="1021" y="18912"/>
                  </a:lnTo>
                  <a:lnTo>
                    <a:pt x="1281" y="19506"/>
                  </a:lnTo>
                  <a:lnTo>
                    <a:pt x="1893" y="20619"/>
                  </a:lnTo>
                  <a:lnTo>
                    <a:pt x="2598" y="21659"/>
                  </a:lnTo>
                  <a:lnTo>
                    <a:pt x="3396" y="22587"/>
                  </a:lnTo>
                  <a:lnTo>
                    <a:pt x="3842" y="23013"/>
                  </a:lnTo>
                  <a:lnTo>
                    <a:pt x="4287" y="23422"/>
                  </a:lnTo>
                  <a:lnTo>
                    <a:pt x="5271" y="24146"/>
                  </a:lnTo>
                  <a:lnTo>
                    <a:pt x="6329" y="24795"/>
                  </a:lnTo>
                  <a:lnTo>
                    <a:pt x="7479" y="25352"/>
                  </a:lnTo>
                  <a:lnTo>
                    <a:pt x="8092" y="25593"/>
                  </a:lnTo>
                  <a:lnTo>
                    <a:pt x="8704" y="25797"/>
                  </a:lnTo>
                  <a:lnTo>
                    <a:pt x="9985" y="26150"/>
                  </a:lnTo>
                  <a:lnTo>
                    <a:pt x="11340" y="26373"/>
                  </a:lnTo>
                  <a:lnTo>
                    <a:pt x="12731" y="26484"/>
                  </a:lnTo>
                  <a:lnTo>
                    <a:pt x="13455" y="26503"/>
                  </a:lnTo>
                  <a:lnTo>
                    <a:pt x="14216" y="26484"/>
                  </a:lnTo>
                  <a:lnTo>
                    <a:pt x="15682" y="26373"/>
                  </a:lnTo>
                  <a:lnTo>
                    <a:pt x="17074" y="26131"/>
                  </a:lnTo>
                  <a:lnTo>
                    <a:pt x="18373" y="25760"/>
                  </a:lnTo>
                  <a:lnTo>
                    <a:pt x="19598" y="25296"/>
                  </a:lnTo>
                  <a:lnTo>
                    <a:pt x="20730" y="24684"/>
                  </a:lnTo>
                  <a:lnTo>
                    <a:pt x="21788" y="23960"/>
                  </a:lnTo>
                  <a:lnTo>
                    <a:pt x="22772" y="23125"/>
                  </a:lnTo>
                  <a:lnTo>
                    <a:pt x="23236" y="22661"/>
                  </a:lnTo>
                  <a:lnTo>
                    <a:pt x="23421" y="22420"/>
                  </a:lnTo>
                  <a:lnTo>
                    <a:pt x="23607" y="21863"/>
                  </a:lnTo>
                  <a:lnTo>
                    <a:pt x="23551" y="21288"/>
                  </a:lnTo>
                  <a:lnTo>
                    <a:pt x="23273" y="20768"/>
                  </a:lnTo>
                  <a:lnTo>
                    <a:pt x="23050" y="20564"/>
                  </a:lnTo>
                  <a:lnTo>
                    <a:pt x="21139" y="19042"/>
                  </a:lnTo>
                  <a:lnTo>
                    <a:pt x="20916" y="18875"/>
                  </a:lnTo>
                  <a:lnTo>
                    <a:pt x="20415" y="18726"/>
                  </a:lnTo>
                  <a:lnTo>
                    <a:pt x="19914" y="18745"/>
                  </a:lnTo>
                  <a:lnTo>
                    <a:pt x="19431" y="18949"/>
                  </a:lnTo>
                  <a:lnTo>
                    <a:pt x="19227" y="19135"/>
                  </a:lnTo>
                  <a:lnTo>
                    <a:pt x="18819" y="19543"/>
                  </a:lnTo>
                  <a:lnTo>
                    <a:pt x="17891" y="20230"/>
                  </a:lnTo>
                  <a:lnTo>
                    <a:pt x="17371" y="20527"/>
                  </a:lnTo>
                  <a:lnTo>
                    <a:pt x="16963" y="20731"/>
                  </a:lnTo>
                  <a:lnTo>
                    <a:pt x="16053" y="21046"/>
                  </a:lnTo>
                  <a:lnTo>
                    <a:pt x="15070" y="21269"/>
                  </a:lnTo>
                  <a:lnTo>
                    <a:pt x="13993" y="21380"/>
                  </a:lnTo>
                  <a:lnTo>
                    <a:pt x="13400" y="21380"/>
                  </a:lnTo>
                  <a:lnTo>
                    <a:pt x="12731" y="21362"/>
                  </a:lnTo>
                  <a:lnTo>
                    <a:pt x="11432" y="21120"/>
                  </a:lnTo>
                  <a:lnTo>
                    <a:pt x="10801" y="20916"/>
                  </a:lnTo>
                  <a:lnTo>
                    <a:pt x="10189" y="20657"/>
                  </a:lnTo>
                  <a:lnTo>
                    <a:pt x="9057" y="20026"/>
                  </a:lnTo>
                  <a:lnTo>
                    <a:pt x="8556" y="19636"/>
                  </a:lnTo>
                  <a:lnTo>
                    <a:pt x="8073" y="19209"/>
                  </a:lnTo>
                  <a:lnTo>
                    <a:pt x="7275" y="18244"/>
                  </a:lnTo>
                  <a:lnTo>
                    <a:pt x="6960" y="17706"/>
                  </a:lnTo>
                  <a:lnTo>
                    <a:pt x="6681" y="17130"/>
                  </a:lnTo>
                  <a:lnTo>
                    <a:pt x="6329" y="15905"/>
                  </a:lnTo>
                  <a:lnTo>
                    <a:pt x="6254" y="15237"/>
                  </a:lnTo>
                  <a:lnTo>
                    <a:pt x="23904" y="15237"/>
                  </a:lnTo>
                  <a:lnTo>
                    <a:pt x="24201" y="15200"/>
                  </a:lnTo>
                  <a:lnTo>
                    <a:pt x="24702" y="14996"/>
                  </a:lnTo>
                  <a:lnTo>
                    <a:pt x="25110" y="14606"/>
                  </a:lnTo>
                  <a:lnTo>
                    <a:pt x="25333" y="14087"/>
                  </a:lnTo>
                  <a:lnTo>
                    <a:pt x="25351" y="13790"/>
                  </a:lnTo>
                  <a:lnTo>
                    <a:pt x="25351" y="13567"/>
                  </a:lnTo>
                  <a:lnTo>
                    <a:pt x="25333" y="12713"/>
                  </a:lnTo>
                  <a:lnTo>
                    <a:pt x="25222" y="11136"/>
                  </a:lnTo>
                  <a:lnTo>
                    <a:pt x="24999" y="9651"/>
                  </a:lnTo>
                  <a:lnTo>
                    <a:pt x="24665" y="8278"/>
                  </a:lnTo>
                  <a:lnTo>
                    <a:pt x="24442" y="7647"/>
                  </a:lnTo>
                  <a:lnTo>
                    <a:pt x="24201" y="7016"/>
                  </a:lnTo>
                  <a:lnTo>
                    <a:pt x="23663" y="5847"/>
                  </a:lnTo>
                  <a:lnTo>
                    <a:pt x="23032" y="4807"/>
                  </a:lnTo>
                  <a:lnTo>
                    <a:pt x="22308" y="3842"/>
                  </a:lnTo>
                  <a:lnTo>
                    <a:pt x="21900" y="3415"/>
                  </a:lnTo>
                  <a:lnTo>
                    <a:pt x="21918" y="3415"/>
                  </a:lnTo>
                  <a:lnTo>
                    <a:pt x="21491" y="3007"/>
                  </a:lnTo>
                  <a:lnTo>
                    <a:pt x="20619" y="2265"/>
                  </a:lnTo>
                  <a:lnTo>
                    <a:pt x="19654" y="1615"/>
                  </a:lnTo>
                  <a:lnTo>
                    <a:pt x="18633" y="1096"/>
                  </a:lnTo>
                  <a:lnTo>
                    <a:pt x="18076" y="873"/>
                  </a:lnTo>
                  <a:lnTo>
                    <a:pt x="17520" y="650"/>
                  </a:lnTo>
                  <a:lnTo>
                    <a:pt x="16369" y="335"/>
                  </a:lnTo>
                  <a:lnTo>
                    <a:pt x="15163" y="112"/>
                  </a:lnTo>
                  <a:lnTo>
                    <a:pt x="13901" y="19"/>
                  </a:lnTo>
                  <a:lnTo>
                    <a:pt x="13251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" name="Google Shape;165;p8"/>
            <p:cNvSpPr/>
            <p:nvPr/>
          </p:nvSpPr>
          <p:spPr>
            <a:xfrm>
              <a:off x="237650" y="2349675"/>
              <a:ext cx="1219800" cy="1015625"/>
            </a:xfrm>
            <a:custGeom>
              <a:avLst/>
              <a:gdLst/>
              <a:ahLst/>
              <a:cxnLst/>
              <a:rect l="l" t="t" r="r" b="b"/>
              <a:pathLst>
                <a:path w="48792" h="40625" extrusionOk="0">
                  <a:moveTo>
                    <a:pt x="11915" y="0"/>
                  </a:moveTo>
                  <a:lnTo>
                    <a:pt x="10746" y="93"/>
                  </a:lnTo>
                  <a:lnTo>
                    <a:pt x="9614" y="297"/>
                  </a:lnTo>
                  <a:lnTo>
                    <a:pt x="8500" y="612"/>
                  </a:lnTo>
                  <a:lnTo>
                    <a:pt x="7443" y="1039"/>
                  </a:lnTo>
                  <a:lnTo>
                    <a:pt x="6422" y="1559"/>
                  </a:lnTo>
                  <a:lnTo>
                    <a:pt x="5457" y="2171"/>
                  </a:lnTo>
                  <a:lnTo>
                    <a:pt x="4547" y="2858"/>
                  </a:lnTo>
                  <a:lnTo>
                    <a:pt x="3712" y="3638"/>
                  </a:lnTo>
                  <a:lnTo>
                    <a:pt x="2933" y="4491"/>
                  </a:lnTo>
                  <a:lnTo>
                    <a:pt x="2246" y="5419"/>
                  </a:lnTo>
                  <a:lnTo>
                    <a:pt x="1634" y="6403"/>
                  </a:lnTo>
                  <a:lnTo>
                    <a:pt x="1114" y="7442"/>
                  </a:lnTo>
                  <a:lnTo>
                    <a:pt x="687" y="8556"/>
                  </a:lnTo>
                  <a:lnTo>
                    <a:pt x="372" y="9688"/>
                  </a:lnTo>
                  <a:lnTo>
                    <a:pt x="149" y="10875"/>
                  </a:lnTo>
                  <a:lnTo>
                    <a:pt x="75" y="11488"/>
                  </a:lnTo>
                  <a:lnTo>
                    <a:pt x="0" y="12583"/>
                  </a:lnTo>
                  <a:lnTo>
                    <a:pt x="130" y="14736"/>
                  </a:lnTo>
                  <a:lnTo>
                    <a:pt x="539" y="16870"/>
                  </a:lnTo>
                  <a:lnTo>
                    <a:pt x="1225" y="18967"/>
                  </a:lnTo>
                  <a:lnTo>
                    <a:pt x="2116" y="21008"/>
                  </a:lnTo>
                  <a:lnTo>
                    <a:pt x="3230" y="23013"/>
                  </a:lnTo>
                  <a:lnTo>
                    <a:pt x="4510" y="24961"/>
                  </a:lnTo>
                  <a:lnTo>
                    <a:pt x="5921" y="26836"/>
                  </a:lnTo>
                  <a:lnTo>
                    <a:pt x="7461" y="28636"/>
                  </a:lnTo>
                  <a:lnTo>
                    <a:pt x="9076" y="30362"/>
                  </a:lnTo>
                  <a:lnTo>
                    <a:pt x="11600" y="32793"/>
                  </a:lnTo>
                  <a:lnTo>
                    <a:pt x="14996" y="35688"/>
                  </a:lnTo>
                  <a:lnTo>
                    <a:pt x="18188" y="38120"/>
                  </a:lnTo>
                  <a:lnTo>
                    <a:pt x="19617" y="39140"/>
                  </a:lnTo>
                  <a:lnTo>
                    <a:pt x="20155" y="39493"/>
                  </a:lnTo>
                  <a:lnTo>
                    <a:pt x="21325" y="40050"/>
                  </a:lnTo>
                  <a:lnTo>
                    <a:pt x="22531" y="40439"/>
                  </a:lnTo>
                  <a:lnTo>
                    <a:pt x="23774" y="40625"/>
                  </a:lnTo>
                  <a:lnTo>
                    <a:pt x="25036" y="40625"/>
                  </a:lnTo>
                  <a:lnTo>
                    <a:pt x="26280" y="40439"/>
                  </a:lnTo>
                  <a:lnTo>
                    <a:pt x="27486" y="40050"/>
                  </a:lnTo>
                  <a:lnTo>
                    <a:pt x="28637" y="39493"/>
                  </a:lnTo>
                  <a:lnTo>
                    <a:pt x="29193" y="39140"/>
                  </a:lnTo>
                  <a:lnTo>
                    <a:pt x="30567" y="38157"/>
                  </a:lnTo>
                  <a:lnTo>
                    <a:pt x="33648" y="35818"/>
                  </a:lnTo>
                  <a:lnTo>
                    <a:pt x="36914" y="33053"/>
                  </a:lnTo>
                  <a:lnTo>
                    <a:pt x="39364" y="30733"/>
                  </a:lnTo>
                  <a:lnTo>
                    <a:pt x="40941" y="29081"/>
                  </a:lnTo>
                  <a:lnTo>
                    <a:pt x="42444" y="27356"/>
                  </a:lnTo>
                  <a:lnTo>
                    <a:pt x="43855" y="25555"/>
                  </a:lnTo>
                  <a:lnTo>
                    <a:pt x="45135" y="23699"/>
                  </a:lnTo>
                  <a:lnTo>
                    <a:pt x="46268" y="21788"/>
                  </a:lnTo>
                  <a:lnTo>
                    <a:pt x="47233" y="19839"/>
                  </a:lnTo>
                  <a:lnTo>
                    <a:pt x="47994" y="17835"/>
                  </a:lnTo>
                  <a:lnTo>
                    <a:pt x="48513" y="15793"/>
                  </a:lnTo>
                  <a:lnTo>
                    <a:pt x="48773" y="13715"/>
                  </a:lnTo>
                  <a:lnTo>
                    <a:pt x="48792" y="12676"/>
                  </a:lnTo>
                  <a:lnTo>
                    <a:pt x="48773" y="12082"/>
                  </a:lnTo>
                  <a:lnTo>
                    <a:pt x="48736" y="11488"/>
                  </a:lnTo>
                  <a:lnTo>
                    <a:pt x="48662" y="10820"/>
                  </a:lnTo>
                  <a:lnTo>
                    <a:pt x="48272" y="9224"/>
                  </a:lnTo>
                  <a:lnTo>
                    <a:pt x="47845" y="8017"/>
                  </a:lnTo>
                  <a:lnTo>
                    <a:pt x="47270" y="6830"/>
                  </a:lnTo>
                  <a:lnTo>
                    <a:pt x="46509" y="5753"/>
                  </a:lnTo>
                  <a:lnTo>
                    <a:pt x="45785" y="5104"/>
                  </a:lnTo>
                  <a:lnTo>
                    <a:pt x="45247" y="4788"/>
                  </a:lnTo>
                  <a:lnTo>
                    <a:pt x="44653" y="4547"/>
                  </a:lnTo>
                  <a:lnTo>
                    <a:pt x="44003" y="4417"/>
                  </a:lnTo>
                  <a:lnTo>
                    <a:pt x="43242" y="4417"/>
                  </a:lnTo>
                  <a:lnTo>
                    <a:pt x="42444" y="4565"/>
                  </a:lnTo>
                  <a:lnTo>
                    <a:pt x="41684" y="4881"/>
                  </a:lnTo>
                  <a:lnTo>
                    <a:pt x="40997" y="5345"/>
                  </a:lnTo>
                  <a:lnTo>
                    <a:pt x="40681" y="5642"/>
                  </a:lnTo>
                  <a:lnTo>
                    <a:pt x="27616" y="18707"/>
                  </a:lnTo>
                  <a:lnTo>
                    <a:pt x="27393" y="18930"/>
                  </a:lnTo>
                  <a:lnTo>
                    <a:pt x="27059" y="19450"/>
                  </a:lnTo>
                  <a:lnTo>
                    <a:pt x="26836" y="20006"/>
                  </a:lnTo>
                  <a:lnTo>
                    <a:pt x="26725" y="20582"/>
                  </a:lnTo>
                  <a:lnTo>
                    <a:pt x="26725" y="21175"/>
                  </a:lnTo>
                  <a:lnTo>
                    <a:pt x="26836" y="21751"/>
                  </a:lnTo>
                  <a:lnTo>
                    <a:pt x="27059" y="22308"/>
                  </a:lnTo>
                  <a:lnTo>
                    <a:pt x="27393" y="22809"/>
                  </a:lnTo>
                  <a:lnTo>
                    <a:pt x="27616" y="23050"/>
                  </a:lnTo>
                  <a:lnTo>
                    <a:pt x="27839" y="23254"/>
                  </a:lnTo>
                  <a:lnTo>
                    <a:pt x="28358" y="23607"/>
                  </a:lnTo>
                  <a:lnTo>
                    <a:pt x="28915" y="23829"/>
                  </a:lnTo>
                  <a:lnTo>
                    <a:pt x="29490" y="23941"/>
                  </a:lnTo>
                  <a:lnTo>
                    <a:pt x="30084" y="23941"/>
                  </a:lnTo>
                  <a:lnTo>
                    <a:pt x="30660" y="23829"/>
                  </a:lnTo>
                  <a:lnTo>
                    <a:pt x="31216" y="23607"/>
                  </a:lnTo>
                  <a:lnTo>
                    <a:pt x="31717" y="23254"/>
                  </a:lnTo>
                  <a:lnTo>
                    <a:pt x="31959" y="23050"/>
                  </a:lnTo>
                  <a:lnTo>
                    <a:pt x="43075" y="11933"/>
                  </a:lnTo>
                  <a:lnTo>
                    <a:pt x="43168" y="11840"/>
                  </a:lnTo>
                  <a:lnTo>
                    <a:pt x="43410" y="11748"/>
                  </a:lnTo>
                  <a:lnTo>
                    <a:pt x="43651" y="11748"/>
                  </a:lnTo>
                  <a:lnTo>
                    <a:pt x="43873" y="11840"/>
                  </a:lnTo>
                  <a:lnTo>
                    <a:pt x="43966" y="11933"/>
                  </a:lnTo>
                  <a:lnTo>
                    <a:pt x="44727" y="12694"/>
                  </a:lnTo>
                  <a:lnTo>
                    <a:pt x="44820" y="12787"/>
                  </a:lnTo>
                  <a:lnTo>
                    <a:pt x="44913" y="13010"/>
                  </a:lnTo>
                  <a:lnTo>
                    <a:pt x="44913" y="13269"/>
                  </a:lnTo>
                  <a:lnTo>
                    <a:pt x="44820" y="13492"/>
                  </a:lnTo>
                  <a:lnTo>
                    <a:pt x="44727" y="13585"/>
                  </a:lnTo>
                  <a:lnTo>
                    <a:pt x="33703" y="24627"/>
                  </a:lnTo>
                  <a:lnTo>
                    <a:pt x="33314" y="24999"/>
                  </a:lnTo>
                  <a:lnTo>
                    <a:pt x="32441" y="25592"/>
                  </a:lnTo>
                  <a:lnTo>
                    <a:pt x="31476" y="26019"/>
                  </a:lnTo>
                  <a:lnTo>
                    <a:pt x="30455" y="26261"/>
                  </a:lnTo>
                  <a:lnTo>
                    <a:pt x="29936" y="26298"/>
                  </a:lnTo>
                  <a:lnTo>
                    <a:pt x="29360" y="26298"/>
                  </a:lnTo>
                  <a:lnTo>
                    <a:pt x="28247" y="26094"/>
                  </a:lnTo>
                  <a:lnTo>
                    <a:pt x="27208" y="25667"/>
                  </a:lnTo>
                  <a:lnTo>
                    <a:pt x="26280" y="25017"/>
                  </a:lnTo>
                  <a:lnTo>
                    <a:pt x="25871" y="24627"/>
                  </a:lnTo>
                  <a:lnTo>
                    <a:pt x="25500" y="24201"/>
                  </a:lnTo>
                  <a:lnTo>
                    <a:pt x="24925" y="23291"/>
                  </a:lnTo>
                  <a:lnTo>
                    <a:pt x="24572" y="22326"/>
                  </a:lnTo>
                  <a:lnTo>
                    <a:pt x="24405" y="21287"/>
                  </a:lnTo>
                  <a:lnTo>
                    <a:pt x="24424" y="20248"/>
                  </a:lnTo>
                  <a:lnTo>
                    <a:pt x="24647" y="19227"/>
                  </a:lnTo>
                  <a:lnTo>
                    <a:pt x="25055" y="18262"/>
                  </a:lnTo>
                  <a:lnTo>
                    <a:pt x="25649" y="17352"/>
                  </a:lnTo>
                  <a:lnTo>
                    <a:pt x="26038" y="16963"/>
                  </a:lnTo>
                  <a:lnTo>
                    <a:pt x="33351" y="9651"/>
                  </a:lnTo>
                  <a:lnTo>
                    <a:pt x="39011" y="3972"/>
                  </a:lnTo>
                  <a:lnTo>
                    <a:pt x="39456" y="3563"/>
                  </a:lnTo>
                  <a:lnTo>
                    <a:pt x="40422" y="2895"/>
                  </a:lnTo>
                  <a:lnTo>
                    <a:pt x="41479" y="2413"/>
                  </a:lnTo>
                  <a:lnTo>
                    <a:pt x="42611" y="2134"/>
                  </a:lnTo>
                  <a:lnTo>
                    <a:pt x="43205" y="2079"/>
                  </a:lnTo>
                  <a:lnTo>
                    <a:pt x="42444" y="1577"/>
                  </a:lnTo>
                  <a:lnTo>
                    <a:pt x="40811" y="798"/>
                  </a:lnTo>
                  <a:lnTo>
                    <a:pt x="39067" y="260"/>
                  </a:lnTo>
                  <a:lnTo>
                    <a:pt x="37229" y="0"/>
                  </a:lnTo>
                  <a:lnTo>
                    <a:pt x="36283" y="0"/>
                  </a:lnTo>
                  <a:lnTo>
                    <a:pt x="35299" y="56"/>
                  </a:lnTo>
                  <a:lnTo>
                    <a:pt x="33425" y="371"/>
                  </a:lnTo>
                  <a:lnTo>
                    <a:pt x="31643" y="965"/>
                  </a:lnTo>
                  <a:lnTo>
                    <a:pt x="29991" y="1819"/>
                  </a:lnTo>
                  <a:lnTo>
                    <a:pt x="28507" y="2877"/>
                  </a:lnTo>
                  <a:lnTo>
                    <a:pt x="27171" y="4157"/>
                  </a:lnTo>
                  <a:lnTo>
                    <a:pt x="26057" y="5623"/>
                  </a:lnTo>
                  <a:lnTo>
                    <a:pt x="25129" y="7256"/>
                  </a:lnTo>
                  <a:lnTo>
                    <a:pt x="24776" y="8147"/>
                  </a:lnTo>
                  <a:lnTo>
                    <a:pt x="24721" y="8259"/>
                  </a:lnTo>
                  <a:lnTo>
                    <a:pt x="24517" y="8389"/>
                  </a:lnTo>
                  <a:lnTo>
                    <a:pt x="24294" y="8389"/>
                  </a:lnTo>
                  <a:lnTo>
                    <a:pt x="24090" y="8259"/>
                  </a:lnTo>
                  <a:lnTo>
                    <a:pt x="24034" y="8147"/>
                  </a:lnTo>
                  <a:lnTo>
                    <a:pt x="23663" y="7256"/>
                  </a:lnTo>
                  <a:lnTo>
                    <a:pt x="22754" y="5623"/>
                  </a:lnTo>
                  <a:lnTo>
                    <a:pt x="21640" y="4157"/>
                  </a:lnTo>
                  <a:lnTo>
                    <a:pt x="20304" y="2877"/>
                  </a:lnTo>
                  <a:lnTo>
                    <a:pt x="18819" y="1819"/>
                  </a:lnTo>
                  <a:lnTo>
                    <a:pt x="17167" y="965"/>
                  </a:lnTo>
                  <a:lnTo>
                    <a:pt x="15386" y="371"/>
                  </a:lnTo>
                  <a:lnTo>
                    <a:pt x="13493" y="56"/>
                  </a:lnTo>
                  <a:lnTo>
                    <a:pt x="12528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66" name="Google Shape;166;p8"/>
          <p:cNvSpPr txBox="1">
            <a:spLocks noGrp="1"/>
          </p:cNvSpPr>
          <p:nvPr>
            <p:ph type="title"/>
          </p:nvPr>
        </p:nvSpPr>
        <p:spPr>
          <a:xfrm>
            <a:off x="609600" y="2244933"/>
            <a:ext cx="5026800" cy="20220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100"/>
              <a:buNone/>
              <a:defRPr sz="6100" b="1"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F72546"/>
              </a:buClr>
              <a:buSzPts val="6100"/>
              <a:buNone/>
              <a:defRPr sz="6100" b="1">
                <a:solidFill>
                  <a:srgbClr val="F72546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F72546"/>
              </a:buClr>
              <a:buSzPts val="6100"/>
              <a:buNone/>
              <a:defRPr sz="6100" b="1">
                <a:solidFill>
                  <a:srgbClr val="F72546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F72546"/>
              </a:buClr>
              <a:buSzPts val="6100"/>
              <a:buNone/>
              <a:defRPr sz="6100" b="1">
                <a:solidFill>
                  <a:srgbClr val="F72546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F72546"/>
              </a:buClr>
              <a:buSzPts val="6100"/>
              <a:buNone/>
              <a:defRPr sz="6100" b="1">
                <a:solidFill>
                  <a:srgbClr val="F72546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F72546"/>
              </a:buClr>
              <a:buSzPts val="6100"/>
              <a:buNone/>
              <a:defRPr sz="6100" b="1">
                <a:solidFill>
                  <a:srgbClr val="F72546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F72546"/>
              </a:buClr>
              <a:buSzPts val="6100"/>
              <a:buNone/>
              <a:defRPr sz="6100" b="1">
                <a:solidFill>
                  <a:srgbClr val="F72546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F72546"/>
              </a:buClr>
              <a:buSzPts val="6100"/>
              <a:buNone/>
              <a:defRPr sz="6100" b="1">
                <a:solidFill>
                  <a:srgbClr val="F72546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F72546"/>
              </a:buClr>
              <a:buSzPts val="6100"/>
              <a:buNone/>
              <a:defRPr sz="6100" b="1">
                <a:solidFill>
                  <a:srgbClr val="F72546"/>
                </a:solidFill>
              </a:defRPr>
            </a:lvl9pPr>
          </a:lstStyle>
          <a:p>
            <a:endParaRPr/>
          </a:p>
        </p:txBody>
      </p:sp>
      <p:sp>
        <p:nvSpPr>
          <p:cNvPr id="167" name="Google Shape;167;p8"/>
          <p:cNvSpPr txBox="1">
            <a:spLocks noGrp="1"/>
          </p:cNvSpPr>
          <p:nvPr>
            <p:ph type="subTitle" idx="1"/>
          </p:nvPr>
        </p:nvSpPr>
        <p:spPr>
          <a:xfrm>
            <a:off x="609600" y="4341067"/>
            <a:ext cx="5026800" cy="16371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68" name="Google Shape;168;p8"/>
          <p:cNvSpPr txBox="1">
            <a:spLocks noGrp="1"/>
          </p:cNvSpPr>
          <p:nvPr>
            <p:ph type="sldNum" idx="12"/>
          </p:nvPr>
        </p:nvSpPr>
        <p:spPr>
          <a:xfrm>
            <a:off x="11044810" y="6091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buNone/>
              <a:defRPr>
                <a:solidFill>
                  <a:srgbClr val="F3F3EA"/>
                </a:solidFill>
              </a:defRPr>
            </a:lvl1pPr>
            <a:lvl2pPr lvl="1" rtl="0">
              <a:buNone/>
              <a:defRPr>
                <a:solidFill>
                  <a:srgbClr val="F3F3EA"/>
                </a:solidFill>
              </a:defRPr>
            </a:lvl2pPr>
            <a:lvl3pPr lvl="2" rtl="0">
              <a:buNone/>
              <a:defRPr>
                <a:solidFill>
                  <a:srgbClr val="F3F3EA"/>
                </a:solidFill>
              </a:defRPr>
            </a:lvl3pPr>
            <a:lvl4pPr lvl="3" rtl="0">
              <a:buNone/>
              <a:defRPr>
                <a:solidFill>
                  <a:srgbClr val="F3F3EA"/>
                </a:solidFill>
              </a:defRPr>
            </a:lvl4pPr>
            <a:lvl5pPr lvl="4" rtl="0">
              <a:buNone/>
              <a:defRPr>
                <a:solidFill>
                  <a:srgbClr val="F3F3EA"/>
                </a:solidFill>
              </a:defRPr>
            </a:lvl5pPr>
            <a:lvl6pPr lvl="5" rtl="0">
              <a:buNone/>
              <a:defRPr>
                <a:solidFill>
                  <a:srgbClr val="F3F3EA"/>
                </a:solidFill>
              </a:defRPr>
            </a:lvl6pPr>
            <a:lvl7pPr lvl="6" rtl="0">
              <a:buNone/>
              <a:defRPr>
                <a:solidFill>
                  <a:srgbClr val="F3F3EA"/>
                </a:solidFill>
              </a:defRPr>
            </a:lvl7pPr>
            <a:lvl8pPr lvl="7" rtl="0">
              <a:buNone/>
              <a:defRPr>
                <a:solidFill>
                  <a:srgbClr val="F3F3EA"/>
                </a:solidFill>
              </a:defRPr>
            </a:lvl8pPr>
            <a:lvl9pPr lvl="8" rtl="0">
              <a:buNone/>
              <a:defRPr>
                <a:solidFill>
                  <a:srgbClr val="F3F3EA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9" name="Google Shape;169;p8"/>
          <p:cNvSpPr txBox="1">
            <a:spLocks noGrp="1"/>
          </p:cNvSpPr>
          <p:nvPr>
            <p:ph type="sldNum" idx="2"/>
          </p:nvPr>
        </p:nvSpPr>
        <p:spPr>
          <a:xfrm>
            <a:off x="11044810" y="6091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buNone/>
              <a:defRPr>
                <a:solidFill>
                  <a:srgbClr val="F8F8F3"/>
                </a:solidFill>
              </a:defRPr>
            </a:lvl1pPr>
            <a:lvl2pPr lvl="1" rtl="0">
              <a:buNone/>
              <a:defRPr>
                <a:solidFill>
                  <a:srgbClr val="F8F8F3"/>
                </a:solidFill>
              </a:defRPr>
            </a:lvl2pPr>
            <a:lvl3pPr lvl="2" rtl="0">
              <a:buNone/>
              <a:defRPr>
                <a:solidFill>
                  <a:srgbClr val="F8F8F3"/>
                </a:solidFill>
              </a:defRPr>
            </a:lvl3pPr>
            <a:lvl4pPr lvl="3" rtl="0">
              <a:buNone/>
              <a:defRPr>
                <a:solidFill>
                  <a:srgbClr val="F8F8F3"/>
                </a:solidFill>
              </a:defRPr>
            </a:lvl4pPr>
            <a:lvl5pPr lvl="4" rtl="0">
              <a:buNone/>
              <a:defRPr>
                <a:solidFill>
                  <a:srgbClr val="F8F8F3"/>
                </a:solidFill>
              </a:defRPr>
            </a:lvl5pPr>
            <a:lvl6pPr lvl="5" rtl="0">
              <a:buNone/>
              <a:defRPr>
                <a:solidFill>
                  <a:srgbClr val="F8F8F3"/>
                </a:solidFill>
              </a:defRPr>
            </a:lvl6pPr>
            <a:lvl7pPr lvl="6" rtl="0">
              <a:buNone/>
              <a:defRPr>
                <a:solidFill>
                  <a:srgbClr val="F8F8F3"/>
                </a:solidFill>
              </a:defRPr>
            </a:lvl7pPr>
            <a:lvl8pPr lvl="7" rtl="0">
              <a:buNone/>
              <a:defRPr>
                <a:solidFill>
                  <a:srgbClr val="F8F8F3"/>
                </a:solidFill>
              </a:defRPr>
            </a:lvl8pPr>
            <a:lvl9pPr lvl="8" rtl="0">
              <a:buNone/>
              <a:defRPr>
                <a:solidFill>
                  <a:srgbClr val="F8F8F3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0" name="Google Shape;170;p8"/>
          <p:cNvSpPr/>
          <p:nvPr/>
        </p:nvSpPr>
        <p:spPr>
          <a:xfrm rot="5400000" flipH="1">
            <a:off x="3276773" y="2814208"/>
            <a:ext cx="6857629" cy="1229621"/>
          </a:xfrm>
          <a:custGeom>
            <a:avLst/>
            <a:gdLst/>
            <a:ahLst/>
            <a:cxnLst/>
            <a:rect l="l" t="t" r="r" b="b"/>
            <a:pathLst>
              <a:path w="204996" h="36675" extrusionOk="0">
                <a:moveTo>
                  <a:pt x="111000" y="1"/>
                </a:moveTo>
                <a:lnTo>
                  <a:pt x="107690" y="48"/>
                </a:lnTo>
                <a:lnTo>
                  <a:pt x="103951" y="144"/>
                </a:lnTo>
                <a:lnTo>
                  <a:pt x="96545" y="596"/>
                </a:lnTo>
                <a:lnTo>
                  <a:pt x="89186" y="1334"/>
                </a:lnTo>
                <a:lnTo>
                  <a:pt x="81899" y="2358"/>
                </a:lnTo>
                <a:lnTo>
                  <a:pt x="74707" y="3668"/>
                </a:lnTo>
                <a:lnTo>
                  <a:pt x="67610" y="5216"/>
                </a:lnTo>
                <a:lnTo>
                  <a:pt x="60585" y="7050"/>
                </a:lnTo>
                <a:lnTo>
                  <a:pt x="53679" y="9145"/>
                </a:lnTo>
                <a:lnTo>
                  <a:pt x="46891" y="11479"/>
                </a:lnTo>
                <a:lnTo>
                  <a:pt x="40200" y="14075"/>
                </a:lnTo>
                <a:lnTo>
                  <a:pt x="33627" y="16909"/>
                </a:lnTo>
                <a:lnTo>
                  <a:pt x="27197" y="19981"/>
                </a:lnTo>
                <a:lnTo>
                  <a:pt x="20886" y="23291"/>
                </a:lnTo>
                <a:lnTo>
                  <a:pt x="14742" y="26839"/>
                </a:lnTo>
                <a:lnTo>
                  <a:pt x="8717" y="30602"/>
                </a:lnTo>
                <a:lnTo>
                  <a:pt x="2858" y="34579"/>
                </a:lnTo>
                <a:lnTo>
                  <a:pt x="1" y="36675"/>
                </a:lnTo>
                <a:lnTo>
                  <a:pt x="204996" y="36675"/>
                </a:lnTo>
                <a:lnTo>
                  <a:pt x="204996" y="27840"/>
                </a:lnTo>
                <a:lnTo>
                  <a:pt x="202329" y="26125"/>
                </a:lnTo>
                <a:lnTo>
                  <a:pt x="196899" y="22886"/>
                </a:lnTo>
                <a:lnTo>
                  <a:pt x="191350" y="19862"/>
                </a:lnTo>
                <a:lnTo>
                  <a:pt x="185682" y="17004"/>
                </a:lnTo>
                <a:lnTo>
                  <a:pt x="179919" y="14361"/>
                </a:lnTo>
                <a:lnTo>
                  <a:pt x="174061" y="11932"/>
                </a:lnTo>
                <a:lnTo>
                  <a:pt x="168107" y="9717"/>
                </a:lnTo>
                <a:lnTo>
                  <a:pt x="162058" y="7693"/>
                </a:lnTo>
                <a:lnTo>
                  <a:pt x="155938" y="5907"/>
                </a:lnTo>
                <a:lnTo>
                  <a:pt x="149722" y="4359"/>
                </a:lnTo>
                <a:lnTo>
                  <a:pt x="143435" y="3025"/>
                </a:lnTo>
                <a:lnTo>
                  <a:pt x="137077" y="1930"/>
                </a:lnTo>
                <a:lnTo>
                  <a:pt x="130647" y="1072"/>
                </a:lnTo>
                <a:lnTo>
                  <a:pt x="124146" y="477"/>
                </a:lnTo>
                <a:lnTo>
                  <a:pt x="117597" y="96"/>
                </a:lnTo>
                <a:lnTo>
                  <a:pt x="111000" y="1"/>
                </a:ln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1" name="Google Shape;171;p8"/>
          <p:cNvSpPr txBox="1">
            <a:spLocks noGrp="1"/>
          </p:cNvSpPr>
          <p:nvPr>
            <p:ph type="sldNum" idx="3"/>
          </p:nvPr>
        </p:nvSpPr>
        <p:spPr>
          <a:xfrm>
            <a:off x="11044810" y="6091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2pPr>
            <a:lvl3pPr lvl="2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3pPr>
            <a:lvl4pPr lvl="3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4pPr>
            <a:lvl5pPr lvl="4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5pPr>
            <a:lvl6pPr lvl="5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6pPr>
            <a:lvl7pPr lvl="6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7pPr>
            <a:lvl8pPr lvl="7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8pPr>
            <a:lvl9pPr lvl="8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2" name="Google Shape;172;p8"/>
          <p:cNvSpPr>
            <a:spLocks noGrp="1"/>
          </p:cNvSpPr>
          <p:nvPr>
            <p:ph type="pic" idx="4"/>
          </p:nvPr>
        </p:nvSpPr>
        <p:spPr>
          <a:xfrm flipH="1">
            <a:off x="5303700" y="-67"/>
            <a:ext cx="6888300" cy="6858000"/>
          </a:xfrm>
          <a:prstGeom prst="flowChartDelay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85602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Break/Big Idea 7 - Add Image">
  <p:cSld name="Section Break/Big Idea 7 - Add Image">
    <p:bg>
      <p:bgPr>
        <a:solidFill>
          <a:schemeClr val="dk1"/>
        </a:solidFill>
        <a:effectLst/>
      </p:bgPr>
    </p:bg>
    <p:spTree>
      <p:nvGrpSpPr>
        <p:cNvPr id="1" name="Shape 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4" name="Google Shape;174;p9"/>
          <p:cNvGrpSpPr/>
          <p:nvPr/>
        </p:nvGrpSpPr>
        <p:grpSpPr>
          <a:xfrm>
            <a:off x="415598" y="6427310"/>
            <a:ext cx="1329629" cy="189008"/>
            <a:chOff x="237650" y="2349675"/>
            <a:chExt cx="7144700" cy="1015625"/>
          </a:xfrm>
        </p:grpSpPr>
        <p:sp>
          <p:nvSpPr>
            <p:cNvPr id="175" name="Google Shape;175;p9"/>
            <p:cNvSpPr/>
            <p:nvPr/>
          </p:nvSpPr>
          <p:spPr>
            <a:xfrm>
              <a:off x="3096625" y="2466575"/>
              <a:ext cx="156400" cy="841200"/>
            </a:xfrm>
            <a:custGeom>
              <a:avLst/>
              <a:gdLst/>
              <a:ahLst/>
              <a:cxnLst/>
              <a:rect l="l" t="t" r="r" b="b"/>
              <a:pathLst>
                <a:path w="6256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2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1" y="1448"/>
                  </a:lnTo>
                  <a:lnTo>
                    <a:pt x="1" y="32182"/>
                  </a:lnTo>
                  <a:lnTo>
                    <a:pt x="19" y="32479"/>
                  </a:lnTo>
                  <a:lnTo>
                    <a:pt x="242" y="33017"/>
                  </a:lnTo>
                  <a:lnTo>
                    <a:pt x="632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08" y="33648"/>
                  </a:lnTo>
                  <a:lnTo>
                    <a:pt x="5105" y="33629"/>
                  </a:lnTo>
                  <a:lnTo>
                    <a:pt x="5624" y="33406"/>
                  </a:lnTo>
                  <a:lnTo>
                    <a:pt x="6014" y="33017"/>
                  </a:lnTo>
                  <a:lnTo>
                    <a:pt x="6237" y="32479"/>
                  </a:lnTo>
                  <a:lnTo>
                    <a:pt x="6255" y="32182"/>
                  </a:lnTo>
                  <a:lnTo>
                    <a:pt x="6255" y="1448"/>
                  </a:lnTo>
                  <a:lnTo>
                    <a:pt x="6237" y="1151"/>
                  </a:lnTo>
                  <a:lnTo>
                    <a:pt x="6014" y="632"/>
                  </a:lnTo>
                  <a:lnTo>
                    <a:pt x="5624" y="242"/>
                  </a:lnTo>
                  <a:lnTo>
                    <a:pt x="5105" y="19"/>
                  </a:lnTo>
                  <a:lnTo>
                    <a:pt x="4808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" name="Google Shape;176;p9"/>
            <p:cNvSpPr/>
            <p:nvPr/>
          </p:nvSpPr>
          <p:spPr>
            <a:xfrm>
              <a:off x="1673175" y="2466575"/>
              <a:ext cx="655150" cy="841200"/>
            </a:xfrm>
            <a:custGeom>
              <a:avLst/>
              <a:gdLst/>
              <a:ahLst/>
              <a:cxnLst/>
              <a:rect l="l" t="t" r="r" b="b"/>
              <a:pathLst>
                <a:path w="26206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1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0" y="1448"/>
                  </a:lnTo>
                  <a:lnTo>
                    <a:pt x="0" y="32200"/>
                  </a:lnTo>
                  <a:lnTo>
                    <a:pt x="19" y="32497"/>
                  </a:lnTo>
                  <a:lnTo>
                    <a:pt x="242" y="33017"/>
                  </a:lnTo>
                  <a:lnTo>
                    <a:pt x="631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26" y="33648"/>
                  </a:lnTo>
                  <a:lnTo>
                    <a:pt x="5104" y="33629"/>
                  </a:lnTo>
                  <a:lnTo>
                    <a:pt x="5624" y="33406"/>
                  </a:lnTo>
                  <a:lnTo>
                    <a:pt x="6032" y="33017"/>
                  </a:lnTo>
                  <a:lnTo>
                    <a:pt x="6255" y="32497"/>
                  </a:lnTo>
                  <a:lnTo>
                    <a:pt x="6273" y="32200"/>
                  </a:lnTo>
                  <a:lnTo>
                    <a:pt x="6273" y="18133"/>
                  </a:lnTo>
                  <a:lnTo>
                    <a:pt x="19933" y="18133"/>
                  </a:lnTo>
                  <a:lnTo>
                    <a:pt x="19933" y="32200"/>
                  </a:lnTo>
                  <a:lnTo>
                    <a:pt x="19951" y="32497"/>
                  </a:lnTo>
                  <a:lnTo>
                    <a:pt x="20174" y="33017"/>
                  </a:lnTo>
                  <a:lnTo>
                    <a:pt x="20564" y="33406"/>
                  </a:lnTo>
                  <a:lnTo>
                    <a:pt x="21083" y="33629"/>
                  </a:lnTo>
                  <a:lnTo>
                    <a:pt x="21380" y="33648"/>
                  </a:lnTo>
                  <a:lnTo>
                    <a:pt x="24739" y="33648"/>
                  </a:lnTo>
                  <a:lnTo>
                    <a:pt x="25036" y="33629"/>
                  </a:lnTo>
                  <a:lnTo>
                    <a:pt x="25556" y="33406"/>
                  </a:lnTo>
                  <a:lnTo>
                    <a:pt x="25964" y="33017"/>
                  </a:lnTo>
                  <a:lnTo>
                    <a:pt x="26168" y="32497"/>
                  </a:lnTo>
                  <a:lnTo>
                    <a:pt x="26205" y="32200"/>
                  </a:lnTo>
                  <a:lnTo>
                    <a:pt x="26205" y="1448"/>
                  </a:lnTo>
                  <a:lnTo>
                    <a:pt x="26168" y="1151"/>
                  </a:lnTo>
                  <a:lnTo>
                    <a:pt x="25964" y="632"/>
                  </a:lnTo>
                  <a:lnTo>
                    <a:pt x="25556" y="242"/>
                  </a:lnTo>
                  <a:lnTo>
                    <a:pt x="25036" y="19"/>
                  </a:lnTo>
                  <a:lnTo>
                    <a:pt x="24739" y="1"/>
                  </a:lnTo>
                  <a:lnTo>
                    <a:pt x="21380" y="1"/>
                  </a:lnTo>
                  <a:lnTo>
                    <a:pt x="21083" y="19"/>
                  </a:lnTo>
                  <a:lnTo>
                    <a:pt x="20564" y="242"/>
                  </a:lnTo>
                  <a:lnTo>
                    <a:pt x="20174" y="632"/>
                  </a:lnTo>
                  <a:lnTo>
                    <a:pt x="19951" y="1151"/>
                  </a:lnTo>
                  <a:lnTo>
                    <a:pt x="19933" y="1448"/>
                  </a:lnTo>
                  <a:lnTo>
                    <a:pt x="19933" y="13641"/>
                  </a:lnTo>
                  <a:lnTo>
                    <a:pt x="6273" y="13641"/>
                  </a:lnTo>
                  <a:lnTo>
                    <a:pt x="6273" y="1448"/>
                  </a:lnTo>
                  <a:lnTo>
                    <a:pt x="6255" y="1151"/>
                  </a:lnTo>
                  <a:lnTo>
                    <a:pt x="6032" y="632"/>
                  </a:lnTo>
                  <a:lnTo>
                    <a:pt x="5624" y="242"/>
                  </a:lnTo>
                  <a:lnTo>
                    <a:pt x="5104" y="19"/>
                  </a:lnTo>
                  <a:lnTo>
                    <a:pt x="4826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" name="Google Shape;177;p9"/>
            <p:cNvSpPr/>
            <p:nvPr/>
          </p:nvSpPr>
          <p:spPr>
            <a:xfrm>
              <a:off x="3382900" y="2466575"/>
              <a:ext cx="156375" cy="841200"/>
            </a:xfrm>
            <a:custGeom>
              <a:avLst/>
              <a:gdLst/>
              <a:ahLst/>
              <a:cxnLst/>
              <a:rect l="l" t="t" r="r" b="b"/>
              <a:pathLst>
                <a:path w="6255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2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1" y="1448"/>
                  </a:lnTo>
                  <a:lnTo>
                    <a:pt x="1" y="32182"/>
                  </a:lnTo>
                  <a:lnTo>
                    <a:pt x="19" y="32479"/>
                  </a:lnTo>
                  <a:lnTo>
                    <a:pt x="242" y="33017"/>
                  </a:lnTo>
                  <a:lnTo>
                    <a:pt x="632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07" y="33648"/>
                  </a:lnTo>
                  <a:lnTo>
                    <a:pt x="5104" y="33629"/>
                  </a:lnTo>
                  <a:lnTo>
                    <a:pt x="5624" y="33406"/>
                  </a:lnTo>
                  <a:lnTo>
                    <a:pt x="6014" y="33017"/>
                  </a:lnTo>
                  <a:lnTo>
                    <a:pt x="6236" y="32479"/>
                  </a:lnTo>
                  <a:lnTo>
                    <a:pt x="6255" y="32182"/>
                  </a:lnTo>
                  <a:lnTo>
                    <a:pt x="6255" y="1448"/>
                  </a:lnTo>
                  <a:lnTo>
                    <a:pt x="6236" y="1151"/>
                  </a:lnTo>
                  <a:lnTo>
                    <a:pt x="6014" y="632"/>
                  </a:lnTo>
                  <a:lnTo>
                    <a:pt x="5624" y="242"/>
                  </a:lnTo>
                  <a:lnTo>
                    <a:pt x="5104" y="19"/>
                  </a:lnTo>
                  <a:lnTo>
                    <a:pt x="4807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" name="Google Shape;178;p9"/>
            <p:cNvSpPr/>
            <p:nvPr/>
          </p:nvSpPr>
          <p:spPr>
            <a:xfrm>
              <a:off x="3610700" y="2663300"/>
              <a:ext cx="680675" cy="662575"/>
            </a:xfrm>
            <a:custGeom>
              <a:avLst/>
              <a:gdLst/>
              <a:ahLst/>
              <a:cxnLst/>
              <a:rect l="l" t="t" r="r" b="b"/>
              <a:pathLst>
                <a:path w="27227" h="26503" extrusionOk="0">
                  <a:moveTo>
                    <a:pt x="14087" y="5123"/>
                  </a:moveTo>
                  <a:lnTo>
                    <a:pt x="14959" y="5216"/>
                  </a:lnTo>
                  <a:lnTo>
                    <a:pt x="15757" y="5383"/>
                  </a:lnTo>
                  <a:lnTo>
                    <a:pt x="16500" y="5661"/>
                  </a:lnTo>
                  <a:lnTo>
                    <a:pt x="16852" y="5828"/>
                  </a:lnTo>
                  <a:lnTo>
                    <a:pt x="17521" y="6199"/>
                  </a:lnTo>
                  <a:lnTo>
                    <a:pt x="18634" y="7127"/>
                  </a:lnTo>
                  <a:lnTo>
                    <a:pt x="19098" y="7665"/>
                  </a:lnTo>
                  <a:lnTo>
                    <a:pt x="19525" y="8259"/>
                  </a:lnTo>
                  <a:lnTo>
                    <a:pt x="20193" y="9558"/>
                  </a:lnTo>
                  <a:lnTo>
                    <a:pt x="20434" y="10264"/>
                  </a:lnTo>
                  <a:lnTo>
                    <a:pt x="20638" y="10969"/>
                  </a:lnTo>
                  <a:lnTo>
                    <a:pt x="20861" y="12416"/>
                  </a:lnTo>
                  <a:lnTo>
                    <a:pt x="20880" y="13159"/>
                  </a:lnTo>
                  <a:lnTo>
                    <a:pt x="20861" y="13883"/>
                  </a:lnTo>
                  <a:lnTo>
                    <a:pt x="20638" y="15349"/>
                  </a:lnTo>
                  <a:lnTo>
                    <a:pt x="20434" y="16073"/>
                  </a:lnTo>
                  <a:lnTo>
                    <a:pt x="20193" y="16796"/>
                  </a:lnTo>
                  <a:lnTo>
                    <a:pt x="19525" y="18095"/>
                  </a:lnTo>
                  <a:lnTo>
                    <a:pt x="19098" y="18671"/>
                  </a:lnTo>
                  <a:lnTo>
                    <a:pt x="18634" y="19228"/>
                  </a:lnTo>
                  <a:lnTo>
                    <a:pt x="17521" y="20174"/>
                  </a:lnTo>
                  <a:lnTo>
                    <a:pt x="16852" y="20564"/>
                  </a:lnTo>
                  <a:lnTo>
                    <a:pt x="16500" y="20731"/>
                  </a:lnTo>
                  <a:lnTo>
                    <a:pt x="15757" y="21009"/>
                  </a:lnTo>
                  <a:lnTo>
                    <a:pt x="14959" y="21195"/>
                  </a:lnTo>
                  <a:lnTo>
                    <a:pt x="14087" y="21269"/>
                  </a:lnTo>
                  <a:lnTo>
                    <a:pt x="13623" y="21288"/>
                  </a:lnTo>
                  <a:lnTo>
                    <a:pt x="13159" y="21269"/>
                  </a:lnTo>
                  <a:lnTo>
                    <a:pt x="12287" y="21195"/>
                  </a:lnTo>
                  <a:lnTo>
                    <a:pt x="11470" y="21009"/>
                  </a:lnTo>
                  <a:lnTo>
                    <a:pt x="10728" y="20731"/>
                  </a:lnTo>
                  <a:lnTo>
                    <a:pt x="10394" y="20564"/>
                  </a:lnTo>
                  <a:lnTo>
                    <a:pt x="9726" y="20174"/>
                  </a:lnTo>
                  <a:lnTo>
                    <a:pt x="8612" y="19228"/>
                  </a:lnTo>
                  <a:lnTo>
                    <a:pt x="8148" y="18671"/>
                  </a:lnTo>
                  <a:lnTo>
                    <a:pt x="7721" y="18095"/>
                  </a:lnTo>
                  <a:lnTo>
                    <a:pt x="7053" y="16778"/>
                  </a:lnTo>
                  <a:lnTo>
                    <a:pt x="6812" y="16073"/>
                  </a:lnTo>
                  <a:lnTo>
                    <a:pt x="6608" y="15349"/>
                  </a:lnTo>
                  <a:lnTo>
                    <a:pt x="6385" y="13883"/>
                  </a:lnTo>
                  <a:lnTo>
                    <a:pt x="6367" y="13159"/>
                  </a:lnTo>
                  <a:lnTo>
                    <a:pt x="6385" y="12416"/>
                  </a:lnTo>
                  <a:lnTo>
                    <a:pt x="6608" y="10969"/>
                  </a:lnTo>
                  <a:lnTo>
                    <a:pt x="6812" y="10264"/>
                  </a:lnTo>
                  <a:lnTo>
                    <a:pt x="7053" y="9558"/>
                  </a:lnTo>
                  <a:lnTo>
                    <a:pt x="7721" y="8259"/>
                  </a:lnTo>
                  <a:lnTo>
                    <a:pt x="8148" y="7665"/>
                  </a:lnTo>
                  <a:lnTo>
                    <a:pt x="8612" y="7127"/>
                  </a:lnTo>
                  <a:lnTo>
                    <a:pt x="9726" y="6199"/>
                  </a:lnTo>
                  <a:lnTo>
                    <a:pt x="10394" y="5828"/>
                  </a:lnTo>
                  <a:lnTo>
                    <a:pt x="10728" y="5661"/>
                  </a:lnTo>
                  <a:lnTo>
                    <a:pt x="11470" y="5383"/>
                  </a:lnTo>
                  <a:lnTo>
                    <a:pt x="12287" y="5216"/>
                  </a:lnTo>
                  <a:lnTo>
                    <a:pt x="13159" y="5123"/>
                  </a:lnTo>
                  <a:close/>
                  <a:moveTo>
                    <a:pt x="13623" y="1"/>
                  </a:moveTo>
                  <a:lnTo>
                    <a:pt x="12918" y="19"/>
                  </a:lnTo>
                  <a:lnTo>
                    <a:pt x="11545" y="131"/>
                  </a:lnTo>
                  <a:lnTo>
                    <a:pt x="10227" y="372"/>
                  </a:lnTo>
                  <a:lnTo>
                    <a:pt x="8928" y="724"/>
                  </a:lnTo>
                  <a:lnTo>
                    <a:pt x="8297" y="947"/>
                  </a:lnTo>
                  <a:lnTo>
                    <a:pt x="7684" y="1188"/>
                  </a:lnTo>
                  <a:lnTo>
                    <a:pt x="6515" y="1745"/>
                  </a:lnTo>
                  <a:lnTo>
                    <a:pt x="5439" y="2413"/>
                  </a:lnTo>
                  <a:lnTo>
                    <a:pt x="4437" y="3174"/>
                  </a:lnTo>
                  <a:lnTo>
                    <a:pt x="3973" y="3601"/>
                  </a:lnTo>
                  <a:lnTo>
                    <a:pt x="3527" y="4046"/>
                  </a:lnTo>
                  <a:lnTo>
                    <a:pt x="2692" y="4993"/>
                  </a:lnTo>
                  <a:lnTo>
                    <a:pt x="1968" y="6032"/>
                  </a:lnTo>
                  <a:lnTo>
                    <a:pt x="1356" y="7146"/>
                  </a:lnTo>
                  <a:lnTo>
                    <a:pt x="1077" y="7758"/>
                  </a:lnTo>
                  <a:lnTo>
                    <a:pt x="818" y="8371"/>
                  </a:lnTo>
                  <a:lnTo>
                    <a:pt x="409" y="9651"/>
                  </a:lnTo>
                  <a:lnTo>
                    <a:pt x="149" y="10987"/>
                  </a:lnTo>
                  <a:lnTo>
                    <a:pt x="20" y="12416"/>
                  </a:lnTo>
                  <a:lnTo>
                    <a:pt x="1" y="13159"/>
                  </a:lnTo>
                  <a:lnTo>
                    <a:pt x="20" y="13883"/>
                  </a:lnTo>
                  <a:lnTo>
                    <a:pt x="149" y="15312"/>
                  </a:lnTo>
                  <a:lnTo>
                    <a:pt x="409" y="16666"/>
                  </a:lnTo>
                  <a:lnTo>
                    <a:pt x="818" y="17947"/>
                  </a:lnTo>
                  <a:lnTo>
                    <a:pt x="1077" y="18578"/>
                  </a:lnTo>
                  <a:lnTo>
                    <a:pt x="1356" y="19172"/>
                  </a:lnTo>
                  <a:lnTo>
                    <a:pt x="1968" y="20322"/>
                  </a:lnTo>
                  <a:lnTo>
                    <a:pt x="2692" y="21362"/>
                  </a:lnTo>
                  <a:lnTo>
                    <a:pt x="3527" y="22327"/>
                  </a:lnTo>
                  <a:lnTo>
                    <a:pt x="3973" y="22772"/>
                  </a:lnTo>
                  <a:lnTo>
                    <a:pt x="4437" y="23199"/>
                  </a:lnTo>
                  <a:lnTo>
                    <a:pt x="5439" y="23979"/>
                  </a:lnTo>
                  <a:lnTo>
                    <a:pt x="6515" y="24665"/>
                  </a:lnTo>
                  <a:lnTo>
                    <a:pt x="7684" y="25259"/>
                  </a:lnTo>
                  <a:lnTo>
                    <a:pt x="8297" y="25519"/>
                  </a:lnTo>
                  <a:lnTo>
                    <a:pt x="8928" y="25742"/>
                  </a:lnTo>
                  <a:lnTo>
                    <a:pt x="10227" y="26113"/>
                  </a:lnTo>
                  <a:lnTo>
                    <a:pt x="11545" y="26373"/>
                  </a:lnTo>
                  <a:lnTo>
                    <a:pt x="12918" y="26484"/>
                  </a:lnTo>
                  <a:lnTo>
                    <a:pt x="13623" y="26503"/>
                  </a:lnTo>
                  <a:lnTo>
                    <a:pt x="14328" y="26484"/>
                  </a:lnTo>
                  <a:lnTo>
                    <a:pt x="15683" y="26373"/>
                  </a:lnTo>
                  <a:lnTo>
                    <a:pt x="17019" y="26113"/>
                  </a:lnTo>
                  <a:lnTo>
                    <a:pt x="18300" y="25742"/>
                  </a:lnTo>
                  <a:lnTo>
                    <a:pt x="18931" y="25519"/>
                  </a:lnTo>
                  <a:lnTo>
                    <a:pt x="19562" y="25259"/>
                  </a:lnTo>
                  <a:lnTo>
                    <a:pt x="20731" y="24665"/>
                  </a:lnTo>
                  <a:lnTo>
                    <a:pt x="21808" y="23979"/>
                  </a:lnTo>
                  <a:lnTo>
                    <a:pt x="22810" y="23199"/>
                  </a:lnTo>
                  <a:lnTo>
                    <a:pt x="23274" y="22772"/>
                  </a:lnTo>
                  <a:lnTo>
                    <a:pt x="23719" y="22327"/>
                  </a:lnTo>
                  <a:lnTo>
                    <a:pt x="24536" y="21362"/>
                  </a:lnTo>
                  <a:lnTo>
                    <a:pt x="25260" y="20322"/>
                  </a:lnTo>
                  <a:lnTo>
                    <a:pt x="25891" y="19172"/>
                  </a:lnTo>
                  <a:lnTo>
                    <a:pt x="26169" y="18578"/>
                  </a:lnTo>
                  <a:lnTo>
                    <a:pt x="26429" y="17947"/>
                  </a:lnTo>
                  <a:lnTo>
                    <a:pt x="26818" y="16666"/>
                  </a:lnTo>
                  <a:lnTo>
                    <a:pt x="27097" y="15312"/>
                  </a:lnTo>
                  <a:lnTo>
                    <a:pt x="27227" y="13883"/>
                  </a:lnTo>
                  <a:lnTo>
                    <a:pt x="27227" y="13159"/>
                  </a:lnTo>
                  <a:lnTo>
                    <a:pt x="27227" y="12416"/>
                  </a:lnTo>
                  <a:lnTo>
                    <a:pt x="27097" y="10987"/>
                  </a:lnTo>
                  <a:lnTo>
                    <a:pt x="26818" y="9651"/>
                  </a:lnTo>
                  <a:lnTo>
                    <a:pt x="26429" y="8371"/>
                  </a:lnTo>
                  <a:lnTo>
                    <a:pt x="26169" y="7758"/>
                  </a:lnTo>
                  <a:lnTo>
                    <a:pt x="25891" y="7146"/>
                  </a:lnTo>
                  <a:lnTo>
                    <a:pt x="25260" y="6032"/>
                  </a:lnTo>
                  <a:lnTo>
                    <a:pt x="24536" y="4993"/>
                  </a:lnTo>
                  <a:lnTo>
                    <a:pt x="23719" y="4046"/>
                  </a:lnTo>
                  <a:lnTo>
                    <a:pt x="23274" y="3601"/>
                  </a:lnTo>
                  <a:lnTo>
                    <a:pt x="22810" y="3174"/>
                  </a:lnTo>
                  <a:lnTo>
                    <a:pt x="21808" y="2413"/>
                  </a:lnTo>
                  <a:lnTo>
                    <a:pt x="20731" y="1745"/>
                  </a:lnTo>
                  <a:lnTo>
                    <a:pt x="19562" y="1188"/>
                  </a:lnTo>
                  <a:lnTo>
                    <a:pt x="18931" y="947"/>
                  </a:lnTo>
                  <a:lnTo>
                    <a:pt x="18300" y="724"/>
                  </a:lnTo>
                  <a:lnTo>
                    <a:pt x="17019" y="372"/>
                  </a:lnTo>
                  <a:lnTo>
                    <a:pt x="15683" y="131"/>
                  </a:lnTo>
                  <a:lnTo>
                    <a:pt x="14328" y="19"/>
                  </a:lnTo>
                  <a:lnTo>
                    <a:pt x="13623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" name="Google Shape;179;p9"/>
            <p:cNvSpPr/>
            <p:nvPr/>
          </p:nvSpPr>
          <p:spPr>
            <a:xfrm>
              <a:off x="5231350" y="2663300"/>
              <a:ext cx="633825" cy="662575"/>
            </a:xfrm>
            <a:custGeom>
              <a:avLst/>
              <a:gdLst/>
              <a:ahLst/>
              <a:cxnLst/>
              <a:rect l="l" t="t" r="r" b="b"/>
              <a:pathLst>
                <a:path w="25353" h="26503" extrusionOk="0">
                  <a:moveTo>
                    <a:pt x="13196" y="4696"/>
                  </a:moveTo>
                  <a:lnTo>
                    <a:pt x="13939" y="4715"/>
                  </a:lnTo>
                  <a:lnTo>
                    <a:pt x="15256" y="4974"/>
                  </a:lnTo>
                  <a:lnTo>
                    <a:pt x="15832" y="5197"/>
                  </a:lnTo>
                  <a:lnTo>
                    <a:pt x="16388" y="5457"/>
                  </a:lnTo>
                  <a:lnTo>
                    <a:pt x="17298" y="6125"/>
                  </a:lnTo>
                  <a:lnTo>
                    <a:pt x="17687" y="6515"/>
                  </a:lnTo>
                  <a:lnTo>
                    <a:pt x="18040" y="6942"/>
                  </a:lnTo>
                  <a:lnTo>
                    <a:pt x="18578" y="7907"/>
                  </a:lnTo>
                  <a:lnTo>
                    <a:pt x="18764" y="8445"/>
                  </a:lnTo>
                  <a:lnTo>
                    <a:pt x="18912" y="9002"/>
                  </a:lnTo>
                  <a:lnTo>
                    <a:pt x="19079" y="10152"/>
                  </a:lnTo>
                  <a:lnTo>
                    <a:pt x="19098" y="10746"/>
                  </a:lnTo>
                  <a:lnTo>
                    <a:pt x="6274" y="10746"/>
                  </a:lnTo>
                  <a:lnTo>
                    <a:pt x="6329" y="10097"/>
                  </a:lnTo>
                  <a:lnTo>
                    <a:pt x="6664" y="8890"/>
                  </a:lnTo>
                  <a:lnTo>
                    <a:pt x="7202" y="7795"/>
                  </a:lnTo>
                  <a:lnTo>
                    <a:pt x="7963" y="6830"/>
                  </a:lnTo>
                  <a:lnTo>
                    <a:pt x="8427" y="6403"/>
                  </a:lnTo>
                  <a:lnTo>
                    <a:pt x="8928" y="5995"/>
                  </a:lnTo>
                  <a:lnTo>
                    <a:pt x="10023" y="5346"/>
                  </a:lnTo>
                  <a:lnTo>
                    <a:pt x="11210" y="4937"/>
                  </a:lnTo>
                  <a:lnTo>
                    <a:pt x="12510" y="4715"/>
                  </a:lnTo>
                  <a:lnTo>
                    <a:pt x="13196" y="4696"/>
                  </a:lnTo>
                  <a:close/>
                  <a:moveTo>
                    <a:pt x="13252" y="1"/>
                  </a:moveTo>
                  <a:lnTo>
                    <a:pt x="12565" y="19"/>
                  </a:lnTo>
                  <a:lnTo>
                    <a:pt x="11192" y="131"/>
                  </a:lnTo>
                  <a:lnTo>
                    <a:pt x="9893" y="372"/>
                  </a:lnTo>
                  <a:lnTo>
                    <a:pt x="8631" y="743"/>
                  </a:lnTo>
                  <a:lnTo>
                    <a:pt x="8018" y="966"/>
                  </a:lnTo>
                  <a:lnTo>
                    <a:pt x="7406" y="1226"/>
                  </a:lnTo>
                  <a:lnTo>
                    <a:pt x="6292" y="1801"/>
                  </a:lnTo>
                  <a:lnTo>
                    <a:pt x="5235" y="2469"/>
                  </a:lnTo>
                  <a:lnTo>
                    <a:pt x="4269" y="3248"/>
                  </a:lnTo>
                  <a:lnTo>
                    <a:pt x="3824" y="3675"/>
                  </a:lnTo>
                  <a:lnTo>
                    <a:pt x="3379" y="4121"/>
                  </a:lnTo>
                  <a:lnTo>
                    <a:pt x="2581" y="5086"/>
                  </a:lnTo>
                  <a:lnTo>
                    <a:pt x="1894" y="6144"/>
                  </a:lnTo>
                  <a:lnTo>
                    <a:pt x="1281" y="7294"/>
                  </a:lnTo>
                  <a:lnTo>
                    <a:pt x="1022" y="7907"/>
                  </a:lnTo>
                  <a:lnTo>
                    <a:pt x="780" y="8538"/>
                  </a:lnTo>
                  <a:lnTo>
                    <a:pt x="391" y="9837"/>
                  </a:lnTo>
                  <a:lnTo>
                    <a:pt x="149" y="11210"/>
                  </a:lnTo>
                  <a:lnTo>
                    <a:pt x="19" y="12658"/>
                  </a:lnTo>
                  <a:lnTo>
                    <a:pt x="1" y="13400"/>
                  </a:lnTo>
                  <a:lnTo>
                    <a:pt x="19" y="14161"/>
                  </a:lnTo>
                  <a:lnTo>
                    <a:pt x="149" y="15609"/>
                  </a:lnTo>
                  <a:lnTo>
                    <a:pt x="391" y="17000"/>
                  </a:lnTo>
                  <a:lnTo>
                    <a:pt x="780" y="18300"/>
                  </a:lnTo>
                  <a:lnTo>
                    <a:pt x="1022" y="18912"/>
                  </a:lnTo>
                  <a:lnTo>
                    <a:pt x="1281" y="19506"/>
                  </a:lnTo>
                  <a:lnTo>
                    <a:pt x="1894" y="20619"/>
                  </a:lnTo>
                  <a:lnTo>
                    <a:pt x="2599" y="21659"/>
                  </a:lnTo>
                  <a:lnTo>
                    <a:pt x="3397" y="22587"/>
                  </a:lnTo>
                  <a:lnTo>
                    <a:pt x="3843" y="23013"/>
                  </a:lnTo>
                  <a:lnTo>
                    <a:pt x="4288" y="23422"/>
                  </a:lnTo>
                  <a:lnTo>
                    <a:pt x="5272" y="24146"/>
                  </a:lnTo>
                  <a:lnTo>
                    <a:pt x="6348" y="24795"/>
                  </a:lnTo>
                  <a:lnTo>
                    <a:pt x="7480" y="25352"/>
                  </a:lnTo>
                  <a:lnTo>
                    <a:pt x="8093" y="25593"/>
                  </a:lnTo>
                  <a:lnTo>
                    <a:pt x="8705" y="25797"/>
                  </a:lnTo>
                  <a:lnTo>
                    <a:pt x="10004" y="26150"/>
                  </a:lnTo>
                  <a:lnTo>
                    <a:pt x="11340" y="26373"/>
                  </a:lnTo>
                  <a:lnTo>
                    <a:pt x="12732" y="26484"/>
                  </a:lnTo>
                  <a:lnTo>
                    <a:pt x="13475" y="26503"/>
                  </a:lnTo>
                  <a:lnTo>
                    <a:pt x="14236" y="26484"/>
                  </a:lnTo>
                  <a:lnTo>
                    <a:pt x="15683" y="26373"/>
                  </a:lnTo>
                  <a:lnTo>
                    <a:pt x="17075" y="26131"/>
                  </a:lnTo>
                  <a:lnTo>
                    <a:pt x="18374" y="25760"/>
                  </a:lnTo>
                  <a:lnTo>
                    <a:pt x="19599" y="25296"/>
                  </a:lnTo>
                  <a:lnTo>
                    <a:pt x="20731" y="24684"/>
                  </a:lnTo>
                  <a:lnTo>
                    <a:pt x="21789" y="23960"/>
                  </a:lnTo>
                  <a:lnTo>
                    <a:pt x="22773" y="23125"/>
                  </a:lnTo>
                  <a:lnTo>
                    <a:pt x="23237" y="22661"/>
                  </a:lnTo>
                  <a:lnTo>
                    <a:pt x="23422" y="22420"/>
                  </a:lnTo>
                  <a:lnTo>
                    <a:pt x="23608" y="21863"/>
                  </a:lnTo>
                  <a:lnTo>
                    <a:pt x="23552" y="21288"/>
                  </a:lnTo>
                  <a:lnTo>
                    <a:pt x="23274" y="20768"/>
                  </a:lnTo>
                  <a:lnTo>
                    <a:pt x="23051" y="20564"/>
                  </a:lnTo>
                  <a:lnTo>
                    <a:pt x="21158" y="19042"/>
                  </a:lnTo>
                  <a:lnTo>
                    <a:pt x="20935" y="18875"/>
                  </a:lnTo>
                  <a:lnTo>
                    <a:pt x="20434" y="18726"/>
                  </a:lnTo>
                  <a:lnTo>
                    <a:pt x="19915" y="18745"/>
                  </a:lnTo>
                  <a:lnTo>
                    <a:pt x="19432" y="18949"/>
                  </a:lnTo>
                  <a:lnTo>
                    <a:pt x="19246" y="19135"/>
                  </a:lnTo>
                  <a:lnTo>
                    <a:pt x="18820" y="19543"/>
                  </a:lnTo>
                  <a:lnTo>
                    <a:pt x="17892" y="20230"/>
                  </a:lnTo>
                  <a:lnTo>
                    <a:pt x="17372" y="20527"/>
                  </a:lnTo>
                  <a:lnTo>
                    <a:pt x="16964" y="20731"/>
                  </a:lnTo>
                  <a:lnTo>
                    <a:pt x="16073" y="21046"/>
                  </a:lnTo>
                  <a:lnTo>
                    <a:pt x="15071" y="21269"/>
                  </a:lnTo>
                  <a:lnTo>
                    <a:pt x="13994" y="21380"/>
                  </a:lnTo>
                  <a:lnTo>
                    <a:pt x="13419" y="21380"/>
                  </a:lnTo>
                  <a:lnTo>
                    <a:pt x="12732" y="21362"/>
                  </a:lnTo>
                  <a:lnTo>
                    <a:pt x="11433" y="21120"/>
                  </a:lnTo>
                  <a:lnTo>
                    <a:pt x="10802" y="20916"/>
                  </a:lnTo>
                  <a:lnTo>
                    <a:pt x="10190" y="20657"/>
                  </a:lnTo>
                  <a:lnTo>
                    <a:pt x="9076" y="20026"/>
                  </a:lnTo>
                  <a:lnTo>
                    <a:pt x="8557" y="19636"/>
                  </a:lnTo>
                  <a:lnTo>
                    <a:pt x="8074" y="19209"/>
                  </a:lnTo>
                  <a:lnTo>
                    <a:pt x="7295" y="18244"/>
                  </a:lnTo>
                  <a:lnTo>
                    <a:pt x="6979" y="17706"/>
                  </a:lnTo>
                  <a:lnTo>
                    <a:pt x="6682" y="17130"/>
                  </a:lnTo>
                  <a:lnTo>
                    <a:pt x="6329" y="15905"/>
                  </a:lnTo>
                  <a:lnTo>
                    <a:pt x="6274" y="15237"/>
                  </a:lnTo>
                  <a:lnTo>
                    <a:pt x="23905" y="15237"/>
                  </a:lnTo>
                  <a:lnTo>
                    <a:pt x="24202" y="15200"/>
                  </a:lnTo>
                  <a:lnTo>
                    <a:pt x="24721" y="14996"/>
                  </a:lnTo>
                  <a:lnTo>
                    <a:pt x="25111" y="14606"/>
                  </a:lnTo>
                  <a:lnTo>
                    <a:pt x="25334" y="14087"/>
                  </a:lnTo>
                  <a:lnTo>
                    <a:pt x="25352" y="13790"/>
                  </a:lnTo>
                  <a:lnTo>
                    <a:pt x="25352" y="13567"/>
                  </a:lnTo>
                  <a:lnTo>
                    <a:pt x="25352" y="12713"/>
                  </a:lnTo>
                  <a:lnTo>
                    <a:pt x="25222" y="11136"/>
                  </a:lnTo>
                  <a:lnTo>
                    <a:pt x="25000" y="9651"/>
                  </a:lnTo>
                  <a:lnTo>
                    <a:pt x="24666" y="8278"/>
                  </a:lnTo>
                  <a:lnTo>
                    <a:pt x="24443" y="7647"/>
                  </a:lnTo>
                  <a:lnTo>
                    <a:pt x="24202" y="7016"/>
                  </a:lnTo>
                  <a:lnTo>
                    <a:pt x="23663" y="5847"/>
                  </a:lnTo>
                  <a:lnTo>
                    <a:pt x="23032" y="4807"/>
                  </a:lnTo>
                  <a:lnTo>
                    <a:pt x="22309" y="3842"/>
                  </a:lnTo>
                  <a:lnTo>
                    <a:pt x="21919" y="3415"/>
                  </a:lnTo>
                  <a:lnTo>
                    <a:pt x="21511" y="3007"/>
                  </a:lnTo>
                  <a:lnTo>
                    <a:pt x="20620" y="2265"/>
                  </a:lnTo>
                  <a:lnTo>
                    <a:pt x="19655" y="1615"/>
                  </a:lnTo>
                  <a:lnTo>
                    <a:pt x="18634" y="1096"/>
                  </a:lnTo>
                  <a:lnTo>
                    <a:pt x="18077" y="873"/>
                  </a:lnTo>
                  <a:lnTo>
                    <a:pt x="17520" y="650"/>
                  </a:lnTo>
                  <a:lnTo>
                    <a:pt x="16370" y="335"/>
                  </a:lnTo>
                  <a:lnTo>
                    <a:pt x="15163" y="112"/>
                  </a:lnTo>
                  <a:lnTo>
                    <a:pt x="13901" y="19"/>
                  </a:lnTo>
                  <a:lnTo>
                    <a:pt x="13252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" name="Google Shape;180;p9"/>
            <p:cNvSpPr/>
            <p:nvPr/>
          </p:nvSpPr>
          <p:spPr>
            <a:xfrm>
              <a:off x="5884625" y="2663300"/>
              <a:ext cx="579075" cy="659800"/>
            </a:xfrm>
            <a:custGeom>
              <a:avLst/>
              <a:gdLst/>
              <a:ahLst/>
              <a:cxnLst/>
              <a:rect l="l" t="t" r="r" b="b"/>
              <a:pathLst>
                <a:path w="23163" h="26392" extrusionOk="0">
                  <a:moveTo>
                    <a:pt x="17223" y="14347"/>
                  </a:moveTo>
                  <a:lnTo>
                    <a:pt x="17223" y="15237"/>
                  </a:lnTo>
                  <a:lnTo>
                    <a:pt x="17205" y="15961"/>
                  </a:lnTo>
                  <a:lnTo>
                    <a:pt x="17001" y="17297"/>
                  </a:lnTo>
                  <a:lnTo>
                    <a:pt x="16574" y="18467"/>
                  </a:lnTo>
                  <a:lnTo>
                    <a:pt x="15943" y="19487"/>
                  </a:lnTo>
                  <a:lnTo>
                    <a:pt x="15553" y="19933"/>
                  </a:lnTo>
                  <a:lnTo>
                    <a:pt x="15108" y="20341"/>
                  </a:lnTo>
                  <a:lnTo>
                    <a:pt x="14087" y="20991"/>
                  </a:lnTo>
                  <a:lnTo>
                    <a:pt x="12862" y="21417"/>
                  </a:lnTo>
                  <a:lnTo>
                    <a:pt x="11433" y="21640"/>
                  </a:lnTo>
                  <a:lnTo>
                    <a:pt x="10653" y="21659"/>
                  </a:lnTo>
                  <a:lnTo>
                    <a:pt x="9855" y="21622"/>
                  </a:lnTo>
                  <a:lnTo>
                    <a:pt x="9076" y="21492"/>
                  </a:lnTo>
                  <a:lnTo>
                    <a:pt x="8705" y="21417"/>
                  </a:lnTo>
                  <a:lnTo>
                    <a:pt x="8000" y="21158"/>
                  </a:lnTo>
                  <a:lnTo>
                    <a:pt x="7666" y="20972"/>
                  </a:lnTo>
                  <a:lnTo>
                    <a:pt x="7369" y="20786"/>
                  </a:lnTo>
                  <a:lnTo>
                    <a:pt x="6867" y="20304"/>
                  </a:lnTo>
                  <a:lnTo>
                    <a:pt x="6645" y="20007"/>
                  </a:lnTo>
                  <a:lnTo>
                    <a:pt x="6478" y="19691"/>
                  </a:lnTo>
                  <a:lnTo>
                    <a:pt x="6274" y="18949"/>
                  </a:lnTo>
                  <a:lnTo>
                    <a:pt x="6255" y="18522"/>
                  </a:lnTo>
                  <a:lnTo>
                    <a:pt x="6274" y="18170"/>
                  </a:lnTo>
                  <a:lnTo>
                    <a:pt x="6385" y="17557"/>
                  </a:lnTo>
                  <a:lnTo>
                    <a:pt x="6626" y="17000"/>
                  </a:lnTo>
                  <a:lnTo>
                    <a:pt x="6979" y="16518"/>
                  </a:lnTo>
                  <a:lnTo>
                    <a:pt x="7202" y="16314"/>
                  </a:lnTo>
                  <a:lnTo>
                    <a:pt x="7684" y="15924"/>
                  </a:lnTo>
                  <a:lnTo>
                    <a:pt x="8872" y="15293"/>
                  </a:lnTo>
                  <a:lnTo>
                    <a:pt x="9540" y="15052"/>
                  </a:lnTo>
                  <a:lnTo>
                    <a:pt x="10264" y="14848"/>
                  </a:lnTo>
                  <a:lnTo>
                    <a:pt x="11804" y="14551"/>
                  </a:lnTo>
                  <a:lnTo>
                    <a:pt x="12621" y="14476"/>
                  </a:lnTo>
                  <a:lnTo>
                    <a:pt x="14272" y="14365"/>
                  </a:lnTo>
                  <a:lnTo>
                    <a:pt x="15813" y="14347"/>
                  </a:lnTo>
                  <a:close/>
                  <a:moveTo>
                    <a:pt x="12008" y="1"/>
                  </a:moveTo>
                  <a:lnTo>
                    <a:pt x="11284" y="19"/>
                  </a:lnTo>
                  <a:lnTo>
                    <a:pt x="9855" y="131"/>
                  </a:lnTo>
                  <a:lnTo>
                    <a:pt x="8445" y="390"/>
                  </a:lnTo>
                  <a:lnTo>
                    <a:pt x="7035" y="762"/>
                  </a:lnTo>
                  <a:lnTo>
                    <a:pt x="6348" y="1003"/>
                  </a:lnTo>
                  <a:lnTo>
                    <a:pt x="5327" y="1374"/>
                  </a:lnTo>
                  <a:lnTo>
                    <a:pt x="3434" y="2376"/>
                  </a:lnTo>
                  <a:lnTo>
                    <a:pt x="2580" y="3007"/>
                  </a:lnTo>
                  <a:lnTo>
                    <a:pt x="2339" y="3193"/>
                  </a:lnTo>
                  <a:lnTo>
                    <a:pt x="2061" y="3712"/>
                  </a:lnTo>
                  <a:lnTo>
                    <a:pt x="2005" y="4269"/>
                  </a:lnTo>
                  <a:lnTo>
                    <a:pt x="2191" y="4845"/>
                  </a:lnTo>
                  <a:lnTo>
                    <a:pt x="2358" y="5086"/>
                  </a:lnTo>
                  <a:lnTo>
                    <a:pt x="3712" y="6663"/>
                  </a:lnTo>
                  <a:lnTo>
                    <a:pt x="3898" y="6867"/>
                  </a:lnTo>
                  <a:lnTo>
                    <a:pt x="4381" y="7127"/>
                  </a:lnTo>
                  <a:lnTo>
                    <a:pt x="4900" y="7183"/>
                  </a:lnTo>
                  <a:lnTo>
                    <a:pt x="5420" y="7053"/>
                  </a:lnTo>
                  <a:lnTo>
                    <a:pt x="5661" y="6905"/>
                  </a:lnTo>
                  <a:lnTo>
                    <a:pt x="6107" y="6589"/>
                  </a:lnTo>
                  <a:lnTo>
                    <a:pt x="7127" y="5995"/>
                  </a:lnTo>
                  <a:lnTo>
                    <a:pt x="7684" y="5735"/>
                  </a:lnTo>
                  <a:lnTo>
                    <a:pt x="8129" y="5550"/>
                  </a:lnTo>
                  <a:lnTo>
                    <a:pt x="9057" y="5234"/>
                  </a:lnTo>
                  <a:lnTo>
                    <a:pt x="10022" y="5012"/>
                  </a:lnTo>
                  <a:lnTo>
                    <a:pt x="10988" y="4919"/>
                  </a:lnTo>
                  <a:lnTo>
                    <a:pt x="11489" y="4900"/>
                  </a:lnTo>
                  <a:lnTo>
                    <a:pt x="12064" y="4919"/>
                  </a:lnTo>
                  <a:lnTo>
                    <a:pt x="13159" y="5049"/>
                  </a:lnTo>
                  <a:lnTo>
                    <a:pt x="14161" y="5346"/>
                  </a:lnTo>
                  <a:lnTo>
                    <a:pt x="15089" y="5754"/>
                  </a:lnTo>
                  <a:lnTo>
                    <a:pt x="15534" y="6032"/>
                  </a:lnTo>
                  <a:lnTo>
                    <a:pt x="15924" y="6311"/>
                  </a:lnTo>
                  <a:lnTo>
                    <a:pt x="16574" y="7034"/>
                  </a:lnTo>
                  <a:lnTo>
                    <a:pt x="16982" y="7907"/>
                  </a:lnTo>
                  <a:lnTo>
                    <a:pt x="17205" y="8927"/>
                  </a:lnTo>
                  <a:lnTo>
                    <a:pt x="17223" y="9484"/>
                  </a:lnTo>
                  <a:lnTo>
                    <a:pt x="17223" y="10115"/>
                  </a:lnTo>
                  <a:lnTo>
                    <a:pt x="15757" y="10134"/>
                  </a:lnTo>
                  <a:lnTo>
                    <a:pt x="12769" y="10282"/>
                  </a:lnTo>
                  <a:lnTo>
                    <a:pt x="11247" y="10412"/>
                  </a:lnTo>
                  <a:lnTo>
                    <a:pt x="9744" y="10579"/>
                  </a:lnTo>
                  <a:lnTo>
                    <a:pt x="7647" y="11006"/>
                  </a:lnTo>
                  <a:lnTo>
                    <a:pt x="6329" y="11359"/>
                  </a:lnTo>
                  <a:lnTo>
                    <a:pt x="5698" y="11581"/>
                  </a:lnTo>
                  <a:lnTo>
                    <a:pt x="5067" y="11804"/>
                  </a:lnTo>
                  <a:lnTo>
                    <a:pt x="3935" y="12361"/>
                  </a:lnTo>
                  <a:lnTo>
                    <a:pt x="2914" y="12992"/>
                  </a:lnTo>
                  <a:lnTo>
                    <a:pt x="2005" y="13734"/>
                  </a:lnTo>
                  <a:lnTo>
                    <a:pt x="1597" y="14142"/>
                  </a:lnTo>
                  <a:lnTo>
                    <a:pt x="1207" y="14569"/>
                  </a:lnTo>
                  <a:lnTo>
                    <a:pt x="613" y="15553"/>
                  </a:lnTo>
                  <a:lnTo>
                    <a:pt x="223" y="16666"/>
                  </a:lnTo>
                  <a:lnTo>
                    <a:pt x="19" y="17928"/>
                  </a:lnTo>
                  <a:lnTo>
                    <a:pt x="1" y="18615"/>
                  </a:lnTo>
                  <a:lnTo>
                    <a:pt x="19" y="19172"/>
                  </a:lnTo>
                  <a:lnTo>
                    <a:pt x="131" y="20174"/>
                  </a:lnTo>
                  <a:lnTo>
                    <a:pt x="353" y="21083"/>
                  </a:lnTo>
                  <a:lnTo>
                    <a:pt x="706" y="21919"/>
                  </a:lnTo>
                  <a:lnTo>
                    <a:pt x="910" y="22308"/>
                  </a:lnTo>
                  <a:lnTo>
                    <a:pt x="1151" y="22661"/>
                  </a:lnTo>
                  <a:lnTo>
                    <a:pt x="1671" y="23348"/>
                  </a:lnTo>
                  <a:lnTo>
                    <a:pt x="2246" y="23941"/>
                  </a:lnTo>
                  <a:lnTo>
                    <a:pt x="2877" y="24461"/>
                  </a:lnTo>
                  <a:lnTo>
                    <a:pt x="3211" y="24702"/>
                  </a:lnTo>
                  <a:lnTo>
                    <a:pt x="3917" y="25129"/>
                  </a:lnTo>
                  <a:lnTo>
                    <a:pt x="5420" y="25779"/>
                  </a:lnTo>
                  <a:lnTo>
                    <a:pt x="6236" y="26001"/>
                  </a:lnTo>
                  <a:lnTo>
                    <a:pt x="7053" y="26187"/>
                  </a:lnTo>
                  <a:lnTo>
                    <a:pt x="8631" y="26373"/>
                  </a:lnTo>
                  <a:lnTo>
                    <a:pt x="9391" y="26391"/>
                  </a:lnTo>
                  <a:lnTo>
                    <a:pt x="10060" y="26391"/>
                  </a:lnTo>
                  <a:lnTo>
                    <a:pt x="11303" y="26243"/>
                  </a:lnTo>
                  <a:lnTo>
                    <a:pt x="12491" y="25983"/>
                  </a:lnTo>
                  <a:lnTo>
                    <a:pt x="13604" y="25575"/>
                  </a:lnTo>
                  <a:lnTo>
                    <a:pt x="14143" y="25315"/>
                  </a:lnTo>
                  <a:lnTo>
                    <a:pt x="14644" y="25055"/>
                  </a:lnTo>
                  <a:lnTo>
                    <a:pt x="15553" y="24442"/>
                  </a:lnTo>
                  <a:lnTo>
                    <a:pt x="16314" y="23756"/>
                  </a:lnTo>
                  <a:lnTo>
                    <a:pt x="16926" y="22995"/>
                  </a:lnTo>
                  <a:lnTo>
                    <a:pt x="17168" y="22587"/>
                  </a:lnTo>
                  <a:lnTo>
                    <a:pt x="17316" y="22587"/>
                  </a:lnTo>
                  <a:lnTo>
                    <a:pt x="17316" y="24313"/>
                  </a:lnTo>
                  <a:lnTo>
                    <a:pt x="17335" y="24610"/>
                  </a:lnTo>
                  <a:lnTo>
                    <a:pt x="17557" y="25129"/>
                  </a:lnTo>
                  <a:lnTo>
                    <a:pt x="17947" y="25519"/>
                  </a:lnTo>
                  <a:lnTo>
                    <a:pt x="18467" y="25742"/>
                  </a:lnTo>
                  <a:lnTo>
                    <a:pt x="18764" y="25760"/>
                  </a:lnTo>
                  <a:lnTo>
                    <a:pt x="21715" y="25760"/>
                  </a:lnTo>
                  <a:lnTo>
                    <a:pt x="22011" y="25742"/>
                  </a:lnTo>
                  <a:lnTo>
                    <a:pt x="22531" y="25519"/>
                  </a:lnTo>
                  <a:lnTo>
                    <a:pt x="22921" y="25129"/>
                  </a:lnTo>
                  <a:lnTo>
                    <a:pt x="23144" y="24610"/>
                  </a:lnTo>
                  <a:lnTo>
                    <a:pt x="23162" y="24313"/>
                  </a:lnTo>
                  <a:lnTo>
                    <a:pt x="23162" y="10542"/>
                  </a:lnTo>
                  <a:lnTo>
                    <a:pt x="23144" y="9596"/>
                  </a:lnTo>
                  <a:lnTo>
                    <a:pt x="22902" y="7721"/>
                  </a:lnTo>
                  <a:lnTo>
                    <a:pt x="22661" y="6775"/>
                  </a:lnTo>
                  <a:lnTo>
                    <a:pt x="22531" y="6311"/>
                  </a:lnTo>
                  <a:lnTo>
                    <a:pt x="22197" y="5420"/>
                  </a:lnTo>
                  <a:lnTo>
                    <a:pt x="21752" y="4566"/>
                  </a:lnTo>
                  <a:lnTo>
                    <a:pt x="21232" y="3768"/>
                  </a:lnTo>
                  <a:lnTo>
                    <a:pt x="20917" y="3378"/>
                  </a:lnTo>
                  <a:lnTo>
                    <a:pt x="20917" y="3397"/>
                  </a:lnTo>
                  <a:lnTo>
                    <a:pt x="20601" y="3026"/>
                  </a:lnTo>
                  <a:lnTo>
                    <a:pt x="19859" y="2339"/>
                  </a:lnTo>
                  <a:lnTo>
                    <a:pt x="19005" y="1727"/>
                  </a:lnTo>
                  <a:lnTo>
                    <a:pt x="18040" y="1188"/>
                  </a:lnTo>
                  <a:lnTo>
                    <a:pt x="17502" y="947"/>
                  </a:lnTo>
                  <a:lnTo>
                    <a:pt x="16945" y="724"/>
                  </a:lnTo>
                  <a:lnTo>
                    <a:pt x="15720" y="372"/>
                  </a:lnTo>
                  <a:lnTo>
                    <a:pt x="14347" y="131"/>
                  </a:lnTo>
                  <a:lnTo>
                    <a:pt x="12825" y="19"/>
                  </a:lnTo>
                  <a:lnTo>
                    <a:pt x="12008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" name="Google Shape;181;p9"/>
            <p:cNvSpPr/>
            <p:nvPr/>
          </p:nvSpPr>
          <p:spPr>
            <a:xfrm>
              <a:off x="6545800" y="2664225"/>
              <a:ext cx="373975" cy="643550"/>
            </a:xfrm>
            <a:custGeom>
              <a:avLst/>
              <a:gdLst/>
              <a:ahLst/>
              <a:cxnLst/>
              <a:rect l="l" t="t" r="r" b="b"/>
              <a:pathLst>
                <a:path w="14959" h="25742" extrusionOk="0">
                  <a:moveTo>
                    <a:pt x="13400" y="1"/>
                  </a:moveTo>
                  <a:lnTo>
                    <a:pt x="13400" y="19"/>
                  </a:lnTo>
                  <a:lnTo>
                    <a:pt x="12639" y="75"/>
                  </a:lnTo>
                  <a:lnTo>
                    <a:pt x="11339" y="279"/>
                  </a:lnTo>
                  <a:lnTo>
                    <a:pt x="10300" y="613"/>
                  </a:lnTo>
                  <a:lnTo>
                    <a:pt x="9409" y="1059"/>
                  </a:lnTo>
                  <a:lnTo>
                    <a:pt x="9020" y="1318"/>
                  </a:lnTo>
                  <a:lnTo>
                    <a:pt x="8556" y="1671"/>
                  </a:lnTo>
                  <a:lnTo>
                    <a:pt x="7721" y="2451"/>
                  </a:lnTo>
                  <a:lnTo>
                    <a:pt x="6997" y="3341"/>
                  </a:lnTo>
                  <a:lnTo>
                    <a:pt x="6366" y="4325"/>
                  </a:lnTo>
                  <a:lnTo>
                    <a:pt x="6106" y="4863"/>
                  </a:lnTo>
                  <a:lnTo>
                    <a:pt x="5995" y="4863"/>
                  </a:lnTo>
                  <a:lnTo>
                    <a:pt x="5995" y="2135"/>
                  </a:lnTo>
                  <a:lnTo>
                    <a:pt x="5976" y="1838"/>
                  </a:lnTo>
                  <a:lnTo>
                    <a:pt x="5753" y="1318"/>
                  </a:lnTo>
                  <a:lnTo>
                    <a:pt x="5364" y="929"/>
                  </a:lnTo>
                  <a:lnTo>
                    <a:pt x="4844" y="706"/>
                  </a:lnTo>
                  <a:lnTo>
                    <a:pt x="4547" y="687"/>
                  </a:lnTo>
                  <a:lnTo>
                    <a:pt x="1448" y="687"/>
                  </a:lnTo>
                  <a:lnTo>
                    <a:pt x="1151" y="706"/>
                  </a:lnTo>
                  <a:lnTo>
                    <a:pt x="631" y="929"/>
                  </a:lnTo>
                  <a:lnTo>
                    <a:pt x="241" y="1318"/>
                  </a:lnTo>
                  <a:lnTo>
                    <a:pt x="19" y="1838"/>
                  </a:lnTo>
                  <a:lnTo>
                    <a:pt x="0" y="2135"/>
                  </a:lnTo>
                  <a:lnTo>
                    <a:pt x="0" y="24276"/>
                  </a:lnTo>
                  <a:lnTo>
                    <a:pt x="19" y="24573"/>
                  </a:lnTo>
                  <a:lnTo>
                    <a:pt x="241" y="25092"/>
                  </a:lnTo>
                  <a:lnTo>
                    <a:pt x="631" y="25500"/>
                  </a:lnTo>
                  <a:lnTo>
                    <a:pt x="1151" y="25705"/>
                  </a:lnTo>
                  <a:lnTo>
                    <a:pt x="1448" y="25742"/>
                  </a:lnTo>
                  <a:lnTo>
                    <a:pt x="4807" y="25742"/>
                  </a:lnTo>
                  <a:lnTo>
                    <a:pt x="5104" y="25705"/>
                  </a:lnTo>
                  <a:lnTo>
                    <a:pt x="5623" y="25500"/>
                  </a:lnTo>
                  <a:lnTo>
                    <a:pt x="6013" y="25092"/>
                  </a:lnTo>
                  <a:lnTo>
                    <a:pt x="6236" y="24573"/>
                  </a:lnTo>
                  <a:lnTo>
                    <a:pt x="6254" y="24276"/>
                  </a:lnTo>
                  <a:lnTo>
                    <a:pt x="6254" y="12324"/>
                  </a:lnTo>
                  <a:lnTo>
                    <a:pt x="6273" y="11971"/>
                  </a:lnTo>
                  <a:lnTo>
                    <a:pt x="6403" y="11062"/>
                  </a:lnTo>
                  <a:lnTo>
                    <a:pt x="6514" y="10505"/>
                  </a:lnTo>
                  <a:lnTo>
                    <a:pt x="6663" y="9930"/>
                  </a:lnTo>
                  <a:lnTo>
                    <a:pt x="7164" y="8816"/>
                  </a:lnTo>
                  <a:lnTo>
                    <a:pt x="7516" y="8259"/>
                  </a:lnTo>
                  <a:lnTo>
                    <a:pt x="7906" y="7721"/>
                  </a:lnTo>
                  <a:lnTo>
                    <a:pt x="8908" y="6775"/>
                  </a:lnTo>
                  <a:lnTo>
                    <a:pt x="9539" y="6385"/>
                  </a:lnTo>
                  <a:lnTo>
                    <a:pt x="10170" y="6014"/>
                  </a:lnTo>
                  <a:lnTo>
                    <a:pt x="11636" y="5439"/>
                  </a:lnTo>
                  <a:lnTo>
                    <a:pt x="12917" y="5142"/>
                  </a:lnTo>
                  <a:lnTo>
                    <a:pt x="13678" y="5030"/>
                  </a:lnTo>
                  <a:lnTo>
                    <a:pt x="13938" y="4993"/>
                  </a:lnTo>
                  <a:lnTo>
                    <a:pt x="14420" y="4752"/>
                  </a:lnTo>
                  <a:lnTo>
                    <a:pt x="14754" y="4344"/>
                  </a:lnTo>
                  <a:lnTo>
                    <a:pt x="14940" y="3861"/>
                  </a:lnTo>
                  <a:lnTo>
                    <a:pt x="14958" y="3583"/>
                  </a:lnTo>
                  <a:lnTo>
                    <a:pt x="14940" y="1430"/>
                  </a:lnTo>
                  <a:lnTo>
                    <a:pt x="14903" y="1133"/>
                  </a:lnTo>
                  <a:lnTo>
                    <a:pt x="14661" y="595"/>
                  </a:lnTo>
                  <a:lnTo>
                    <a:pt x="14253" y="205"/>
                  </a:lnTo>
                  <a:lnTo>
                    <a:pt x="13696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" name="Google Shape;182;p9"/>
            <p:cNvSpPr/>
            <p:nvPr/>
          </p:nvSpPr>
          <p:spPr>
            <a:xfrm>
              <a:off x="6961975" y="2500450"/>
              <a:ext cx="420375" cy="820325"/>
            </a:xfrm>
            <a:custGeom>
              <a:avLst/>
              <a:gdLst/>
              <a:ahLst/>
              <a:cxnLst/>
              <a:rect l="l" t="t" r="r" b="b"/>
              <a:pathLst>
                <a:path w="16815" h="32813" extrusionOk="0">
                  <a:moveTo>
                    <a:pt x="5846" y="1"/>
                  </a:moveTo>
                  <a:lnTo>
                    <a:pt x="5549" y="19"/>
                  </a:lnTo>
                  <a:lnTo>
                    <a:pt x="5030" y="242"/>
                  </a:lnTo>
                  <a:lnTo>
                    <a:pt x="4621" y="632"/>
                  </a:lnTo>
                  <a:lnTo>
                    <a:pt x="4417" y="1151"/>
                  </a:lnTo>
                  <a:lnTo>
                    <a:pt x="4399" y="1448"/>
                  </a:lnTo>
                  <a:lnTo>
                    <a:pt x="4399" y="6515"/>
                  </a:lnTo>
                  <a:lnTo>
                    <a:pt x="1448" y="6515"/>
                  </a:lnTo>
                  <a:lnTo>
                    <a:pt x="1169" y="6533"/>
                  </a:lnTo>
                  <a:lnTo>
                    <a:pt x="650" y="6756"/>
                  </a:lnTo>
                  <a:lnTo>
                    <a:pt x="242" y="7146"/>
                  </a:lnTo>
                  <a:lnTo>
                    <a:pt x="19" y="7665"/>
                  </a:lnTo>
                  <a:lnTo>
                    <a:pt x="0" y="7962"/>
                  </a:lnTo>
                  <a:lnTo>
                    <a:pt x="0" y="10078"/>
                  </a:lnTo>
                  <a:lnTo>
                    <a:pt x="19" y="10375"/>
                  </a:lnTo>
                  <a:lnTo>
                    <a:pt x="242" y="10895"/>
                  </a:lnTo>
                  <a:lnTo>
                    <a:pt x="650" y="11284"/>
                  </a:lnTo>
                  <a:lnTo>
                    <a:pt x="1169" y="11507"/>
                  </a:lnTo>
                  <a:lnTo>
                    <a:pt x="1448" y="11526"/>
                  </a:lnTo>
                  <a:lnTo>
                    <a:pt x="4399" y="11526"/>
                  </a:lnTo>
                  <a:lnTo>
                    <a:pt x="4399" y="23941"/>
                  </a:lnTo>
                  <a:lnTo>
                    <a:pt x="4399" y="24851"/>
                  </a:lnTo>
                  <a:lnTo>
                    <a:pt x="4566" y="26558"/>
                  </a:lnTo>
                  <a:lnTo>
                    <a:pt x="4733" y="27356"/>
                  </a:lnTo>
                  <a:lnTo>
                    <a:pt x="4918" y="28136"/>
                  </a:lnTo>
                  <a:lnTo>
                    <a:pt x="5549" y="29546"/>
                  </a:lnTo>
                  <a:lnTo>
                    <a:pt x="5976" y="30177"/>
                  </a:lnTo>
                  <a:lnTo>
                    <a:pt x="6217" y="30474"/>
                  </a:lnTo>
                  <a:lnTo>
                    <a:pt x="6756" y="31031"/>
                  </a:lnTo>
                  <a:lnTo>
                    <a:pt x="7368" y="31513"/>
                  </a:lnTo>
                  <a:lnTo>
                    <a:pt x="8073" y="31922"/>
                  </a:lnTo>
                  <a:lnTo>
                    <a:pt x="8463" y="32107"/>
                  </a:lnTo>
                  <a:lnTo>
                    <a:pt x="8853" y="32274"/>
                  </a:lnTo>
                  <a:lnTo>
                    <a:pt x="9762" y="32534"/>
                  </a:lnTo>
                  <a:lnTo>
                    <a:pt x="10783" y="32720"/>
                  </a:lnTo>
                  <a:lnTo>
                    <a:pt x="11915" y="32794"/>
                  </a:lnTo>
                  <a:lnTo>
                    <a:pt x="12527" y="32812"/>
                  </a:lnTo>
                  <a:lnTo>
                    <a:pt x="13047" y="32794"/>
                  </a:lnTo>
                  <a:lnTo>
                    <a:pt x="14142" y="32701"/>
                  </a:lnTo>
                  <a:lnTo>
                    <a:pt x="14717" y="32627"/>
                  </a:lnTo>
                  <a:lnTo>
                    <a:pt x="15274" y="32534"/>
                  </a:lnTo>
                  <a:lnTo>
                    <a:pt x="16276" y="32274"/>
                  </a:lnTo>
                  <a:lnTo>
                    <a:pt x="16703" y="32126"/>
                  </a:lnTo>
                  <a:lnTo>
                    <a:pt x="16499" y="27226"/>
                  </a:lnTo>
                  <a:lnTo>
                    <a:pt x="15887" y="27467"/>
                  </a:lnTo>
                  <a:lnTo>
                    <a:pt x="15181" y="27616"/>
                  </a:lnTo>
                  <a:lnTo>
                    <a:pt x="14476" y="27727"/>
                  </a:lnTo>
                  <a:lnTo>
                    <a:pt x="13827" y="27746"/>
                  </a:lnTo>
                  <a:lnTo>
                    <a:pt x="13326" y="27746"/>
                  </a:lnTo>
                  <a:lnTo>
                    <a:pt x="12472" y="27597"/>
                  </a:lnTo>
                  <a:lnTo>
                    <a:pt x="11804" y="27319"/>
                  </a:lnTo>
                  <a:lnTo>
                    <a:pt x="11303" y="26911"/>
                  </a:lnTo>
                  <a:lnTo>
                    <a:pt x="11154" y="26651"/>
                  </a:lnTo>
                  <a:lnTo>
                    <a:pt x="11006" y="26372"/>
                  </a:lnTo>
                  <a:lnTo>
                    <a:pt x="10783" y="25760"/>
                  </a:lnTo>
                  <a:lnTo>
                    <a:pt x="10560" y="24702"/>
                  </a:lnTo>
                  <a:lnTo>
                    <a:pt x="10542" y="23886"/>
                  </a:lnTo>
                  <a:lnTo>
                    <a:pt x="10542" y="11526"/>
                  </a:lnTo>
                  <a:lnTo>
                    <a:pt x="15367" y="11526"/>
                  </a:lnTo>
                  <a:lnTo>
                    <a:pt x="15645" y="11507"/>
                  </a:lnTo>
                  <a:lnTo>
                    <a:pt x="16165" y="11284"/>
                  </a:lnTo>
                  <a:lnTo>
                    <a:pt x="16573" y="10895"/>
                  </a:lnTo>
                  <a:lnTo>
                    <a:pt x="16796" y="10375"/>
                  </a:lnTo>
                  <a:lnTo>
                    <a:pt x="16815" y="10078"/>
                  </a:lnTo>
                  <a:lnTo>
                    <a:pt x="16815" y="7962"/>
                  </a:lnTo>
                  <a:lnTo>
                    <a:pt x="16796" y="7665"/>
                  </a:lnTo>
                  <a:lnTo>
                    <a:pt x="16573" y="7146"/>
                  </a:lnTo>
                  <a:lnTo>
                    <a:pt x="16165" y="6756"/>
                  </a:lnTo>
                  <a:lnTo>
                    <a:pt x="15645" y="6533"/>
                  </a:lnTo>
                  <a:lnTo>
                    <a:pt x="15367" y="6515"/>
                  </a:lnTo>
                  <a:lnTo>
                    <a:pt x="10542" y="6515"/>
                  </a:lnTo>
                  <a:lnTo>
                    <a:pt x="10542" y="1448"/>
                  </a:lnTo>
                  <a:lnTo>
                    <a:pt x="10523" y="1151"/>
                  </a:lnTo>
                  <a:lnTo>
                    <a:pt x="10300" y="632"/>
                  </a:lnTo>
                  <a:lnTo>
                    <a:pt x="9911" y="242"/>
                  </a:lnTo>
                  <a:lnTo>
                    <a:pt x="9391" y="19"/>
                  </a:lnTo>
                  <a:lnTo>
                    <a:pt x="9094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" name="Google Shape;183;p9"/>
            <p:cNvSpPr/>
            <p:nvPr/>
          </p:nvSpPr>
          <p:spPr>
            <a:xfrm>
              <a:off x="4511750" y="2466575"/>
              <a:ext cx="655150" cy="841200"/>
            </a:xfrm>
            <a:custGeom>
              <a:avLst/>
              <a:gdLst/>
              <a:ahLst/>
              <a:cxnLst/>
              <a:rect l="l" t="t" r="r" b="b"/>
              <a:pathLst>
                <a:path w="26206" h="33648" extrusionOk="0">
                  <a:moveTo>
                    <a:pt x="1466" y="1"/>
                  </a:moveTo>
                  <a:lnTo>
                    <a:pt x="1169" y="19"/>
                  </a:lnTo>
                  <a:lnTo>
                    <a:pt x="650" y="242"/>
                  </a:lnTo>
                  <a:lnTo>
                    <a:pt x="241" y="632"/>
                  </a:lnTo>
                  <a:lnTo>
                    <a:pt x="19" y="1151"/>
                  </a:lnTo>
                  <a:lnTo>
                    <a:pt x="0" y="1448"/>
                  </a:lnTo>
                  <a:lnTo>
                    <a:pt x="0" y="32200"/>
                  </a:lnTo>
                  <a:lnTo>
                    <a:pt x="19" y="32497"/>
                  </a:lnTo>
                  <a:lnTo>
                    <a:pt x="241" y="33017"/>
                  </a:lnTo>
                  <a:lnTo>
                    <a:pt x="650" y="33406"/>
                  </a:lnTo>
                  <a:lnTo>
                    <a:pt x="1169" y="33629"/>
                  </a:lnTo>
                  <a:lnTo>
                    <a:pt x="1466" y="33648"/>
                  </a:lnTo>
                  <a:lnTo>
                    <a:pt x="4825" y="33648"/>
                  </a:lnTo>
                  <a:lnTo>
                    <a:pt x="5122" y="33629"/>
                  </a:lnTo>
                  <a:lnTo>
                    <a:pt x="5642" y="33406"/>
                  </a:lnTo>
                  <a:lnTo>
                    <a:pt x="6032" y="33017"/>
                  </a:lnTo>
                  <a:lnTo>
                    <a:pt x="6255" y="32497"/>
                  </a:lnTo>
                  <a:lnTo>
                    <a:pt x="6273" y="32200"/>
                  </a:lnTo>
                  <a:lnTo>
                    <a:pt x="6273" y="18133"/>
                  </a:lnTo>
                  <a:lnTo>
                    <a:pt x="19932" y="18133"/>
                  </a:lnTo>
                  <a:lnTo>
                    <a:pt x="19932" y="32200"/>
                  </a:lnTo>
                  <a:lnTo>
                    <a:pt x="19951" y="32497"/>
                  </a:lnTo>
                  <a:lnTo>
                    <a:pt x="20174" y="33017"/>
                  </a:lnTo>
                  <a:lnTo>
                    <a:pt x="20563" y="33406"/>
                  </a:lnTo>
                  <a:lnTo>
                    <a:pt x="21083" y="33629"/>
                  </a:lnTo>
                  <a:lnTo>
                    <a:pt x="21380" y="33648"/>
                  </a:lnTo>
                  <a:lnTo>
                    <a:pt x="24758" y="33648"/>
                  </a:lnTo>
                  <a:lnTo>
                    <a:pt x="25036" y="33629"/>
                  </a:lnTo>
                  <a:lnTo>
                    <a:pt x="25556" y="33406"/>
                  </a:lnTo>
                  <a:lnTo>
                    <a:pt x="25964" y="33017"/>
                  </a:lnTo>
                  <a:lnTo>
                    <a:pt x="26187" y="32497"/>
                  </a:lnTo>
                  <a:lnTo>
                    <a:pt x="26205" y="32200"/>
                  </a:lnTo>
                  <a:lnTo>
                    <a:pt x="26205" y="1448"/>
                  </a:lnTo>
                  <a:lnTo>
                    <a:pt x="26187" y="1151"/>
                  </a:lnTo>
                  <a:lnTo>
                    <a:pt x="25964" y="632"/>
                  </a:lnTo>
                  <a:lnTo>
                    <a:pt x="25556" y="242"/>
                  </a:lnTo>
                  <a:lnTo>
                    <a:pt x="25036" y="19"/>
                  </a:lnTo>
                  <a:lnTo>
                    <a:pt x="24758" y="1"/>
                  </a:lnTo>
                  <a:lnTo>
                    <a:pt x="21380" y="1"/>
                  </a:lnTo>
                  <a:lnTo>
                    <a:pt x="21083" y="19"/>
                  </a:lnTo>
                  <a:lnTo>
                    <a:pt x="20563" y="242"/>
                  </a:lnTo>
                  <a:lnTo>
                    <a:pt x="20174" y="632"/>
                  </a:lnTo>
                  <a:lnTo>
                    <a:pt x="19951" y="1151"/>
                  </a:lnTo>
                  <a:lnTo>
                    <a:pt x="19932" y="1448"/>
                  </a:lnTo>
                  <a:lnTo>
                    <a:pt x="19932" y="13641"/>
                  </a:lnTo>
                  <a:lnTo>
                    <a:pt x="6273" y="13641"/>
                  </a:lnTo>
                  <a:lnTo>
                    <a:pt x="6273" y="1448"/>
                  </a:lnTo>
                  <a:lnTo>
                    <a:pt x="6255" y="1151"/>
                  </a:lnTo>
                  <a:lnTo>
                    <a:pt x="6032" y="632"/>
                  </a:lnTo>
                  <a:lnTo>
                    <a:pt x="5642" y="242"/>
                  </a:lnTo>
                  <a:lnTo>
                    <a:pt x="5122" y="19"/>
                  </a:lnTo>
                  <a:lnTo>
                    <a:pt x="4825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" name="Google Shape;184;p9"/>
            <p:cNvSpPr/>
            <p:nvPr/>
          </p:nvSpPr>
          <p:spPr>
            <a:xfrm>
              <a:off x="2392800" y="2663300"/>
              <a:ext cx="633800" cy="662575"/>
            </a:xfrm>
            <a:custGeom>
              <a:avLst/>
              <a:gdLst/>
              <a:ahLst/>
              <a:cxnLst/>
              <a:rect l="l" t="t" r="r" b="b"/>
              <a:pathLst>
                <a:path w="25352" h="26503" extrusionOk="0">
                  <a:moveTo>
                    <a:pt x="13195" y="4696"/>
                  </a:moveTo>
                  <a:lnTo>
                    <a:pt x="13938" y="4715"/>
                  </a:lnTo>
                  <a:lnTo>
                    <a:pt x="15255" y="4974"/>
                  </a:lnTo>
                  <a:lnTo>
                    <a:pt x="15831" y="5197"/>
                  </a:lnTo>
                  <a:lnTo>
                    <a:pt x="16369" y="5457"/>
                  </a:lnTo>
                  <a:lnTo>
                    <a:pt x="17297" y="6125"/>
                  </a:lnTo>
                  <a:lnTo>
                    <a:pt x="17687" y="6515"/>
                  </a:lnTo>
                  <a:lnTo>
                    <a:pt x="18039" y="6942"/>
                  </a:lnTo>
                  <a:lnTo>
                    <a:pt x="18559" y="7907"/>
                  </a:lnTo>
                  <a:lnTo>
                    <a:pt x="18745" y="8445"/>
                  </a:lnTo>
                  <a:lnTo>
                    <a:pt x="18912" y="9002"/>
                  </a:lnTo>
                  <a:lnTo>
                    <a:pt x="19079" y="10152"/>
                  </a:lnTo>
                  <a:lnTo>
                    <a:pt x="19097" y="10746"/>
                  </a:lnTo>
                  <a:lnTo>
                    <a:pt x="6254" y="10746"/>
                  </a:lnTo>
                  <a:lnTo>
                    <a:pt x="6329" y="10097"/>
                  </a:lnTo>
                  <a:lnTo>
                    <a:pt x="6663" y="8890"/>
                  </a:lnTo>
                  <a:lnTo>
                    <a:pt x="7201" y="7795"/>
                  </a:lnTo>
                  <a:lnTo>
                    <a:pt x="7962" y="6830"/>
                  </a:lnTo>
                  <a:lnTo>
                    <a:pt x="8426" y="6403"/>
                  </a:lnTo>
                  <a:lnTo>
                    <a:pt x="8927" y="5995"/>
                  </a:lnTo>
                  <a:lnTo>
                    <a:pt x="10003" y="5346"/>
                  </a:lnTo>
                  <a:lnTo>
                    <a:pt x="11210" y="4937"/>
                  </a:lnTo>
                  <a:lnTo>
                    <a:pt x="12509" y="4715"/>
                  </a:lnTo>
                  <a:lnTo>
                    <a:pt x="13195" y="4696"/>
                  </a:lnTo>
                  <a:close/>
                  <a:moveTo>
                    <a:pt x="13251" y="1"/>
                  </a:moveTo>
                  <a:lnTo>
                    <a:pt x="12546" y="19"/>
                  </a:lnTo>
                  <a:lnTo>
                    <a:pt x="11191" y="131"/>
                  </a:lnTo>
                  <a:lnTo>
                    <a:pt x="9873" y="372"/>
                  </a:lnTo>
                  <a:lnTo>
                    <a:pt x="8611" y="743"/>
                  </a:lnTo>
                  <a:lnTo>
                    <a:pt x="8018" y="966"/>
                  </a:lnTo>
                  <a:lnTo>
                    <a:pt x="7405" y="1226"/>
                  </a:lnTo>
                  <a:lnTo>
                    <a:pt x="6273" y="1801"/>
                  </a:lnTo>
                  <a:lnTo>
                    <a:pt x="5234" y="2469"/>
                  </a:lnTo>
                  <a:lnTo>
                    <a:pt x="4269" y="3248"/>
                  </a:lnTo>
                  <a:lnTo>
                    <a:pt x="3805" y="3675"/>
                  </a:lnTo>
                  <a:lnTo>
                    <a:pt x="3378" y="4121"/>
                  </a:lnTo>
                  <a:lnTo>
                    <a:pt x="2580" y="5086"/>
                  </a:lnTo>
                  <a:lnTo>
                    <a:pt x="1875" y="6144"/>
                  </a:lnTo>
                  <a:lnTo>
                    <a:pt x="1281" y="7294"/>
                  </a:lnTo>
                  <a:lnTo>
                    <a:pt x="1021" y="7907"/>
                  </a:lnTo>
                  <a:lnTo>
                    <a:pt x="780" y="8538"/>
                  </a:lnTo>
                  <a:lnTo>
                    <a:pt x="390" y="9837"/>
                  </a:lnTo>
                  <a:lnTo>
                    <a:pt x="130" y="11210"/>
                  </a:lnTo>
                  <a:lnTo>
                    <a:pt x="19" y="12658"/>
                  </a:lnTo>
                  <a:lnTo>
                    <a:pt x="0" y="13400"/>
                  </a:lnTo>
                  <a:lnTo>
                    <a:pt x="19" y="14161"/>
                  </a:lnTo>
                  <a:lnTo>
                    <a:pt x="130" y="15609"/>
                  </a:lnTo>
                  <a:lnTo>
                    <a:pt x="390" y="17000"/>
                  </a:lnTo>
                  <a:lnTo>
                    <a:pt x="780" y="18300"/>
                  </a:lnTo>
                  <a:lnTo>
                    <a:pt x="1021" y="18912"/>
                  </a:lnTo>
                  <a:lnTo>
                    <a:pt x="1281" y="19506"/>
                  </a:lnTo>
                  <a:lnTo>
                    <a:pt x="1893" y="20619"/>
                  </a:lnTo>
                  <a:lnTo>
                    <a:pt x="2598" y="21659"/>
                  </a:lnTo>
                  <a:lnTo>
                    <a:pt x="3396" y="22587"/>
                  </a:lnTo>
                  <a:lnTo>
                    <a:pt x="3842" y="23013"/>
                  </a:lnTo>
                  <a:lnTo>
                    <a:pt x="4287" y="23422"/>
                  </a:lnTo>
                  <a:lnTo>
                    <a:pt x="5271" y="24146"/>
                  </a:lnTo>
                  <a:lnTo>
                    <a:pt x="6329" y="24795"/>
                  </a:lnTo>
                  <a:lnTo>
                    <a:pt x="7479" y="25352"/>
                  </a:lnTo>
                  <a:lnTo>
                    <a:pt x="8092" y="25593"/>
                  </a:lnTo>
                  <a:lnTo>
                    <a:pt x="8704" y="25797"/>
                  </a:lnTo>
                  <a:lnTo>
                    <a:pt x="9985" y="26150"/>
                  </a:lnTo>
                  <a:lnTo>
                    <a:pt x="11340" y="26373"/>
                  </a:lnTo>
                  <a:lnTo>
                    <a:pt x="12731" y="26484"/>
                  </a:lnTo>
                  <a:lnTo>
                    <a:pt x="13455" y="26503"/>
                  </a:lnTo>
                  <a:lnTo>
                    <a:pt x="14216" y="26484"/>
                  </a:lnTo>
                  <a:lnTo>
                    <a:pt x="15682" y="26373"/>
                  </a:lnTo>
                  <a:lnTo>
                    <a:pt x="17074" y="26131"/>
                  </a:lnTo>
                  <a:lnTo>
                    <a:pt x="18373" y="25760"/>
                  </a:lnTo>
                  <a:lnTo>
                    <a:pt x="19598" y="25296"/>
                  </a:lnTo>
                  <a:lnTo>
                    <a:pt x="20730" y="24684"/>
                  </a:lnTo>
                  <a:lnTo>
                    <a:pt x="21788" y="23960"/>
                  </a:lnTo>
                  <a:lnTo>
                    <a:pt x="22772" y="23125"/>
                  </a:lnTo>
                  <a:lnTo>
                    <a:pt x="23236" y="22661"/>
                  </a:lnTo>
                  <a:lnTo>
                    <a:pt x="23421" y="22420"/>
                  </a:lnTo>
                  <a:lnTo>
                    <a:pt x="23607" y="21863"/>
                  </a:lnTo>
                  <a:lnTo>
                    <a:pt x="23551" y="21288"/>
                  </a:lnTo>
                  <a:lnTo>
                    <a:pt x="23273" y="20768"/>
                  </a:lnTo>
                  <a:lnTo>
                    <a:pt x="23050" y="20564"/>
                  </a:lnTo>
                  <a:lnTo>
                    <a:pt x="21139" y="19042"/>
                  </a:lnTo>
                  <a:lnTo>
                    <a:pt x="20916" y="18875"/>
                  </a:lnTo>
                  <a:lnTo>
                    <a:pt x="20415" y="18726"/>
                  </a:lnTo>
                  <a:lnTo>
                    <a:pt x="19914" y="18745"/>
                  </a:lnTo>
                  <a:lnTo>
                    <a:pt x="19431" y="18949"/>
                  </a:lnTo>
                  <a:lnTo>
                    <a:pt x="19227" y="19135"/>
                  </a:lnTo>
                  <a:lnTo>
                    <a:pt x="18819" y="19543"/>
                  </a:lnTo>
                  <a:lnTo>
                    <a:pt x="17891" y="20230"/>
                  </a:lnTo>
                  <a:lnTo>
                    <a:pt x="17371" y="20527"/>
                  </a:lnTo>
                  <a:lnTo>
                    <a:pt x="16963" y="20731"/>
                  </a:lnTo>
                  <a:lnTo>
                    <a:pt x="16053" y="21046"/>
                  </a:lnTo>
                  <a:lnTo>
                    <a:pt x="15070" y="21269"/>
                  </a:lnTo>
                  <a:lnTo>
                    <a:pt x="13993" y="21380"/>
                  </a:lnTo>
                  <a:lnTo>
                    <a:pt x="13400" y="21380"/>
                  </a:lnTo>
                  <a:lnTo>
                    <a:pt x="12731" y="21362"/>
                  </a:lnTo>
                  <a:lnTo>
                    <a:pt x="11432" y="21120"/>
                  </a:lnTo>
                  <a:lnTo>
                    <a:pt x="10801" y="20916"/>
                  </a:lnTo>
                  <a:lnTo>
                    <a:pt x="10189" y="20657"/>
                  </a:lnTo>
                  <a:lnTo>
                    <a:pt x="9057" y="20026"/>
                  </a:lnTo>
                  <a:lnTo>
                    <a:pt x="8556" y="19636"/>
                  </a:lnTo>
                  <a:lnTo>
                    <a:pt x="8073" y="19209"/>
                  </a:lnTo>
                  <a:lnTo>
                    <a:pt x="7275" y="18244"/>
                  </a:lnTo>
                  <a:lnTo>
                    <a:pt x="6960" y="17706"/>
                  </a:lnTo>
                  <a:lnTo>
                    <a:pt x="6681" y="17130"/>
                  </a:lnTo>
                  <a:lnTo>
                    <a:pt x="6329" y="15905"/>
                  </a:lnTo>
                  <a:lnTo>
                    <a:pt x="6254" y="15237"/>
                  </a:lnTo>
                  <a:lnTo>
                    <a:pt x="23904" y="15237"/>
                  </a:lnTo>
                  <a:lnTo>
                    <a:pt x="24201" y="15200"/>
                  </a:lnTo>
                  <a:lnTo>
                    <a:pt x="24702" y="14996"/>
                  </a:lnTo>
                  <a:lnTo>
                    <a:pt x="25110" y="14606"/>
                  </a:lnTo>
                  <a:lnTo>
                    <a:pt x="25333" y="14087"/>
                  </a:lnTo>
                  <a:lnTo>
                    <a:pt x="25351" y="13790"/>
                  </a:lnTo>
                  <a:lnTo>
                    <a:pt x="25351" y="13567"/>
                  </a:lnTo>
                  <a:lnTo>
                    <a:pt x="25333" y="12713"/>
                  </a:lnTo>
                  <a:lnTo>
                    <a:pt x="25222" y="11136"/>
                  </a:lnTo>
                  <a:lnTo>
                    <a:pt x="24999" y="9651"/>
                  </a:lnTo>
                  <a:lnTo>
                    <a:pt x="24665" y="8278"/>
                  </a:lnTo>
                  <a:lnTo>
                    <a:pt x="24442" y="7647"/>
                  </a:lnTo>
                  <a:lnTo>
                    <a:pt x="24201" y="7016"/>
                  </a:lnTo>
                  <a:lnTo>
                    <a:pt x="23663" y="5847"/>
                  </a:lnTo>
                  <a:lnTo>
                    <a:pt x="23032" y="4807"/>
                  </a:lnTo>
                  <a:lnTo>
                    <a:pt x="22308" y="3842"/>
                  </a:lnTo>
                  <a:lnTo>
                    <a:pt x="21900" y="3415"/>
                  </a:lnTo>
                  <a:lnTo>
                    <a:pt x="21918" y="3415"/>
                  </a:lnTo>
                  <a:lnTo>
                    <a:pt x="21491" y="3007"/>
                  </a:lnTo>
                  <a:lnTo>
                    <a:pt x="20619" y="2265"/>
                  </a:lnTo>
                  <a:lnTo>
                    <a:pt x="19654" y="1615"/>
                  </a:lnTo>
                  <a:lnTo>
                    <a:pt x="18633" y="1096"/>
                  </a:lnTo>
                  <a:lnTo>
                    <a:pt x="18076" y="873"/>
                  </a:lnTo>
                  <a:lnTo>
                    <a:pt x="17520" y="650"/>
                  </a:lnTo>
                  <a:lnTo>
                    <a:pt x="16369" y="335"/>
                  </a:lnTo>
                  <a:lnTo>
                    <a:pt x="15163" y="112"/>
                  </a:lnTo>
                  <a:lnTo>
                    <a:pt x="13901" y="19"/>
                  </a:lnTo>
                  <a:lnTo>
                    <a:pt x="13251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" name="Google Shape;185;p9"/>
            <p:cNvSpPr/>
            <p:nvPr/>
          </p:nvSpPr>
          <p:spPr>
            <a:xfrm>
              <a:off x="237650" y="2349675"/>
              <a:ext cx="1219800" cy="1015625"/>
            </a:xfrm>
            <a:custGeom>
              <a:avLst/>
              <a:gdLst/>
              <a:ahLst/>
              <a:cxnLst/>
              <a:rect l="l" t="t" r="r" b="b"/>
              <a:pathLst>
                <a:path w="48792" h="40625" extrusionOk="0">
                  <a:moveTo>
                    <a:pt x="11915" y="0"/>
                  </a:moveTo>
                  <a:lnTo>
                    <a:pt x="10746" y="93"/>
                  </a:lnTo>
                  <a:lnTo>
                    <a:pt x="9614" y="297"/>
                  </a:lnTo>
                  <a:lnTo>
                    <a:pt x="8500" y="612"/>
                  </a:lnTo>
                  <a:lnTo>
                    <a:pt x="7443" y="1039"/>
                  </a:lnTo>
                  <a:lnTo>
                    <a:pt x="6422" y="1559"/>
                  </a:lnTo>
                  <a:lnTo>
                    <a:pt x="5457" y="2171"/>
                  </a:lnTo>
                  <a:lnTo>
                    <a:pt x="4547" y="2858"/>
                  </a:lnTo>
                  <a:lnTo>
                    <a:pt x="3712" y="3638"/>
                  </a:lnTo>
                  <a:lnTo>
                    <a:pt x="2933" y="4491"/>
                  </a:lnTo>
                  <a:lnTo>
                    <a:pt x="2246" y="5419"/>
                  </a:lnTo>
                  <a:lnTo>
                    <a:pt x="1634" y="6403"/>
                  </a:lnTo>
                  <a:lnTo>
                    <a:pt x="1114" y="7442"/>
                  </a:lnTo>
                  <a:lnTo>
                    <a:pt x="687" y="8556"/>
                  </a:lnTo>
                  <a:lnTo>
                    <a:pt x="372" y="9688"/>
                  </a:lnTo>
                  <a:lnTo>
                    <a:pt x="149" y="10875"/>
                  </a:lnTo>
                  <a:lnTo>
                    <a:pt x="75" y="11488"/>
                  </a:lnTo>
                  <a:lnTo>
                    <a:pt x="0" y="12583"/>
                  </a:lnTo>
                  <a:lnTo>
                    <a:pt x="130" y="14736"/>
                  </a:lnTo>
                  <a:lnTo>
                    <a:pt x="539" y="16870"/>
                  </a:lnTo>
                  <a:lnTo>
                    <a:pt x="1225" y="18967"/>
                  </a:lnTo>
                  <a:lnTo>
                    <a:pt x="2116" y="21008"/>
                  </a:lnTo>
                  <a:lnTo>
                    <a:pt x="3230" y="23013"/>
                  </a:lnTo>
                  <a:lnTo>
                    <a:pt x="4510" y="24961"/>
                  </a:lnTo>
                  <a:lnTo>
                    <a:pt x="5921" y="26836"/>
                  </a:lnTo>
                  <a:lnTo>
                    <a:pt x="7461" y="28636"/>
                  </a:lnTo>
                  <a:lnTo>
                    <a:pt x="9076" y="30362"/>
                  </a:lnTo>
                  <a:lnTo>
                    <a:pt x="11600" y="32793"/>
                  </a:lnTo>
                  <a:lnTo>
                    <a:pt x="14996" y="35688"/>
                  </a:lnTo>
                  <a:lnTo>
                    <a:pt x="18188" y="38120"/>
                  </a:lnTo>
                  <a:lnTo>
                    <a:pt x="19617" y="39140"/>
                  </a:lnTo>
                  <a:lnTo>
                    <a:pt x="20155" y="39493"/>
                  </a:lnTo>
                  <a:lnTo>
                    <a:pt x="21325" y="40050"/>
                  </a:lnTo>
                  <a:lnTo>
                    <a:pt x="22531" y="40439"/>
                  </a:lnTo>
                  <a:lnTo>
                    <a:pt x="23774" y="40625"/>
                  </a:lnTo>
                  <a:lnTo>
                    <a:pt x="25036" y="40625"/>
                  </a:lnTo>
                  <a:lnTo>
                    <a:pt x="26280" y="40439"/>
                  </a:lnTo>
                  <a:lnTo>
                    <a:pt x="27486" y="40050"/>
                  </a:lnTo>
                  <a:lnTo>
                    <a:pt x="28637" y="39493"/>
                  </a:lnTo>
                  <a:lnTo>
                    <a:pt x="29193" y="39140"/>
                  </a:lnTo>
                  <a:lnTo>
                    <a:pt x="30567" y="38157"/>
                  </a:lnTo>
                  <a:lnTo>
                    <a:pt x="33648" y="35818"/>
                  </a:lnTo>
                  <a:lnTo>
                    <a:pt x="36914" y="33053"/>
                  </a:lnTo>
                  <a:lnTo>
                    <a:pt x="39364" y="30733"/>
                  </a:lnTo>
                  <a:lnTo>
                    <a:pt x="40941" y="29081"/>
                  </a:lnTo>
                  <a:lnTo>
                    <a:pt x="42444" y="27356"/>
                  </a:lnTo>
                  <a:lnTo>
                    <a:pt x="43855" y="25555"/>
                  </a:lnTo>
                  <a:lnTo>
                    <a:pt x="45135" y="23699"/>
                  </a:lnTo>
                  <a:lnTo>
                    <a:pt x="46268" y="21788"/>
                  </a:lnTo>
                  <a:lnTo>
                    <a:pt x="47233" y="19839"/>
                  </a:lnTo>
                  <a:lnTo>
                    <a:pt x="47994" y="17835"/>
                  </a:lnTo>
                  <a:lnTo>
                    <a:pt x="48513" y="15793"/>
                  </a:lnTo>
                  <a:lnTo>
                    <a:pt x="48773" y="13715"/>
                  </a:lnTo>
                  <a:lnTo>
                    <a:pt x="48792" y="12676"/>
                  </a:lnTo>
                  <a:lnTo>
                    <a:pt x="48773" y="12082"/>
                  </a:lnTo>
                  <a:lnTo>
                    <a:pt x="48736" y="11488"/>
                  </a:lnTo>
                  <a:lnTo>
                    <a:pt x="48662" y="10820"/>
                  </a:lnTo>
                  <a:lnTo>
                    <a:pt x="48272" y="9224"/>
                  </a:lnTo>
                  <a:lnTo>
                    <a:pt x="47845" y="8017"/>
                  </a:lnTo>
                  <a:lnTo>
                    <a:pt x="47270" y="6830"/>
                  </a:lnTo>
                  <a:lnTo>
                    <a:pt x="46509" y="5753"/>
                  </a:lnTo>
                  <a:lnTo>
                    <a:pt x="45785" y="5104"/>
                  </a:lnTo>
                  <a:lnTo>
                    <a:pt x="45247" y="4788"/>
                  </a:lnTo>
                  <a:lnTo>
                    <a:pt x="44653" y="4547"/>
                  </a:lnTo>
                  <a:lnTo>
                    <a:pt x="44003" y="4417"/>
                  </a:lnTo>
                  <a:lnTo>
                    <a:pt x="43242" y="4417"/>
                  </a:lnTo>
                  <a:lnTo>
                    <a:pt x="42444" y="4565"/>
                  </a:lnTo>
                  <a:lnTo>
                    <a:pt x="41684" y="4881"/>
                  </a:lnTo>
                  <a:lnTo>
                    <a:pt x="40997" y="5345"/>
                  </a:lnTo>
                  <a:lnTo>
                    <a:pt x="40681" y="5642"/>
                  </a:lnTo>
                  <a:lnTo>
                    <a:pt x="27616" y="18707"/>
                  </a:lnTo>
                  <a:lnTo>
                    <a:pt x="27393" y="18930"/>
                  </a:lnTo>
                  <a:lnTo>
                    <a:pt x="27059" y="19450"/>
                  </a:lnTo>
                  <a:lnTo>
                    <a:pt x="26836" y="20006"/>
                  </a:lnTo>
                  <a:lnTo>
                    <a:pt x="26725" y="20582"/>
                  </a:lnTo>
                  <a:lnTo>
                    <a:pt x="26725" y="21175"/>
                  </a:lnTo>
                  <a:lnTo>
                    <a:pt x="26836" y="21751"/>
                  </a:lnTo>
                  <a:lnTo>
                    <a:pt x="27059" y="22308"/>
                  </a:lnTo>
                  <a:lnTo>
                    <a:pt x="27393" y="22809"/>
                  </a:lnTo>
                  <a:lnTo>
                    <a:pt x="27616" y="23050"/>
                  </a:lnTo>
                  <a:lnTo>
                    <a:pt x="27839" y="23254"/>
                  </a:lnTo>
                  <a:lnTo>
                    <a:pt x="28358" y="23607"/>
                  </a:lnTo>
                  <a:lnTo>
                    <a:pt x="28915" y="23829"/>
                  </a:lnTo>
                  <a:lnTo>
                    <a:pt x="29490" y="23941"/>
                  </a:lnTo>
                  <a:lnTo>
                    <a:pt x="30084" y="23941"/>
                  </a:lnTo>
                  <a:lnTo>
                    <a:pt x="30660" y="23829"/>
                  </a:lnTo>
                  <a:lnTo>
                    <a:pt x="31216" y="23607"/>
                  </a:lnTo>
                  <a:lnTo>
                    <a:pt x="31717" y="23254"/>
                  </a:lnTo>
                  <a:lnTo>
                    <a:pt x="31959" y="23050"/>
                  </a:lnTo>
                  <a:lnTo>
                    <a:pt x="43075" y="11933"/>
                  </a:lnTo>
                  <a:lnTo>
                    <a:pt x="43168" y="11840"/>
                  </a:lnTo>
                  <a:lnTo>
                    <a:pt x="43410" y="11748"/>
                  </a:lnTo>
                  <a:lnTo>
                    <a:pt x="43651" y="11748"/>
                  </a:lnTo>
                  <a:lnTo>
                    <a:pt x="43873" y="11840"/>
                  </a:lnTo>
                  <a:lnTo>
                    <a:pt x="43966" y="11933"/>
                  </a:lnTo>
                  <a:lnTo>
                    <a:pt x="44727" y="12694"/>
                  </a:lnTo>
                  <a:lnTo>
                    <a:pt x="44820" y="12787"/>
                  </a:lnTo>
                  <a:lnTo>
                    <a:pt x="44913" y="13010"/>
                  </a:lnTo>
                  <a:lnTo>
                    <a:pt x="44913" y="13269"/>
                  </a:lnTo>
                  <a:lnTo>
                    <a:pt x="44820" y="13492"/>
                  </a:lnTo>
                  <a:lnTo>
                    <a:pt x="44727" y="13585"/>
                  </a:lnTo>
                  <a:lnTo>
                    <a:pt x="33703" y="24627"/>
                  </a:lnTo>
                  <a:lnTo>
                    <a:pt x="33314" y="24999"/>
                  </a:lnTo>
                  <a:lnTo>
                    <a:pt x="32441" y="25592"/>
                  </a:lnTo>
                  <a:lnTo>
                    <a:pt x="31476" y="26019"/>
                  </a:lnTo>
                  <a:lnTo>
                    <a:pt x="30455" y="26261"/>
                  </a:lnTo>
                  <a:lnTo>
                    <a:pt x="29936" y="26298"/>
                  </a:lnTo>
                  <a:lnTo>
                    <a:pt x="29360" y="26298"/>
                  </a:lnTo>
                  <a:lnTo>
                    <a:pt x="28247" y="26094"/>
                  </a:lnTo>
                  <a:lnTo>
                    <a:pt x="27208" y="25667"/>
                  </a:lnTo>
                  <a:lnTo>
                    <a:pt x="26280" y="25017"/>
                  </a:lnTo>
                  <a:lnTo>
                    <a:pt x="25871" y="24627"/>
                  </a:lnTo>
                  <a:lnTo>
                    <a:pt x="25500" y="24201"/>
                  </a:lnTo>
                  <a:lnTo>
                    <a:pt x="24925" y="23291"/>
                  </a:lnTo>
                  <a:lnTo>
                    <a:pt x="24572" y="22326"/>
                  </a:lnTo>
                  <a:lnTo>
                    <a:pt x="24405" y="21287"/>
                  </a:lnTo>
                  <a:lnTo>
                    <a:pt x="24424" y="20248"/>
                  </a:lnTo>
                  <a:lnTo>
                    <a:pt x="24647" y="19227"/>
                  </a:lnTo>
                  <a:lnTo>
                    <a:pt x="25055" y="18262"/>
                  </a:lnTo>
                  <a:lnTo>
                    <a:pt x="25649" y="17352"/>
                  </a:lnTo>
                  <a:lnTo>
                    <a:pt x="26038" y="16963"/>
                  </a:lnTo>
                  <a:lnTo>
                    <a:pt x="33351" y="9651"/>
                  </a:lnTo>
                  <a:lnTo>
                    <a:pt x="39011" y="3972"/>
                  </a:lnTo>
                  <a:lnTo>
                    <a:pt x="39456" y="3563"/>
                  </a:lnTo>
                  <a:lnTo>
                    <a:pt x="40422" y="2895"/>
                  </a:lnTo>
                  <a:lnTo>
                    <a:pt x="41479" y="2413"/>
                  </a:lnTo>
                  <a:lnTo>
                    <a:pt x="42611" y="2134"/>
                  </a:lnTo>
                  <a:lnTo>
                    <a:pt x="43205" y="2079"/>
                  </a:lnTo>
                  <a:lnTo>
                    <a:pt x="42444" y="1577"/>
                  </a:lnTo>
                  <a:lnTo>
                    <a:pt x="40811" y="798"/>
                  </a:lnTo>
                  <a:lnTo>
                    <a:pt x="39067" y="260"/>
                  </a:lnTo>
                  <a:lnTo>
                    <a:pt x="37229" y="0"/>
                  </a:lnTo>
                  <a:lnTo>
                    <a:pt x="36283" y="0"/>
                  </a:lnTo>
                  <a:lnTo>
                    <a:pt x="35299" y="56"/>
                  </a:lnTo>
                  <a:lnTo>
                    <a:pt x="33425" y="371"/>
                  </a:lnTo>
                  <a:lnTo>
                    <a:pt x="31643" y="965"/>
                  </a:lnTo>
                  <a:lnTo>
                    <a:pt x="29991" y="1819"/>
                  </a:lnTo>
                  <a:lnTo>
                    <a:pt x="28507" y="2877"/>
                  </a:lnTo>
                  <a:lnTo>
                    <a:pt x="27171" y="4157"/>
                  </a:lnTo>
                  <a:lnTo>
                    <a:pt x="26057" y="5623"/>
                  </a:lnTo>
                  <a:lnTo>
                    <a:pt x="25129" y="7256"/>
                  </a:lnTo>
                  <a:lnTo>
                    <a:pt x="24776" y="8147"/>
                  </a:lnTo>
                  <a:lnTo>
                    <a:pt x="24721" y="8259"/>
                  </a:lnTo>
                  <a:lnTo>
                    <a:pt x="24517" y="8389"/>
                  </a:lnTo>
                  <a:lnTo>
                    <a:pt x="24294" y="8389"/>
                  </a:lnTo>
                  <a:lnTo>
                    <a:pt x="24090" y="8259"/>
                  </a:lnTo>
                  <a:lnTo>
                    <a:pt x="24034" y="8147"/>
                  </a:lnTo>
                  <a:lnTo>
                    <a:pt x="23663" y="7256"/>
                  </a:lnTo>
                  <a:lnTo>
                    <a:pt x="22754" y="5623"/>
                  </a:lnTo>
                  <a:lnTo>
                    <a:pt x="21640" y="4157"/>
                  </a:lnTo>
                  <a:lnTo>
                    <a:pt x="20304" y="2877"/>
                  </a:lnTo>
                  <a:lnTo>
                    <a:pt x="18819" y="1819"/>
                  </a:lnTo>
                  <a:lnTo>
                    <a:pt x="17167" y="965"/>
                  </a:lnTo>
                  <a:lnTo>
                    <a:pt x="15386" y="371"/>
                  </a:lnTo>
                  <a:lnTo>
                    <a:pt x="13493" y="56"/>
                  </a:lnTo>
                  <a:lnTo>
                    <a:pt x="12528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86" name="Google Shape;186;p9"/>
          <p:cNvSpPr txBox="1">
            <a:spLocks noGrp="1"/>
          </p:cNvSpPr>
          <p:nvPr>
            <p:ph type="title"/>
          </p:nvPr>
        </p:nvSpPr>
        <p:spPr>
          <a:xfrm>
            <a:off x="6630600" y="1983833"/>
            <a:ext cx="5026800" cy="20220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100"/>
              <a:buNone/>
              <a:defRPr sz="6100" b="1">
                <a:solidFill>
                  <a:schemeClr val="lt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100"/>
              <a:buNone/>
              <a:defRPr sz="6100" b="1">
                <a:solidFill>
                  <a:schemeClr val="lt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100"/>
              <a:buNone/>
              <a:defRPr sz="6100" b="1">
                <a:solidFill>
                  <a:schemeClr val="lt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100"/>
              <a:buNone/>
              <a:defRPr sz="6100" b="1">
                <a:solidFill>
                  <a:schemeClr val="lt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100"/>
              <a:buNone/>
              <a:defRPr sz="6100" b="1">
                <a:solidFill>
                  <a:schemeClr val="lt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100"/>
              <a:buNone/>
              <a:defRPr sz="6100" b="1">
                <a:solidFill>
                  <a:schemeClr val="lt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100"/>
              <a:buNone/>
              <a:defRPr sz="6100" b="1">
                <a:solidFill>
                  <a:schemeClr val="lt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100"/>
              <a:buNone/>
              <a:defRPr sz="6100" b="1">
                <a:solidFill>
                  <a:schemeClr val="lt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100"/>
              <a:buNone/>
              <a:defRPr sz="6100" b="1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187" name="Google Shape;187;p9"/>
          <p:cNvSpPr txBox="1">
            <a:spLocks noGrp="1"/>
          </p:cNvSpPr>
          <p:nvPr>
            <p:ph type="sldNum" idx="12"/>
          </p:nvPr>
        </p:nvSpPr>
        <p:spPr>
          <a:xfrm>
            <a:off x="11044810" y="6091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buNone/>
              <a:defRPr>
                <a:solidFill>
                  <a:srgbClr val="F3F3EA"/>
                </a:solidFill>
              </a:defRPr>
            </a:lvl1pPr>
            <a:lvl2pPr lvl="1" rtl="0">
              <a:buNone/>
              <a:defRPr>
                <a:solidFill>
                  <a:srgbClr val="F3F3EA"/>
                </a:solidFill>
              </a:defRPr>
            </a:lvl2pPr>
            <a:lvl3pPr lvl="2" rtl="0">
              <a:buNone/>
              <a:defRPr>
                <a:solidFill>
                  <a:srgbClr val="F3F3EA"/>
                </a:solidFill>
              </a:defRPr>
            </a:lvl3pPr>
            <a:lvl4pPr lvl="3" rtl="0">
              <a:buNone/>
              <a:defRPr>
                <a:solidFill>
                  <a:srgbClr val="F3F3EA"/>
                </a:solidFill>
              </a:defRPr>
            </a:lvl4pPr>
            <a:lvl5pPr lvl="4" rtl="0">
              <a:buNone/>
              <a:defRPr>
                <a:solidFill>
                  <a:srgbClr val="F3F3EA"/>
                </a:solidFill>
              </a:defRPr>
            </a:lvl5pPr>
            <a:lvl6pPr lvl="5" rtl="0">
              <a:buNone/>
              <a:defRPr>
                <a:solidFill>
                  <a:srgbClr val="F3F3EA"/>
                </a:solidFill>
              </a:defRPr>
            </a:lvl6pPr>
            <a:lvl7pPr lvl="6" rtl="0">
              <a:buNone/>
              <a:defRPr>
                <a:solidFill>
                  <a:srgbClr val="F3F3EA"/>
                </a:solidFill>
              </a:defRPr>
            </a:lvl7pPr>
            <a:lvl8pPr lvl="7" rtl="0">
              <a:buNone/>
              <a:defRPr>
                <a:solidFill>
                  <a:srgbClr val="F3F3EA"/>
                </a:solidFill>
              </a:defRPr>
            </a:lvl8pPr>
            <a:lvl9pPr lvl="8" rtl="0">
              <a:buNone/>
              <a:defRPr>
                <a:solidFill>
                  <a:srgbClr val="F3F3EA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88" name="Google Shape;188;p9"/>
          <p:cNvSpPr txBox="1">
            <a:spLocks noGrp="1"/>
          </p:cNvSpPr>
          <p:nvPr>
            <p:ph type="sldNum" idx="2"/>
          </p:nvPr>
        </p:nvSpPr>
        <p:spPr>
          <a:xfrm>
            <a:off x="11044810" y="6091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buNone/>
              <a:defRPr>
                <a:solidFill>
                  <a:srgbClr val="F8F8F3"/>
                </a:solidFill>
              </a:defRPr>
            </a:lvl1pPr>
            <a:lvl2pPr lvl="1" rtl="0">
              <a:buNone/>
              <a:defRPr>
                <a:solidFill>
                  <a:srgbClr val="F8F8F3"/>
                </a:solidFill>
              </a:defRPr>
            </a:lvl2pPr>
            <a:lvl3pPr lvl="2" rtl="0">
              <a:buNone/>
              <a:defRPr>
                <a:solidFill>
                  <a:srgbClr val="F8F8F3"/>
                </a:solidFill>
              </a:defRPr>
            </a:lvl3pPr>
            <a:lvl4pPr lvl="3" rtl="0">
              <a:buNone/>
              <a:defRPr>
                <a:solidFill>
                  <a:srgbClr val="F8F8F3"/>
                </a:solidFill>
              </a:defRPr>
            </a:lvl4pPr>
            <a:lvl5pPr lvl="4" rtl="0">
              <a:buNone/>
              <a:defRPr>
                <a:solidFill>
                  <a:srgbClr val="F8F8F3"/>
                </a:solidFill>
              </a:defRPr>
            </a:lvl5pPr>
            <a:lvl6pPr lvl="5" rtl="0">
              <a:buNone/>
              <a:defRPr>
                <a:solidFill>
                  <a:srgbClr val="F8F8F3"/>
                </a:solidFill>
              </a:defRPr>
            </a:lvl6pPr>
            <a:lvl7pPr lvl="6" rtl="0">
              <a:buNone/>
              <a:defRPr>
                <a:solidFill>
                  <a:srgbClr val="F8F8F3"/>
                </a:solidFill>
              </a:defRPr>
            </a:lvl7pPr>
            <a:lvl8pPr lvl="7" rtl="0">
              <a:buNone/>
              <a:defRPr>
                <a:solidFill>
                  <a:srgbClr val="F8F8F3"/>
                </a:solidFill>
              </a:defRPr>
            </a:lvl8pPr>
            <a:lvl9pPr lvl="8" rtl="0">
              <a:buNone/>
              <a:defRPr>
                <a:solidFill>
                  <a:srgbClr val="F8F8F3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89" name="Google Shape;189;p9"/>
          <p:cNvSpPr txBox="1">
            <a:spLocks noGrp="1"/>
          </p:cNvSpPr>
          <p:nvPr>
            <p:ph type="sldNum" idx="3"/>
          </p:nvPr>
        </p:nvSpPr>
        <p:spPr>
          <a:xfrm>
            <a:off x="11044810" y="6091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algn="r" rtl="0">
              <a:buNone/>
              <a:defRPr sz="1100">
                <a:latin typeface="Lato"/>
                <a:ea typeface="Lato"/>
                <a:cs typeface="Lato"/>
                <a:sym typeface="Lato"/>
              </a:defRPr>
            </a:lvl1pPr>
            <a:lvl2pPr lvl="1" algn="r" rtl="0">
              <a:buNone/>
              <a:defRPr sz="1100">
                <a:latin typeface="Lato"/>
                <a:ea typeface="Lato"/>
                <a:cs typeface="Lato"/>
                <a:sym typeface="Lato"/>
              </a:defRPr>
            </a:lvl2pPr>
            <a:lvl3pPr lvl="2" algn="r" rtl="0">
              <a:buNone/>
              <a:defRPr sz="1100">
                <a:latin typeface="Lato"/>
                <a:ea typeface="Lato"/>
                <a:cs typeface="Lato"/>
                <a:sym typeface="Lato"/>
              </a:defRPr>
            </a:lvl3pPr>
            <a:lvl4pPr lvl="3" algn="r" rtl="0">
              <a:buNone/>
              <a:defRPr sz="1100">
                <a:latin typeface="Lato"/>
                <a:ea typeface="Lato"/>
                <a:cs typeface="Lato"/>
                <a:sym typeface="Lato"/>
              </a:defRPr>
            </a:lvl4pPr>
            <a:lvl5pPr lvl="4" algn="r" rtl="0">
              <a:buNone/>
              <a:defRPr sz="1100">
                <a:latin typeface="Lato"/>
                <a:ea typeface="Lato"/>
                <a:cs typeface="Lato"/>
                <a:sym typeface="Lato"/>
              </a:defRPr>
            </a:lvl5pPr>
            <a:lvl6pPr lvl="5" algn="r" rtl="0">
              <a:buNone/>
              <a:defRPr sz="1100">
                <a:latin typeface="Lato"/>
                <a:ea typeface="Lato"/>
                <a:cs typeface="Lato"/>
                <a:sym typeface="Lato"/>
              </a:defRPr>
            </a:lvl6pPr>
            <a:lvl7pPr lvl="6" algn="r" rtl="0">
              <a:buNone/>
              <a:defRPr sz="1100">
                <a:latin typeface="Lato"/>
                <a:ea typeface="Lato"/>
                <a:cs typeface="Lato"/>
                <a:sym typeface="Lato"/>
              </a:defRPr>
            </a:lvl7pPr>
            <a:lvl8pPr lvl="7" algn="r" rtl="0">
              <a:buNone/>
              <a:defRPr sz="1100">
                <a:latin typeface="Lato"/>
                <a:ea typeface="Lato"/>
                <a:cs typeface="Lato"/>
                <a:sym typeface="Lato"/>
              </a:defRPr>
            </a:lvl8pPr>
            <a:lvl9pPr lvl="8" algn="r" rtl="0">
              <a:buNone/>
              <a:defRPr sz="1100">
                <a:latin typeface="Lato"/>
                <a:ea typeface="Lato"/>
                <a:cs typeface="Lato"/>
                <a:sym typeface="Lato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90" name="Google Shape;190;p9"/>
          <p:cNvSpPr txBox="1">
            <a:spLocks noGrp="1"/>
          </p:cNvSpPr>
          <p:nvPr>
            <p:ph type="subTitle" idx="1"/>
          </p:nvPr>
        </p:nvSpPr>
        <p:spPr>
          <a:xfrm>
            <a:off x="6630600" y="4079967"/>
            <a:ext cx="5026800" cy="16371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300"/>
              <a:buNone/>
              <a:defRPr>
                <a:solidFill>
                  <a:schemeClr val="lt1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91" name="Google Shape;191;p9"/>
          <p:cNvSpPr>
            <a:spLocks noGrp="1"/>
          </p:cNvSpPr>
          <p:nvPr>
            <p:ph type="pic" idx="4"/>
          </p:nvPr>
        </p:nvSpPr>
        <p:spPr>
          <a:xfrm>
            <a:off x="0" y="0"/>
            <a:ext cx="5894400" cy="6858000"/>
          </a:xfrm>
          <a:prstGeom prst="flowChartDelay">
            <a:avLst/>
          </a:prstGeom>
          <a:noFill/>
          <a:ln>
            <a:noFill/>
          </a:ln>
        </p:spPr>
      </p:sp>
      <p:sp>
        <p:nvSpPr>
          <p:cNvPr id="192" name="Google Shape;192;p9"/>
          <p:cNvSpPr/>
          <p:nvPr/>
        </p:nvSpPr>
        <p:spPr>
          <a:xfrm>
            <a:off x="11525533" y="364133"/>
            <a:ext cx="365273" cy="304371"/>
          </a:xfrm>
          <a:custGeom>
            <a:avLst/>
            <a:gdLst/>
            <a:ahLst/>
            <a:cxnLst/>
            <a:rect l="l" t="t" r="r" b="b"/>
            <a:pathLst>
              <a:path w="251479" h="209550" extrusionOk="0">
                <a:moveTo>
                  <a:pt x="62932" y="0"/>
                </a:moveTo>
                <a:lnTo>
                  <a:pt x="59858" y="78"/>
                </a:lnTo>
                <a:lnTo>
                  <a:pt x="56847" y="326"/>
                </a:lnTo>
                <a:lnTo>
                  <a:pt x="53851" y="714"/>
                </a:lnTo>
                <a:lnTo>
                  <a:pt x="50901" y="1257"/>
                </a:lnTo>
                <a:lnTo>
                  <a:pt x="47998" y="1925"/>
                </a:lnTo>
                <a:lnTo>
                  <a:pt x="45142" y="2748"/>
                </a:lnTo>
                <a:lnTo>
                  <a:pt x="42348" y="3695"/>
                </a:lnTo>
                <a:lnTo>
                  <a:pt x="39600" y="4781"/>
                </a:lnTo>
                <a:lnTo>
                  <a:pt x="36915" y="5992"/>
                </a:lnTo>
                <a:lnTo>
                  <a:pt x="34291" y="7327"/>
                </a:lnTo>
                <a:lnTo>
                  <a:pt x="31730" y="8786"/>
                </a:lnTo>
                <a:lnTo>
                  <a:pt x="29246" y="10354"/>
                </a:lnTo>
                <a:lnTo>
                  <a:pt x="26840" y="12031"/>
                </a:lnTo>
                <a:lnTo>
                  <a:pt x="24511" y="13831"/>
                </a:lnTo>
                <a:lnTo>
                  <a:pt x="22261" y="15741"/>
                </a:lnTo>
                <a:lnTo>
                  <a:pt x="20087" y="17743"/>
                </a:lnTo>
                <a:lnTo>
                  <a:pt x="18023" y="19839"/>
                </a:lnTo>
                <a:lnTo>
                  <a:pt x="16036" y="22043"/>
                </a:lnTo>
                <a:lnTo>
                  <a:pt x="14157" y="24325"/>
                </a:lnTo>
                <a:lnTo>
                  <a:pt x="12372" y="26716"/>
                </a:lnTo>
                <a:lnTo>
                  <a:pt x="10696" y="29168"/>
                </a:lnTo>
                <a:lnTo>
                  <a:pt x="9112" y="31714"/>
                </a:lnTo>
                <a:lnTo>
                  <a:pt x="7653" y="34338"/>
                </a:lnTo>
                <a:lnTo>
                  <a:pt x="6318" y="37039"/>
                </a:lnTo>
                <a:lnTo>
                  <a:pt x="5092" y="39802"/>
                </a:lnTo>
                <a:lnTo>
                  <a:pt x="3990" y="42643"/>
                </a:lnTo>
                <a:lnTo>
                  <a:pt x="3012" y="45546"/>
                </a:lnTo>
                <a:lnTo>
                  <a:pt x="2173" y="48495"/>
                </a:lnTo>
                <a:lnTo>
                  <a:pt x="1459" y="51507"/>
                </a:lnTo>
                <a:lnTo>
                  <a:pt x="885" y="54580"/>
                </a:lnTo>
                <a:lnTo>
                  <a:pt x="450" y="57700"/>
                </a:lnTo>
                <a:lnTo>
                  <a:pt x="310" y="59268"/>
                </a:lnTo>
                <a:lnTo>
                  <a:pt x="186" y="60665"/>
                </a:lnTo>
                <a:lnTo>
                  <a:pt x="31" y="63475"/>
                </a:lnTo>
                <a:lnTo>
                  <a:pt x="0" y="66269"/>
                </a:lnTo>
                <a:lnTo>
                  <a:pt x="62" y="69063"/>
                </a:lnTo>
                <a:lnTo>
                  <a:pt x="217" y="71842"/>
                </a:lnTo>
                <a:lnTo>
                  <a:pt x="466" y="74605"/>
                </a:lnTo>
                <a:lnTo>
                  <a:pt x="823" y="77368"/>
                </a:lnTo>
                <a:lnTo>
                  <a:pt x="1257" y="80132"/>
                </a:lnTo>
                <a:lnTo>
                  <a:pt x="1801" y="82864"/>
                </a:lnTo>
                <a:lnTo>
                  <a:pt x="2422" y="85611"/>
                </a:lnTo>
                <a:lnTo>
                  <a:pt x="3120" y="88328"/>
                </a:lnTo>
                <a:lnTo>
                  <a:pt x="3912" y="91045"/>
                </a:lnTo>
                <a:lnTo>
                  <a:pt x="4781" y="93730"/>
                </a:lnTo>
                <a:lnTo>
                  <a:pt x="5728" y="96416"/>
                </a:lnTo>
                <a:lnTo>
                  <a:pt x="7280" y="100436"/>
                </a:lnTo>
                <a:lnTo>
                  <a:pt x="9609" y="105714"/>
                </a:lnTo>
                <a:lnTo>
                  <a:pt x="12201" y="110946"/>
                </a:lnTo>
                <a:lnTo>
                  <a:pt x="15058" y="116099"/>
                </a:lnTo>
                <a:lnTo>
                  <a:pt x="18147" y="121191"/>
                </a:lnTo>
                <a:lnTo>
                  <a:pt x="21438" y="126205"/>
                </a:lnTo>
                <a:lnTo>
                  <a:pt x="24931" y="131126"/>
                </a:lnTo>
                <a:lnTo>
                  <a:pt x="28594" y="135969"/>
                </a:lnTo>
                <a:lnTo>
                  <a:pt x="32413" y="140719"/>
                </a:lnTo>
                <a:lnTo>
                  <a:pt x="36371" y="145392"/>
                </a:lnTo>
                <a:lnTo>
                  <a:pt x="40454" y="149940"/>
                </a:lnTo>
                <a:lnTo>
                  <a:pt x="44630" y="154395"/>
                </a:lnTo>
                <a:lnTo>
                  <a:pt x="48883" y="158742"/>
                </a:lnTo>
                <a:lnTo>
                  <a:pt x="53199" y="162964"/>
                </a:lnTo>
                <a:lnTo>
                  <a:pt x="57545" y="167078"/>
                </a:lnTo>
                <a:lnTo>
                  <a:pt x="61938" y="171068"/>
                </a:lnTo>
                <a:lnTo>
                  <a:pt x="66316" y="174917"/>
                </a:lnTo>
                <a:lnTo>
                  <a:pt x="70678" y="178643"/>
                </a:lnTo>
                <a:lnTo>
                  <a:pt x="75024" y="182229"/>
                </a:lnTo>
                <a:lnTo>
                  <a:pt x="81420" y="187352"/>
                </a:lnTo>
                <a:lnTo>
                  <a:pt x="89663" y="193639"/>
                </a:lnTo>
                <a:lnTo>
                  <a:pt x="97425" y="199274"/>
                </a:lnTo>
                <a:lnTo>
                  <a:pt x="101057" y="201819"/>
                </a:lnTo>
                <a:lnTo>
                  <a:pt x="102454" y="202766"/>
                </a:lnTo>
                <a:lnTo>
                  <a:pt x="105342" y="204458"/>
                </a:lnTo>
                <a:lnTo>
                  <a:pt x="108338" y="205918"/>
                </a:lnTo>
                <a:lnTo>
                  <a:pt x="111396" y="207128"/>
                </a:lnTo>
                <a:lnTo>
                  <a:pt x="114516" y="208091"/>
                </a:lnTo>
                <a:lnTo>
                  <a:pt x="117683" y="208820"/>
                </a:lnTo>
                <a:lnTo>
                  <a:pt x="120896" y="209302"/>
                </a:lnTo>
                <a:lnTo>
                  <a:pt x="124125" y="209550"/>
                </a:lnTo>
                <a:lnTo>
                  <a:pt x="127354" y="209550"/>
                </a:lnTo>
                <a:lnTo>
                  <a:pt x="130583" y="209302"/>
                </a:lnTo>
                <a:lnTo>
                  <a:pt x="133796" y="208820"/>
                </a:lnTo>
                <a:lnTo>
                  <a:pt x="136963" y="208091"/>
                </a:lnTo>
                <a:lnTo>
                  <a:pt x="140098" y="207128"/>
                </a:lnTo>
                <a:lnTo>
                  <a:pt x="143156" y="205918"/>
                </a:lnTo>
                <a:lnTo>
                  <a:pt x="146137" y="204458"/>
                </a:lnTo>
                <a:lnTo>
                  <a:pt x="149024" y="202766"/>
                </a:lnTo>
                <a:lnTo>
                  <a:pt x="150421" y="201819"/>
                </a:lnTo>
                <a:lnTo>
                  <a:pt x="154038" y="199289"/>
                </a:lnTo>
                <a:lnTo>
                  <a:pt x="161769" y="193670"/>
                </a:lnTo>
                <a:lnTo>
                  <a:pt x="169981" y="187414"/>
                </a:lnTo>
                <a:lnTo>
                  <a:pt x="176361" y="182306"/>
                </a:lnTo>
                <a:lnTo>
                  <a:pt x="180676" y="178736"/>
                </a:lnTo>
                <a:lnTo>
                  <a:pt x="185023" y="175042"/>
                </a:lnTo>
                <a:lnTo>
                  <a:pt x="189385" y="171192"/>
                </a:lnTo>
                <a:lnTo>
                  <a:pt x="193763" y="167233"/>
                </a:lnTo>
                <a:lnTo>
                  <a:pt x="198094" y="163151"/>
                </a:lnTo>
                <a:lnTo>
                  <a:pt x="202394" y="158944"/>
                </a:lnTo>
                <a:lnTo>
                  <a:pt x="206647" y="154613"/>
                </a:lnTo>
                <a:lnTo>
                  <a:pt x="210807" y="150189"/>
                </a:lnTo>
                <a:lnTo>
                  <a:pt x="214874" y="145656"/>
                </a:lnTo>
                <a:lnTo>
                  <a:pt x="218817" y="141014"/>
                </a:lnTo>
                <a:lnTo>
                  <a:pt x="222636" y="136280"/>
                </a:lnTo>
                <a:lnTo>
                  <a:pt x="226300" y="131467"/>
                </a:lnTo>
                <a:lnTo>
                  <a:pt x="229792" y="126562"/>
                </a:lnTo>
                <a:lnTo>
                  <a:pt x="233083" y="121579"/>
                </a:lnTo>
                <a:lnTo>
                  <a:pt x="236173" y="116518"/>
                </a:lnTo>
                <a:lnTo>
                  <a:pt x="239044" y="111380"/>
                </a:lnTo>
                <a:lnTo>
                  <a:pt x="241652" y="106180"/>
                </a:lnTo>
                <a:lnTo>
                  <a:pt x="243996" y="100917"/>
                </a:lnTo>
                <a:lnTo>
                  <a:pt x="245564" y="96928"/>
                </a:lnTo>
                <a:lnTo>
                  <a:pt x="246527" y="94258"/>
                </a:lnTo>
                <a:lnTo>
                  <a:pt x="247396" y="91572"/>
                </a:lnTo>
                <a:lnTo>
                  <a:pt x="248203" y="88871"/>
                </a:lnTo>
                <a:lnTo>
                  <a:pt x="248917" y="86155"/>
                </a:lnTo>
                <a:lnTo>
                  <a:pt x="249554" y="83438"/>
                </a:lnTo>
                <a:lnTo>
                  <a:pt x="250112" y="80706"/>
                </a:lnTo>
                <a:lnTo>
                  <a:pt x="250563" y="77958"/>
                </a:lnTo>
                <a:lnTo>
                  <a:pt x="250935" y="75211"/>
                </a:lnTo>
                <a:lnTo>
                  <a:pt x="251215" y="72448"/>
                </a:lnTo>
                <a:lnTo>
                  <a:pt x="251385" y="69684"/>
                </a:lnTo>
                <a:lnTo>
                  <a:pt x="251479" y="66906"/>
                </a:lnTo>
                <a:lnTo>
                  <a:pt x="251463" y="64127"/>
                </a:lnTo>
                <a:lnTo>
                  <a:pt x="251339" y="61333"/>
                </a:lnTo>
                <a:lnTo>
                  <a:pt x="251230" y="59936"/>
                </a:lnTo>
                <a:lnTo>
                  <a:pt x="251199" y="59610"/>
                </a:lnTo>
                <a:lnTo>
                  <a:pt x="251184" y="59268"/>
                </a:lnTo>
                <a:lnTo>
                  <a:pt x="250966" y="57235"/>
                </a:lnTo>
                <a:lnTo>
                  <a:pt x="250361" y="53199"/>
                </a:lnTo>
                <a:lnTo>
                  <a:pt x="249507" y="49256"/>
                </a:lnTo>
                <a:lnTo>
                  <a:pt x="248436" y="45421"/>
                </a:lnTo>
                <a:lnTo>
                  <a:pt x="247132" y="41665"/>
                </a:lnTo>
                <a:lnTo>
                  <a:pt x="245626" y="38032"/>
                </a:lnTo>
                <a:lnTo>
                  <a:pt x="243919" y="34508"/>
                </a:lnTo>
                <a:lnTo>
                  <a:pt x="242009" y="31124"/>
                </a:lnTo>
                <a:lnTo>
                  <a:pt x="240969" y="29479"/>
                </a:lnTo>
                <a:lnTo>
                  <a:pt x="240209" y="28299"/>
                </a:lnTo>
                <a:lnTo>
                  <a:pt x="239401" y="27135"/>
                </a:lnTo>
                <a:lnTo>
                  <a:pt x="238594" y="26110"/>
                </a:lnTo>
                <a:lnTo>
                  <a:pt x="237244" y="24667"/>
                </a:lnTo>
                <a:lnTo>
                  <a:pt x="236281" y="23766"/>
                </a:lnTo>
                <a:lnTo>
                  <a:pt x="235784" y="23332"/>
                </a:lnTo>
                <a:lnTo>
                  <a:pt x="234837" y="22571"/>
                </a:lnTo>
                <a:lnTo>
                  <a:pt x="232882" y="21236"/>
                </a:lnTo>
                <a:lnTo>
                  <a:pt x="230832" y="20134"/>
                </a:lnTo>
                <a:lnTo>
                  <a:pt x="228690" y="19233"/>
                </a:lnTo>
                <a:lnTo>
                  <a:pt x="226517" y="18566"/>
                </a:lnTo>
                <a:lnTo>
                  <a:pt x="224297" y="18116"/>
                </a:lnTo>
                <a:lnTo>
                  <a:pt x="222046" y="17883"/>
                </a:lnTo>
                <a:lnTo>
                  <a:pt x="219795" y="17867"/>
                </a:lnTo>
                <a:lnTo>
                  <a:pt x="217544" y="18069"/>
                </a:lnTo>
                <a:lnTo>
                  <a:pt x="215325" y="18473"/>
                </a:lnTo>
                <a:lnTo>
                  <a:pt x="213167" y="19094"/>
                </a:lnTo>
                <a:lnTo>
                  <a:pt x="211056" y="19916"/>
                </a:lnTo>
                <a:lnTo>
                  <a:pt x="209007" y="20957"/>
                </a:lnTo>
                <a:lnTo>
                  <a:pt x="207082" y="22214"/>
                </a:lnTo>
                <a:lnTo>
                  <a:pt x="205250" y="23658"/>
                </a:lnTo>
                <a:lnTo>
                  <a:pt x="203542" y="25319"/>
                </a:lnTo>
                <a:lnTo>
                  <a:pt x="202751" y="26219"/>
                </a:lnTo>
                <a:lnTo>
                  <a:pt x="185504" y="46787"/>
                </a:lnTo>
                <a:lnTo>
                  <a:pt x="141775" y="98899"/>
                </a:lnTo>
                <a:lnTo>
                  <a:pt x="141232" y="99567"/>
                </a:lnTo>
                <a:lnTo>
                  <a:pt x="140285" y="100964"/>
                </a:lnTo>
                <a:lnTo>
                  <a:pt x="139508" y="102439"/>
                </a:lnTo>
                <a:lnTo>
                  <a:pt x="138903" y="103976"/>
                </a:lnTo>
                <a:lnTo>
                  <a:pt x="138468" y="105543"/>
                </a:lnTo>
                <a:lnTo>
                  <a:pt x="138189" y="107142"/>
                </a:lnTo>
                <a:lnTo>
                  <a:pt x="138065" y="108741"/>
                </a:lnTo>
                <a:lnTo>
                  <a:pt x="138111" y="110356"/>
                </a:lnTo>
                <a:lnTo>
                  <a:pt x="138329" y="111955"/>
                </a:lnTo>
                <a:lnTo>
                  <a:pt x="138701" y="113522"/>
                </a:lnTo>
                <a:lnTo>
                  <a:pt x="139229" y="115044"/>
                </a:lnTo>
                <a:lnTo>
                  <a:pt x="139912" y="116518"/>
                </a:lnTo>
                <a:lnTo>
                  <a:pt x="140750" y="117931"/>
                </a:lnTo>
                <a:lnTo>
                  <a:pt x="141759" y="119266"/>
                </a:lnTo>
                <a:lnTo>
                  <a:pt x="142908" y="120492"/>
                </a:lnTo>
                <a:lnTo>
                  <a:pt x="144212" y="121626"/>
                </a:lnTo>
                <a:lnTo>
                  <a:pt x="144926" y="122138"/>
                </a:lnTo>
                <a:lnTo>
                  <a:pt x="145438" y="122479"/>
                </a:lnTo>
                <a:lnTo>
                  <a:pt x="146494" y="123085"/>
                </a:lnTo>
                <a:lnTo>
                  <a:pt x="147581" y="123613"/>
                </a:lnTo>
                <a:lnTo>
                  <a:pt x="148698" y="124063"/>
                </a:lnTo>
                <a:lnTo>
                  <a:pt x="149863" y="124420"/>
                </a:lnTo>
                <a:lnTo>
                  <a:pt x="151042" y="124684"/>
                </a:lnTo>
                <a:lnTo>
                  <a:pt x="152238" y="124854"/>
                </a:lnTo>
                <a:lnTo>
                  <a:pt x="153448" y="124932"/>
                </a:lnTo>
                <a:lnTo>
                  <a:pt x="154069" y="124932"/>
                </a:lnTo>
                <a:lnTo>
                  <a:pt x="154939" y="124901"/>
                </a:lnTo>
                <a:lnTo>
                  <a:pt x="156662" y="124699"/>
                </a:lnTo>
                <a:lnTo>
                  <a:pt x="158338" y="124311"/>
                </a:lnTo>
                <a:lnTo>
                  <a:pt x="159937" y="123752"/>
                </a:lnTo>
                <a:lnTo>
                  <a:pt x="161459" y="123038"/>
                </a:lnTo>
                <a:lnTo>
                  <a:pt x="162902" y="122153"/>
                </a:lnTo>
                <a:lnTo>
                  <a:pt x="164253" y="121113"/>
                </a:lnTo>
                <a:lnTo>
                  <a:pt x="165495" y="119918"/>
                </a:lnTo>
                <a:lnTo>
                  <a:pt x="166053" y="119266"/>
                </a:lnTo>
                <a:lnTo>
                  <a:pt x="210357" y="66471"/>
                </a:lnTo>
                <a:lnTo>
                  <a:pt x="210668" y="66130"/>
                </a:lnTo>
                <a:lnTo>
                  <a:pt x="211366" y="65586"/>
                </a:lnTo>
                <a:lnTo>
                  <a:pt x="212142" y="65183"/>
                </a:lnTo>
                <a:lnTo>
                  <a:pt x="212965" y="64950"/>
                </a:lnTo>
                <a:lnTo>
                  <a:pt x="213819" y="64872"/>
                </a:lnTo>
                <a:lnTo>
                  <a:pt x="214673" y="64965"/>
                </a:lnTo>
                <a:lnTo>
                  <a:pt x="215495" y="65214"/>
                </a:lnTo>
                <a:lnTo>
                  <a:pt x="216272" y="65633"/>
                </a:lnTo>
                <a:lnTo>
                  <a:pt x="216644" y="65928"/>
                </a:lnTo>
                <a:lnTo>
                  <a:pt x="219252" y="68117"/>
                </a:lnTo>
                <a:lnTo>
                  <a:pt x="219578" y="68412"/>
                </a:lnTo>
                <a:lnTo>
                  <a:pt x="220137" y="69110"/>
                </a:lnTo>
                <a:lnTo>
                  <a:pt x="220525" y="69886"/>
                </a:lnTo>
                <a:lnTo>
                  <a:pt x="220773" y="70709"/>
                </a:lnTo>
                <a:lnTo>
                  <a:pt x="220835" y="71563"/>
                </a:lnTo>
                <a:lnTo>
                  <a:pt x="220758" y="72417"/>
                </a:lnTo>
                <a:lnTo>
                  <a:pt x="220494" y="73239"/>
                </a:lnTo>
                <a:lnTo>
                  <a:pt x="220075" y="74031"/>
                </a:lnTo>
                <a:lnTo>
                  <a:pt x="219795" y="74388"/>
                </a:lnTo>
                <a:lnTo>
                  <a:pt x="175492" y="127183"/>
                </a:lnTo>
                <a:lnTo>
                  <a:pt x="174560" y="128239"/>
                </a:lnTo>
                <a:lnTo>
                  <a:pt x="172573" y="130195"/>
                </a:lnTo>
                <a:lnTo>
                  <a:pt x="170431" y="131918"/>
                </a:lnTo>
                <a:lnTo>
                  <a:pt x="168134" y="133423"/>
                </a:lnTo>
                <a:lnTo>
                  <a:pt x="165696" y="134681"/>
                </a:lnTo>
                <a:lnTo>
                  <a:pt x="163151" y="135705"/>
                </a:lnTo>
                <a:lnTo>
                  <a:pt x="160512" y="136481"/>
                </a:lnTo>
                <a:lnTo>
                  <a:pt x="157764" y="136994"/>
                </a:lnTo>
                <a:lnTo>
                  <a:pt x="156367" y="137133"/>
                </a:lnTo>
                <a:lnTo>
                  <a:pt x="155109" y="137227"/>
                </a:lnTo>
                <a:lnTo>
                  <a:pt x="153868" y="137242"/>
                </a:lnTo>
                <a:lnTo>
                  <a:pt x="152626" y="137227"/>
                </a:lnTo>
                <a:lnTo>
                  <a:pt x="150189" y="137009"/>
                </a:lnTo>
                <a:lnTo>
                  <a:pt x="147782" y="136590"/>
                </a:lnTo>
                <a:lnTo>
                  <a:pt x="145438" y="135954"/>
                </a:lnTo>
                <a:lnTo>
                  <a:pt x="143141" y="135131"/>
                </a:lnTo>
                <a:lnTo>
                  <a:pt x="140937" y="134091"/>
                </a:lnTo>
                <a:lnTo>
                  <a:pt x="138810" y="132865"/>
                </a:lnTo>
                <a:lnTo>
                  <a:pt x="136776" y="131436"/>
                </a:lnTo>
                <a:lnTo>
                  <a:pt x="135814" y="130645"/>
                </a:lnTo>
                <a:lnTo>
                  <a:pt x="135255" y="130179"/>
                </a:lnTo>
                <a:lnTo>
                  <a:pt x="134200" y="129201"/>
                </a:lnTo>
                <a:lnTo>
                  <a:pt x="132725" y="127649"/>
                </a:lnTo>
                <a:lnTo>
                  <a:pt x="130986" y="125460"/>
                </a:lnTo>
                <a:lnTo>
                  <a:pt x="129496" y="123131"/>
                </a:lnTo>
                <a:lnTo>
                  <a:pt x="128254" y="120679"/>
                </a:lnTo>
                <a:lnTo>
                  <a:pt x="127245" y="118148"/>
                </a:lnTo>
                <a:lnTo>
                  <a:pt x="126500" y="115540"/>
                </a:lnTo>
                <a:lnTo>
                  <a:pt x="126019" y="112870"/>
                </a:lnTo>
                <a:lnTo>
                  <a:pt x="125786" y="110185"/>
                </a:lnTo>
                <a:lnTo>
                  <a:pt x="125801" y="107468"/>
                </a:lnTo>
                <a:lnTo>
                  <a:pt x="126081" y="104783"/>
                </a:lnTo>
                <a:lnTo>
                  <a:pt x="126624" y="102113"/>
                </a:lnTo>
                <a:lnTo>
                  <a:pt x="127431" y="99489"/>
                </a:lnTo>
                <a:lnTo>
                  <a:pt x="128487" y="96928"/>
                </a:lnTo>
                <a:lnTo>
                  <a:pt x="129822" y="94460"/>
                </a:lnTo>
                <a:lnTo>
                  <a:pt x="131017" y="92690"/>
                </a:lnTo>
                <a:lnTo>
                  <a:pt x="131887" y="91541"/>
                </a:lnTo>
                <a:lnTo>
                  <a:pt x="132337" y="90967"/>
                </a:lnTo>
                <a:lnTo>
                  <a:pt x="157966" y="60432"/>
                </a:lnTo>
                <a:lnTo>
                  <a:pt x="193312" y="18302"/>
                </a:lnTo>
                <a:lnTo>
                  <a:pt x="193856" y="17681"/>
                </a:lnTo>
                <a:lnTo>
                  <a:pt x="194958" y="16470"/>
                </a:lnTo>
                <a:lnTo>
                  <a:pt x="196697" y="14778"/>
                </a:lnTo>
                <a:lnTo>
                  <a:pt x="199149" y="12745"/>
                </a:lnTo>
                <a:lnTo>
                  <a:pt x="201757" y="10960"/>
                </a:lnTo>
                <a:lnTo>
                  <a:pt x="204474" y="9423"/>
                </a:lnTo>
                <a:lnTo>
                  <a:pt x="207299" y="8134"/>
                </a:lnTo>
                <a:lnTo>
                  <a:pt x="210217" y="7110"/>
                </a:lnTo>
                <a:lnTo>
                  <a:pt x="213198" y="6334"/>
                </a:lnTo>
                <a:lnTo>
                  <a:pt x="214704" y="6054"/>
                </a:lnTo>
                <a:lnTo>
                  <a:pt x="213105" y="5309"/>
                </a:lnTo>
                <a:lnTo>
                  <a:pt x="209860" y="3958"/>
                </a:lnTo>
                <a:lnTo>
                  <a:pt x="206523" y="2810"/>
                </a:lnTo>
                <a:lnTo>
                  <a:pt x="203108" y="1832"/>
                </a:lnTo>
                <a:lnTo>
                  <a:pt x="199630" y="1056"/>
                </a:lnTo>
                <a:lnTo>
                  <a:pt x="196091" y="497"/>
                </a:lnTo>
                <a:lnTo>
                  <a:pt x="192505" y="140"/>
                </a:lnTo>
                <a:lnTo>
                  <a:pt x="188857" y="0"/>
                </a:lnTo>
                <a:lnTo>
                  <a:pt x="187010" y="16"/>
                </a:lnTo>
                <a:lnTo>
                  <a:pt x="185737" y="47"/>
                </a:lnTo>
                <a:lnTo>
                  <a:pt x="183222" y="202"/>
                </a:lnTo>
                <a:lnTo>
                  <a:pt x="180723" y="450"/>
                </a:lnTo>
                <a:lnTo>
                  <a:pt x="178255" y="776"/>
                </a:lnTo>
                <a:lnTo>
                  <a:pt x="175802" y="1195"/>
                </a:lnTo>
                <a:lnTo>
                  <a:pt x="173380" y="1708"/>
                </a:lnTo>
                <a:lnTo>
                  <a:pt x="171005" y="2313"/>
                </a:lnTo>
                <a:lnTo>
                  <a:pt x="168646" y="2996"/>
                </a:lnTo>
                <a:lnTo>
                  <a:pt x="166317" y="3757"/>
                </a:lnTo>
                <a:lnTo>
                  <a:pt x="164035" y="4610"/>
                </a:lnTo>
                <a:lnTo>
                  <a:pt x="161800" y="5542"/>
                </a:lnTo>
                <a:lnTo>
                  <a:pt x="159596" y="6551"/>
                </a:lnTo>
                <a:lnTo>
                  <a:pt x="157422" y="7638"/>
                </a:lnTo>
                <a:lnTo>
                  <a:pt x="155311" y="8786"/>
                </a:lnTo>
                <a:lnTo>
                  <a:pt x="153247" y="10028"/>
                </a:lnTo>
                <a:lnTo>
                  <a:pt x="151213" y="11332"/>
                </a:lnTo>
                <a:lnTo>
                  <a:pt x="149257" y="12714"/>
                </a:lnTo>
                <a:lnTo>
                  <a:pt x="147332" y="14157"/>
                </a:lnTo>
                <a:lnTo>
                  <a:pt x="145469" y="15679"/>
                </a:lnTo>
                <a:lnTo>
                  <a:pt x="143669" y="17262"/>
                </a:lnTo>
                <a:lnTo>
                  <a:pt x="141930" y="18907"/>
                </a:lnTo>
                <a:lnTo>
                  <a:pt x="140254" y="20615"/>
                </a:lnTo>
                <a:lnTo>
                  <a:pt x="138624" y="22385"/>
                </a:lnTo>
                <a:lnTo>
                  <a:pt x="137071" y="24216"/>
                </a:lnTo>
                <a:lnTo>
                  <a:pt x="135597" y="26095"/>
                </a:lnTo>
                <a:lnTo>
                  <a:pt x="134184" y="28035"/>
                </a:lnTo>
                <a:lnTo>
                  <a:pt x="132833" y="30038"/>
                </a:lnTo>
                <a:lnTo>
                  <a:pt x="131561" y="32102"/>
                </a:lnTo>
                <a:lnTo>
                  <a:pt x="130381" y="34198"/>
                </a:lnTo>
                <a:lnTo>
                  <a:pt x="129263" y="36356"/>
                </a:lnTo>
                <a:lnTo>
                  <a:pt x="128223" y="38560"/>
                </a:lnTo>
                <a:lnTo>
                  <a:pt x="127276" y="40826"/>
                </a:lnTo>
                <a:lnTo>
                  <a:pt x="126841" y="41960"/>
                </a:lnTo>
                <a:lnTo>
                  <a:pt x="126717" y="42270"/>
                </a:lnTo>
                <a:lnTo>
                  <a:pt x="126469" y="42720"/>
                </a:lnTo>
                <a:lnTo>
                  <a:pt x="126205" y="42969"/>
                </a:lnTo>
                <a:lnTo>
                  <a:pt x="125910" y="43062"/>
                </a:lnTo>
                <a:lnTo>
                  <a:pt x="125739" y="43077"/>
                </a:lnTo>
                <a:lnTo>
                  <a:pt x="125569" y="43062"/>
                </a:lnTo>
                <a:lnTo>
                  <a:pt x="125274" y="42969"/>
                </a:lnTo>
                <a:lnTo>
                  <a:pt x="125010" y="42720"/>
                </a:lnTo>
                <a:lnTo>
                  <a:pt x="124761" y="42270"/>
                </a:lnTo>
                <a:lnTo>
                  <a:pt x="124637" y="41960"/>
                </a:lnTo>
                <a:lnTo>
                  <a:pt x="124202" y="40826"/>
                </a:lnTo>
                <a:lnTo>
                  <a:pt x="123256" y="38560"/>
                </a:lnTo>
                <a:lnTo>
                  <a:pt x="122215" y="36356"/>
                </a:lnTo>
                <a:lnTo>
                  <a:pt x="121098" y="34198"/>
                </a:lnTo>
                <a:lnTo>
                  <a:pt x="119918" y="32102"/>
                </a:lnTo>
                <a:lnTo>
                  <a:pt x="118645" y="30038"/>
                </a:lnTo>
                <a:lnTo>
                  <a:pt x="117295" y="28035"/>
                </a:lnTo>
                <a:lnTo>
                  <a:pt x="115882" y="26095"/>
                </a:lnTo>
                <a:lnTo>
                  <a:pt x="114407" y="24216"/>
                </a:lnTo>
                <a:lnTo>
                  <a:pt x="112855" y="22385"/>
                </a:lnTo>
                <a:lnTo>
                  <a:pt x="111225" y="20615"/>
                </a:lnTo>
                <a:lnTo>
                  <a:pt x="109548" y="18907"/>
                </a:lnTo>
                <a:lnTo>
                  <a:pt x="107810" y="17262"/>
                </a:lnTo>
                <a:lnTo>
                  <a:pt x="106009" y="15679"/>
                </a:lnTo>
                <a:lnTo>
                  <a:pt x="104146" y="14157"/>
                </a:lnTo>
                <a:lnTo>
                  <a:pt x="102221" y="12714"/>
                </a:lnTo>
                <a:lnTo>
                  <a:pt x="100265" y="11332"/>
                </a:lnTo>
                <a:lnTo>
                  <a:pt x="98232" y="10028"/>
                </a:lnTo>
                <a:lnTo>
                  <a:pt x="96167" y="8786"/>
                </a:lnTo>
                <a:lnTo>
                  <a:pt x="94056" y="7638"/>
                </a:lnTo>
                <a:lnTo>
                  <a:pt x="91883" y="6551"/>
                </a:lnTo>
                <a:lnTo>
                  <a:pt x="89678" y="5542"/>
                </a:lnTo>
                <a:lnTo>
                  <a:pt x="87443" y="4610"/>
                </a:lnTo>
                <a:lnTo>
                  <a:pt x="85161" y="3757"/>
                </a:lnTo>
                <a:lnTo>
                  <a:pt x="82833" y="2996"/>
                </a:lnTo>
                <a:lnTo>
                  <a:pt x="80473" y="2313"/>
                </a:lnTo>
                <a:lnTo>
                  <a:pt x="78098" y="1708"/>
                </a:lnTo>
                <a:lnTo>
                  <a:pt x="75676" y="1195"/>
                </a:lnTo>
                <a:lnTo>
                  <a:pt x="73224" y="776"/>
                </a:lnTo>
                <a:lnTo>
                  <a:pt x="70756" y="450"/>
                </a:lnTo>
                <a:lnTo>
                  <a:pt x="68256" y="202"/>
                </a:lnTo>
                <a:lnTo>
                  <a:pt x="65741" y="47"/>
                </a:lnTo>
                <a:lnTo>
                  <a:pt x="64469" y="16"/>
                </a:lnTo>
                <a:lnTo>
                  <a:pt x="62932" y="0"/>
                </a:ln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861987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0BF540-E243-412A-9AF4-95648F2C9B38}" type="datetime1">
              <a:rPr lang="en-US" smtClean="0"/>
              <a:t>6/2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Break/Big Idea 7 - Add Image_Light">
  <p:cSld name="Section Break/Big Idea 7 - Add Image_Light">
    <p:bg>
      <p:bgPr>
        <a:solidFill>
          <a:schemeClr val="lt2"/>
        </a:solidFill>
        <a:effectLst/>
      </p:bgPr>
    </p:bg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4" name="Google Shape;194;p10"/>
          <p:cNvGrpSpPr/>
          <p:nvPr/>
        </p:nvGrpSpPr>
        <p:grpSpPr>
          <a:xfrm>
            <a:off x="415598" y="6427310"/>
            <a:ext cx="1329629" cy="189008"/>
            <a:chOff x="237650" y="2349675"/>
            <a:chExt cx="7144700" cy="1015625"/>
          </a:xfrm>
        </p:grpSpPr>
        <p:sp>
          <p:nvSpPr>
            <p:cNvPr id="195" name="Google Shape;195;p10"/>
            <p:cNvSpPr/>
            <p:nvPr/>
          </p:nvSpPr>
          <p:spPr>
            <a:xfrm>
              <a:off x="3096625" y="2466575"/>
              <a:ext cx="156400" cy="841200"/>
            </a:xfrm>
            <a:custGeom>
              <a:avLst/>
              <a:gdLst/>
              <a:ahLst/>
              <a:cxnLst/>
              <a:rect l="l" t="t" r="r" b="b"/>
              <a:pathLst>
                <a:path w="6256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2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1" y="1448"/>
                  </a:lnTo>
                  <a:lnTo>
                    <a:pt x="1" y="32182"/>
                  </a:lnTo>
                  <a:lnTo>
                    <a:pt x="19" y="32479"/>
                  </a:lnTo>
                  <a:lnTo>
                    <a:pt x="242" y="33017"/>
                  </a:lnTo>
                  <a:lnTo>
                    <a:pt x="632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08" y="33648"/>
                  </a:lnTo>
                  <a:lnTo>
                    <a:pt x="5105" y="33629"/>
                  </a:lnTo>
                  <a:lnTo>
                    <a:pt x="5624" y="33406"/>
                  </a:lnTo>
                  <a:lnTo>
                    <a:pt x="6014" y="33017"/>
                  </a:lnTo>
                  <a:lnTo>
                    <a:pt x="6237" y="32479"/>
                  </a:lnTo>
                  <a:lnTo>
                    <a:pt x="6255" y="32182"/>
                  </a:lnTo>
                  <a:lnTo>
                    <a:pt x="6255" y="1448"/>
                  </a:lnTo>
                  <a:lnTo>
                    <a:pt x="6237" y="1151"/>
                  </a:lnTo>
                  <a:lnTo>
                    <a:pt x="6014" y="632"/>
                  </a:lnTo>
                  <a:lnTo>
                    <a:pt x="5624" y="242"/>
                  </a:lnTo>
                  <a:lnTo>
                    <a:pt x="5105" y="19"/>
                  </a:lnTo>
                  <a:lnTo>
                    <a:pt x="4808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" name="Google Shape;196;p10"/>
            <p:cNvSpPr/>
            <p:nvPr/>
          </p:nvSpPr>
          <p:spPr>
            <a:xfrm>
              <a:off x="1673175" y="2466575"/>
              <a:ext cx="655150" cy="841200"/>
            </a:xfrm>
            <a:custGeom>
              <a:avLst/>
              <a:gdLst/>
              <a:ahLst/>
              <a:cxnLst/>
              <a:rect l="l" t="t" r="r" b="b"/>
              <a:pathLst>
                <a:path w="26206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1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0" y="1448"/>
                  </a:lnTo>
                  <a:lnTo>
                    <a:pt x="0" y="32200"/>
                  </a:lnTo>
                  <a:lnTo>
                    <a:pt x="19" y="32497"/>
                  </a:lnTo>
                  <a:lnTo>
                    <a:pt x="242" y="33017"/>
                  </a:lnTo>
                  <a:lnTo>
                    <a:pt x="631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26" y="33648"/>
                  </a:lnTo>
                  <a:lnTo>
                    <a:pt x="5104" y="33629"/>
                  </a:lnTo>
                  <a:lnTo>
                    <a:pt x="5624" y="33406"/>
                  </a:lnTo>
                  <a:lnTo>
                    <a:pt x="6032" y="33017"/>
                  </a:lnTo>
                  <a:lnTo>
                    <a:pt x="6255" y="32497"/>
                  </a:lnTo>
                  <a:lnTo>
                    <a:pt x="6273" y="32200"/>
                  </a:lnTo>
                  <a:lnTo>
                    <a:pt x="6273" y="18133"/>
                  </a:lnTo>
                  <a:lnTo>
                    <a:pt x="19933" y="18133"/>
                  </a:lnTo>
                  <a:lnTo>
                    <a:pt x="19933" y="32200"/>
                  </a:lnTo>
                  <a:lnTo>
                    <a:pt x="19951" y="32497"/>
                  </a:lnTo>
                  <a:lnTo>
                    <a:pt x="20174" y="33017"/>
                  </a:lnTo>
                  <a:lnTo>
                    <a:pt x="20564" y="33406"/>
                  </a:lnTo>
                  <a:lnTo>
                    <a:pt x="21083" y="33629"/>
                  </a:lnTo>
                  <a:lnTo>
                    <a:pt x="21380" y="33648"/>
                  </a:lnTo>
                  <a:lnTo>
                    <a:pt x="24739" y="33648"/>
                  </a:lnTo>
                  <a:lnTo>
                    <a:pt x="25036" y="33629"/>
                  </a:lnTo>
                  <a:lnTo>
                    <a:pt x="25556" y="33406"/>
                  </a:lnTo>
                  <a:lnTo>
                    <a:pt x="25964" y="33017"/>
                  </a:lnTo>
                  <a:lnTo>
                    <a:pt x="26168" y="32497"/>
                  </a:lnTo>
                  <a:lnTo>
                    <a:pt x="26205" y="32200"/>
                  </a:lnTo>
                  <a:lnTo>
                    <a:pt x="26205" y="1448"/>
                  </a:lnTo>
                  <a:lnTo>
                    <a:pt x="26168" y="1151"/>
                  </a:lnTo>
                  <a:lnTo>
                    <a:pt x="25964" y="632"/>
                  </a:lnTo>
                  <a:lnTo>
                    <a:pt x="25556" y="242"/>
                  </a:lnTo>
                  <a:lnTo>
                    <a:pt x="25036" y="19"/>
                  </a:lnTo>
                  <a:lnTo>
                    <a:pt x="24739" y="1"/>
                  </a:lnTo>
                  <a:lnTo>
                    <a:pt x="21380" y="1"/>
                  </a:lnTo>
                  <a:lnTo>
                    <a:pt x="21083" y="19"/>
                  </a:lnTo>
                  <a:lnTo>
                    <a:pt x="20564" y="242"/>
                  </a:lnTo>
                  <a:lnTo>
                    <a:pt x="20174" y="632"/>
                  </a:lnTo>
                  <a:lnTo>
                    <a:pt x="19951" y="1151"/>
                  </a:lnTo>
                  <a:lnTo>
                    <a:pt x="19933" y="1448"/>
                  </a:lnTo>
                  <a:lnTo>
                    <a:pt x="19933" y="13641"/>
                  </a:lnTo>
                  <a:lnTo>
                    <a:pt x="6273" y="13641"/>
                  </a:lnTo>
                  <a:lnTo>
                    <a:pt x="6273" y="1448"/>
                  </a:lnTo>
                  <a:lnTo>
                    <a:pt x="6255" y="1151"/>
                  </a:lnTo>
                  <a:lnTo>
                    <a:pt x="6032" y="632"/>
                  </a:lnTo>
                  <a:lnTo>
                    <a:pt x="5624" y="242"/>
                  </a:lnTo>
                  <a:lnTo>
                    <a:pt x="5104" y="19"/>
                  </a:lnTo>
                  <a:lnTo>
                    <a:pt x="4826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" name="Google Shape;197;p10"/>
            <p:cNvSpPr/>
            <p:nvPr/>
          </p:nvSpPr>
          <p:spPr>
            <a:xfrm>
              <a:off x="3382900" y="2466575"/>
              <a:ext cx="156375" cy="841200"/>
            </a:xfrm>
            <a:custGeom>
              <a:avLst/>
              <a:gdLst/>
              <a:ahLst/>
              <a:cxnLst/>
              <a:rect l="l" t="t" r="r" b="b"/>
              <a:pathLst>
                <a:path w="6255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2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1" y="1448"/>
                  </a:lnTo>
                  <a:lnTo>
                    <a:pt x="1" y="32182"/>
                  </a:lnTo>
                  <a:lnTo>
                    <a:pt x="19" y="32479"/>
                  </a:lnTo>
                  <a:lnTo>
                    <a:pt x="242" y="33017"/>
                  </a:lnTo>
                  <a:lnTo>
                    <a:pt x="632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07" y="33648"/>
                  </a:lnTo>
                  <a:lnTo>
                    <a:pt x="5104" y="33629"/>
                  </a:lnTo>
                  <a:lnTo>
                    <a:pt x="5624" y="33406"/>
                  </a:lnTo>
                  <a:lnTo>
                    <a:pt x="6014" y="33017"/>
                  </a:lnTo>
                  <a:lnTo>
                    <a:pt x="6236" y="32479"/>
                  </a:lnTo>
                  <a:lnTo>
                    <a:pt x="6255" y="32182"/>
                  </a:lnTo>
                  <a:lnTo>
                    <a:pt x="6255" y="1448"/>
                  </a:lnTo>
                  <a:lnTo>
                    <a:pt x="6236" y="1151"/>
                  </a:lnTo>
                  <a:lnTo>
                    <a:pt x="6014" y="632"/>
                  </a:lnTo>
                  <a:lnTo>
                    <a:pt x="5624" y="242"/>
                  </a:lnTo>
                  <a:lnTo>
                    <a:pt x="5104" y="19"/>
                  </a:lnTo>
                  <a:lnTo>
                    <a:pt x="4807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" name="Google Shape;198;p10"/>
            <p:cNvSpPr/>
            <p:nvPr/>
          </p:nvSpPr>
          <p:spPr>
            <a:xfrm>
              <a:off x="3610700" y="2663300"/>
              <a:ext cx="680675" cy="662575"/>
            </a:xfrm>
            <a:custGeom>
              <a:avLst/>
              <a:gdLst/>
              <a:ahLst/>
              <a:cxnLst/>
              <a:rect l="l" t="t" r="r" b="b"/>
              <a:pathLst>
                <a:path w="27227" h="26503" extrusionOk="0">
                  <a:moveTo>
                    <a:pt x="14087" y="5123"/>
                  </a:moveTo>
                  <a:lnTo>
                    <a:pt x="14959" y="5216"/>
                  </a:lnTo>
                  <a:lnTo>
                    <a:pt x="15757" y="5383"/>
                  </a:lnTo>
                  <a:lnTo>
                    <a:pt x="16500" y="5661"/>
                  </a:lnTo>
                  <a:lnTo>
                    <a:pt x="16852" y="5828"/>
                  </a:lnTo>
                  <a:lnTo>
                    <a:pt x="17521" y="6199"/>
                  </a:lnTo>
                  <a:lnTo>
                    <a:pt x="18634" y="7127"/>
                  </a:lnTo>
                  <a:lnTo>
                    <a:pt x="19098" y="7665"/>
                  </a:lnTo>
                  <a:lnTo>
                    <a:pt x="19525" y="8259"/>
                  </a:lnTo>
                  <a:lnTo>
                    <a:pt x="20193" y="9558"/>
                  </a:lnTo>
                  <a:lnTo>
                    <a:pt x="20434" y="10264"/>
                  </a:lnTo>
                  <a:lnTo>
                    <a:pt x="20638" y="10969"/>
                  </a:lnTo>
                  <a:lnTo>
                    <a:pt x="20861" y="12416"/>
                  </a:lnTo>
                  <a:lnTo>
                    <a:pt x="20880" y="13159"/>
                  </a:lnTo>
                  <a:lnTo>
                    <a:pt x="20861" y="13883"/>
                  </a:lnTo>
                  <a:lnTo>
                    <a:pt x="20638" y="15349"/>
                  </a:lnTo>
                  <a:lnTo>
                    <a:pt x="20434" y="16073"/>
                  </a:lnTo>
                  <a:lnTo>
                    <a:pt x="20193" y="16796"/>
                  </a:lnTo>
                  <a:lnTo>
                    <a:pt x="19525" y="18095"/>
                  </a:lnTo>
                  <a:lnTo>
                    <a:pt x="19098" y="18671"/>
                  </a:lnTo>
                  <a:lnTo>
                    <a:pt x="18634" y="19228"/>
                  </a:lnTo>
                  <a:lnTo>
                    <a:pt x="17521" y="20174"/>
                  </a:lnTo>
                  <a:lnTo>
                    <a:pt x="16852" y="20564"/>
                  </a:lnTo>
                  <a:lnTo>
                    <a:pt x="16500" y="20731"/>
                  </a:lnTo>
                  <a:lnTo>
                    <a:pt x="15757" y="21009"/>
                  </a:lnTo>
                  <a:lnTo>
                    <a:pt x="14959" y="21195"/>
                  </a:lnTo>
                  <a:lnTo>
                    <a:pt x="14087" y="21269"/>
                  </a:lnTo>
                  <a:lnTo>
                    <a:pt x="13623" y="21288"/>
                  </a:lnTo>
                  <a:lnTo>
                    <a:pt x="13159" y="21269"/>
                  </a:lnTo>
                  <a:lnTo>
                    <a:pt x="12287" y="21195"/>
                  </a:lnTo>
                  <a:lnTo>
                    <a:pt x="11470" y="21009"/>
                  </a:lnTo>
                  <a:lnTo>
                    <a:pt x="10728" y="20731"/>
                  </a:lnTo>
                  <a:lnTo>
                    <a:pt x="10394" y="20564"/>
                  </a:lnTo>
                  <a:lnTo>
                    <a:pt x="9726" y="20174"/>
                  </a:lnTo>
                  <a:lnTo>
                    <a:pt x="8612" y="19228"/>
                  </a:lnTo>
                  <a:lnTo>
                    <a:pt x="8148" y="18671"/>
                  </a:lnTo>
                  <a:lnTo>
                    <a:pt x="7721" y="18095"/>
                  </a:lnTo>
                  <a:lnTo>
                    <a:pt x="7053" y="16778"/>
                  </a:lnTo>
                  <a:lnTo>
                    <a:pt x="6812" y="16073"/>
                  </a:lnTo>
                  <a:lnTo>
                    <a:pt x="6608" y="15349"/>
                  </a:lnTo>
                  <a:lnTo>
                    <a:pt x="6385" y="13883"/>
                  </a:lnTo>
                  <a:lnTo>
                    <a:pt x="6367" y="13159"/>
                  </a:lnTo>
                  <a:lnTo>
                    <a:pt x="6385" y="12416"/>
                  </a:lnTo>
                  <a:lnTo>
                    <a:pt x="6608" y="10969"/>
                  </a:lnTo>
                  <a:lnTo>
                    <a:pt x="6812" y="10264"/>
                  </a:lnTo>
                  <a:lnTo>
                    <a:pt x="7053" y="9558"/>
                  </a:lnTo>
                  <a:lnTo>
                    <a:pt x="7721" y="8259"/>
                  </a:lnTo>
                  <a:lnTo>
                    <a:pt x="8148" y="7665"/>
                  </a:lnTo>
                  <a:lnTo>
                    <a:pt x="8612" y="7127"/>
                  </a:lnTo>
                  <a:lnTo>
                    <a:pt x="9726" y="6199"/>
                  </a:lnTo>
                  <a:lnTo>
                    <a:pt x="10394" y="5828"/>
                  </a:lnTo>
                  <a:lnTo>
                    <a:pt x="10728" y="5661"/>
                  </a:lnTo>
                  <a:lnTo>
                    <a:pt x="11470" y="5383"/>
                  </a:lnTo>
                  <a:lnTo>
                    <a:pt x="12287" y="5216"/>
                  </a:lnTo>
                  <a:lnTo>
                    <a:pt x="13159" y="5123"/>
                  </a:lnTo>
                  <a:close/>
                  <a:moveTo>
                    <a:pt x="13623" y="1"/>
                  </a:moveTo>
                  <a:lnTo>
                    <a:pt x="12918" y="19"/>
                  </a:lnTo>
                  <a:lnTo>
                    <a:pt x="11545" y="131"/>
                  </a:lnTo>
                  <a:lnTo>
                    <a:pt x="10227" y="372"/>
                  </a:lnTo>
                  <a:lnTo>
                    <a:pt x="8928" y="724"/>
                  </a:lnTo>
                  <a:lnTo>
                    <a:pt x="8297" y="947"/>
                  </a:lnTo>
                  <a:lnTo>
                    <a:pt x="7684" y="1188"/>
                  </a:lnTo>
                  <a:lnTo>
                    <a:pt x="6515" y="1745"/>
                  </a:lnTo>
                  <a:lnTo>
                    <a:pt x="5439" y="2413"/>
                  </a:lnTo>
                  <a:lnTo>
                    <a:pt x="4437" y="3174"/>
                  </a:lnTo>
                  <a:lnTo>
                    <a:pt x="3973" y="3601"/>
                  </a:lnTo>
                  <a:lnTo>
                    <a:pt x="3527" y="4046"/>
                  </a:lnTo>
                  <a:lnTo>
                    <a:pt x="2692" y="4993"/>
                  </a:lnTo>
                  <a:lnTo>
                    <a:pt x="1968" y="6032"/>
                  </a:lnTo>
                  <a:lnTo>
                    <a:pt x="1356" y="7146"/>
                  </a:lnTo>
                  <a:lnTo>
                    <a:pt x="1077" y="7758"/>
                  </a:lnTo>
                  <a:lnTo>
                    <a:pt x="818" y="8371"/>
                  </a:lnTo>
                  <a:lnTo>
                    <a:pt x="409" y="9651"/>
                  </a:lnTo>
                  <a:lnTo>
                    <a:pt x="149" y="10987"/>
                  </a:lnTo>
                  <a:lnTo>
                    <a:pt x="20" y="12416"/>
                  </a:lnTo>
                  <a:lnTo>
                    <a:pt x="1" y="13159"/>
                  </a:lnTo>
                  <a:lnTo>
                    <a:pt x="20" y="13883"/>
                  </a:lnTo>
                  <a:lnTo>
                    <a:pt x="149" y="15312"/>
                  </a:lnTo>
                  <a:lnTo>
                    <a:pt x="409" y="16666"/>
                  </a:lnTo>
                  <a:lnTo>
                    <a:pt x="818" y="17947"/>
                  </a:lnTo>
                  <a:lnTo>
                    <a:pt x="1077" y="18578"/>
                  </a:lnTo>
                  <a:lnTo>
                    <a:pt x="1356" y="19172"/>
                  </a:lnTo>
                  <a:lnTo>
                    <a:pt x="1968" y="20322"/>
                  </a:lnTo>
                  <a:lnTo>
                    <a:pt x="2692" y="21362"/>
                  </a:lnTo>
                  <a:lnTo>
                    <a:pt x="3527" y="22327"/>
                  </a:lnTo>
                  <a:lnTo>
                    <a:pt x="3973" y="22772"/>
                  </a:lnTo>
                  <a:lnTo>
                    <a:pt x="4437" y="23199"/>
                  </a:lnTo>
                  <a:lnTo>
                    <a:pt x="5439" y="23979"/>
                  </a:lnTo>
                  <a:lnTo>
                    <a:pt x="6515" y="24665"/>
                  </a:lnTo>
                  <a:lnTo>
                    <a:pt x="7684" y="25259"/>
                  </a:lnTo>
                  <a:lnTo>
                    <a:pt x="8297" y="25519"/>
                  </a:lnTo>
                  <a:lnTo>
                    <a:pt x="8928" y="25742"/>
                  </a:lnTo>
                  <a:lnTo>
                    <a:pt x="10227" y="26113"/>
                  </a:lnTo>
                  <a:lnTo>
                    <a:pt x="11545" y="26373"/>
                  </a:lnTo>
                  <a:lnTo>
                    <a:pt x="12918" y="26484"/>
                  </a:lnTo>
                  <a:lnTo>
                    <a:pt x="13623" y="26503"/>
                  </a:lnTo>
                  <a:lnTo>
                    <a:pt x="14328" y="26484"/>
                  </a:lnTo>
                  <a:lnTo>
                    <a:pt x="15683" y="26373"/>
                  </a:lnTo>
                  <a:lnTo>
                    <a:pt x="17019" y="26113"/>
                  </a:lnTo>
                  <a:lnTo>
                    <a:pt x="18300" y="25742"/>
                  </a:lnTo>
                  <a:lnTo>
                    <a:pt x="18931" y="25519"/>
                  </a:lnTo>
                  <a:lnTo>
                    <a:pt x="19562" y="25259"/>
                  </a:lnTo>
                  <a:lnTo>
                    <a:pt x="20731" y="24665"/>
                  </a:lnTo>
                  <a:lnTo>
                    <a:pt x="21808" y="23979"/>
                  </a:lnTo>
                  <a:lnTo>
                    <a:pt x="22810" y="23199"/>
                  </a:lnTo>
                  <a:lnTo>
                    <a:pt x="23274" y="22772"/>
                  </a:lnTo>
                  <a:lnTo>
                    <a:pt x="23719" y="22327"/>
                  </a:lnTo>
                  <a:lnTo>
                    <a:pt x="24536" y="21362"/>
                  </a:lnTo>
                  <a:lnTo>
                    <a:pt x="25260" y="20322"/>
                  </a:lnTo>
                  <a:lnTo>
                    <a:pt x="25891" y="19172"/>
                  </a:lnTo>
                  <a:lnTo>
                    <a:pt x="26169" y="18578"/>
                  </a:lnTo>
                  <a:lnTo>
                    <a:pt x="26429" y="17947"/>
                  </a:lnTo>
                  <a:lnTo>
                    <a:pt x="26818" y="16666"/>
                  </a:lnTo>
                  <a:lnTo>
                    <a:pt x="27097" y="15312"/>
                  </a:lnTo>
                  <a:lnTo>
                    <a:pt x="27227" y="13883"/>
                  </a:lnTo>
                  <a:lnTo>
                    <a:pt x="27227" y="13159"/>
                  </a:lnTo>
                  <a:lnTo>
                    <a:pt x="27227" y="12416"/>
                  </a:lnTo>
                  <a:lnTo>
                    <a:pt x="27097" y="10987"/>
                  </a:lnTo>
                  <a:lnTo>
                    <a:pt x="26818" y="9651"/>
                  </a:lnTo>
                  <a:lnTo>
                    <a:pt x="26429" y="8371"/>
                  </a:lnTo>
                  <a:lnTo>
                    <a:pt x="26169" y="7758"/>
                  </a:lnTo>
                  <a:lnTo>
                    <a:pt x="25891" y="7146"/>
                  </a:lnTo>
                  <a:lnTo>
                    <a:pt x="25260" y="6032"/>
                  </a:lnTo>
                  <a:lnTo>
                    <a:pt x="24536" y="4993"/>
                  </a:lnTo>
                  <a:lnTo>
                    <a:pt x="23719" y="4046"/>
                  </a:lnTo>
                  <a:lnTo>
                    <a:pt x="23274" y="3601"/>
                  </a:lnTo>
                  <a:lnTo>
                    <a:pt x="22810" y="3174"/>
                  </a:lnTo>
                  <a:lnTo>
                    <a:pt x="21808" y="2413"/>
                  </a:lnTo>
                  <a:lnTo>
                    <a:pt x="20731" y="1745"/>
                  </a:lnTo>
                  <a:lnTo>
                    <a:pt x="19562" y="1188"/>
                  </a:lnTo>
                  <a:lnTo>
                    <a:pt x="18931" y="947"/>
                  </a:lnTo>
                  <a:lnTo>
                    <a:pt x="18300" y="724"/>
                  </a:lnTo>
                  <a:lnTo>
                    <a:pt x="17019" y="372"/>
                  </a:lnTo>
                  <a:lnTo>
                    <a:pt x="15683" y="131"/>
                  </a:lnTo>
                  <a:lnTo>
                    <a:pt x="14328" y="19"/>
                  </a:lnTo>
                  <a:lnTo>
                    <a:pt x="13623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" name="Google Shape;199;p10"/>
            <p:cNvSpPr/>
            <p:nvPr/>
          </p:nvSpPr>
          <p:spPr>
            <a:xfrm>
              <a:off x="5231350" y="2663300"/>
              <a:ext cx="633825" cy="662575"/>
            </a:xfrm>
            <a:custGeom>
              <a:avLst/>
              <a:gdLst/>
              <a:ahLst/>
              <a:cxnLst/>
              <a:rect l="l" t="t" r="r" b="b"/>
              <a:pathLst>
                <a:path w="25353" h="26503" extrusionOk="0">
                  <a:moveTo>
                    <a:pt x="13196" y="4696"/>
                  </a:moveTo>
                  <a:lnTo>
                    <a:pt x="13939" y="4715"/>
                  </a:lnTo>
                  <a:lnTo>
                    <a:pt x="15256" y="4974"/>
                  </a:lnTo>
                  <a:lnTo>
                    <a:pt x="15832" y="5197"/>
                  </a:lnTo>
                  <a:lnTo>
                    <a:pt x="16388" y="5457"/>
                  </a:lnTo>
                  <a:lnTo>
                    <a:pt x="17298" y="6125"/>
                  </a:lnTo>
                  <a:lnTo>
                    <a:pt x="17687" y="6515"/>
                  </a:lnTo>
                  <a:lnTo>
                    <a:pt x="18040" y="6942"/>
                  </a:lnTo>
                  <a:lnTo>
                    <a:pt x="18578" y="7907"/>
                  </a:lnTo>
                  <a:lnTo>
                    <a:pt x="18764" y="8445"/>
                  </a:lnTo>
                  <a:lnTo>
                    <a:pt x="18912" y="9002"/>
                  </a:lnTo>
                  <a:lnTo>
                    <a:pt x="19079" y="10152"/>
                  </a:lnTo>
                  <a:lnTo>
                    <a:pt x="19098" y="10746"/>
                  </a:lnTo>
                  <a:lnTo>
                    <a:pt x="6274" y="10746"/>
                  </a:lnTo>
                  <a:lnTo>
                    <a:pt x="6329" y="10097"/>
                  </a:lnTo>
                  <a:lnTo>
                    <a:pt x="6664" y="8890"/>
                  </a:lnTo>
                  <a:lnTo>
                    <a:pt x="7202" y="7795"/>
                  </a:lnTo>
                  <a:lnTo>
                    <a:pt x="7963" y="6830"/>
                  </a:lnTo>
                  <a:lnTo>
                    <a:pt x="8427" y="6403"/>
                  </a:lnTo>
                  <a:lnTo>
                    <a:pt x="8928" y="5995"/>
                  </a:lnTo>
                  <a:lnTo>
                    <a:pt x="10023" y="5346"/>
                  </a:lnTo>
                  <a:lnTo>
                    <a:pt x="11210" y="4937"/>
                  </a:lnTo>
                  <a:lnTo>
                    <a:pt x="12510" y="4715"/>
                  </a:lnTo>
                  <a:lnTo>
                    <a:pt x="13196" y="4696"/>
                  </a:lnTo>
                  <a:close/>
                  <a:moveTo>
                    <a:pt x="13252" y="1"/>
                  </a:moveTo>
                  <a:lnTo>
                    <a:pt x="12565" y="19"/>
                  </a:lnTo>
                  <a:lnTo>
                    <a:pt x="11192" y="131"/>
                  </a:lnTo>
                  <a:lnTo>
                    <a:pt x="9893" y="372"/>
                  </a:lnTo>
                  <a:lnTo>
                    <a:pt x="8631" y="743"/>
                  </a:lnTo>
                  <a:lnTo>
                    <a:pt x="8018" y="966"/>
                  </a:lnTo>
                  <a:lnTo>
                    <a:pt x="7406" y="1226"/>
                  </a:lnTo>
                  <a:lnTo>
                    <a:pt x="6292" y="1801"/>
                  </a:lnTo>
                  <a:lnTo>
                    <a:pt x="5235" y="2469"/>
                  </a:lnTo>
                  <a:lnTo>
                    <a:pt x="4269" y="3248"/>
                  </a:lnTo>
                  <a:lnTo>
                    <a:pt x="3824" y="3675"/>
                  </a:lnTo>
                  <a:lnTo>
                    <a:pt x="3379" y="4121"/>
                  </a:lnTo>
                  <a:lnTo>
                    <a:pt x="2581" y="5086"/>
                  </a:lnTo>
                  <a:lnTo>
                    <a:pt x="1894" y="6144"/>
                  </a:lnTo>
                  <a:lnTo>
                    <a:pt x="1281" y="7294"/>
                  </a:lnTo>
                  <a:lnTo>
                    <a:pt x="1022" y="7907"/>
                  </a:lnTo>
                  <a:lnTo>
                    <a:pt x="780" y="8538"/>
                  </a:lnTo>
                  <a:lnTo>
                    <a:pt x="391" y="9837"/>
                  </a:lnTo>
                  <a:lnTo>
                    <a:pt x="149" y="11210"/>
                  </a:lnTo>
                  <a:lnTo>
                    <a:pt x="19" y="12658"/>
                  </a:lnTo>
                  <a:lnTo>
                    <a:pt x="1" y="13400"/>
                  </a:lnTo>
                  <a:lnTo>
                    <a:pt x="19" y="14161"/>
                  </a:lnTo>
                  <a:lnTo>
                    <a:pt x="149" y="15609"/>
                  </a:lnTo>
                  <a:lnTo>
                    <a:pt x="391" y="17000"/>
                  </a:lnTo>
                  <a:lnTo>
                    <a:pt x="780" y="18300"/>
                  </a:lnTo>
                  <a:lnTo>
                    <a:pt x="1022" y="18912"/>
                  </a:lnTo>
                  <a:lnTo>
                    <a:pt x="1281" y="19506"/>
                  </a:lnTo>
                  <a:lnTo>
                    <a:pt x="1894" y="20619"/>
                  </a:lnTo>
                  <a:lnTo>
                    <a:pt x="2599" y="21659"/>
                  </a:lnTo>
                  <a:lnTo>
                    <a:pt x="3397" y="22587"/>
                  </a:lnTo>
                  <a:lnTo>
                    <a:pt x="3843" y="23013"/>
                  </a:lnTo>
                  <a:lnTo>
                    <a:pt x="4288" y="23422"/>
                  </a:lnTo>
                  <a:lnTo>
                    <a:pt x="5272" y="24146"/>
                  </a:lnTo>
                  <a:lnTo>
                    <a:pt x="6348" y="24795"/>
                  </a:lnTo>
                  <a:lnTo>
                    <a:pt x="7480" y="25352"/>
                  </a:lnTo>
                  <a:lnTo>
                    <a:pt x="8093" y="25593"/>
                  </a:lnTo>
                  <a:lnTo>
                    <a:pt x="8705" y="25797"/>
                  </a:lnTo>
                  <a:lnTo>
                    <a:pt x="10004" y="26150"/>
                  </a:lnTo>
                  <a:lnTo>
                    <a:pt x="11340" y="26373"/>
                  </a:lnTo>
                  <a:lnTo>
                    <a:pt x="12732" y="26484"/>
                  </a:lnTo>
                  <a:lnTo>
                    <a:pt x="13475" y="26503"/>
                  </a:lnTo>
                  <a:lnTo>
                    <a:pt x="14236" y="26484"/>
                  </a:lnTo>
                  <a:lnTo>
                    <a:pt x="15683" y="26373"/>
                  </a:lnTo>
                  <a:lnTo>
                    <a:pt x="17075" y="26131"/>
                  </a:lnTo>
                  <a:lnTo>
                    <a:pt x="18374" y="25760"/>
                  </a:lnTo>
                  <a:lnTo>
                    <a:pt x="19599" y="25296"/>
                  </a:lnTo>
                  <a:lnTo>
                    <a:pt x="20731" y="24684"/>
                  </a:lnTo>
                  <a:lnTo>
                    <a:pt x="21789" y="23960"/>
                  </a:lnTo>
                  <a:lnTo>
                    <a:pt x="22773" y="23125"/>
                  </a:lnTo>
                  <a:lnTo>
                    <a:pt x="23237" y="22661"/>
                  </a:lnTo>
                  <a:lnTo>
                    <a:pt x="23422" y="22420"/>
                  </a:lnTo>
                  <a:lnTo>
                    <a:pt x="23608" y="21863"/>
                  </a:lnTo>
                  <a:lnTo>
                    <a:pt x="23552" y="21288"/>
                  </a:lnTo>
                  <a:lnTo>
                    <a:pt x="23274" y="20768"/>
                  </a:lnTo>
                  <a:lnTo>
                    <a:pt x="23051" y="20564"/>
                  </a:lnTo>
                  <a:lnTo>
                    <a:pt x="21158" y="19042"/>
                  </a:lnTo>
                  <a:lnTo>
                    <a:pt x="20935" y="18875"/>
                  </a:lnTo>
                  <a:lnTo>
                    <a:pt x="20434" y="18726"/>
                  </a:lnTo>
                  <a:lnTo>
                    <a:pt x="19915" y="18745"/>
                  </a:lnTo>
                  <a:lnTo>
                    <a:pt x="19432" y="18949"/>
                  </a:lnTo>
                  <a:lnTo>
                    <a:pt x="19246" y="19135"/>
                  </a:lnTo>
                  <a:lnTo>
                    <a:pt x="18820" y="19543"/>
                  </a:lnTo>
                  <a:lnTo>
                    <a:pt x="17892" y="20230"/>
                  </a:lnTo>
                  <a:lnTo>
                    <a:pt x="17372" y="20527"/>
                  </a:lnTo>
                  <a:lnTo>
                    <a:pt x="16964" y="20731"/>
                  </a:lnTo>
                  <a:lnTo>
                    <a:pt x="16073" y="21046"/>
                  </a:lnTo>
                  <a:lnTo>
                    <a:pt x="15071" y="21269"/>
                  </a:lnTo>
                  <a:lnTo>
                    <a:pt x="13994" y="21380"/>
                  </a:lnTo>
                  <a:lnTo>
                    <a:pt x="13419" y="21380"/>
                  </a:lnTo>
                  <a:lnTo>
                    <a:pt x="12732" y="21362"/>
                  </a:lnTo>
                  <a:lnTo>
                    <a:pt x="11433" y="21120"/>
                  </a:lnTo>
                  <a:lnTo>
                    <a:pt x="10802" y="20916"/>
                  </a:lnTo>
                  <a:lnTo>
                    <a:pt x="10190" y="20657"/>
                  </a:lnTo>
                  <a:lnTo>
                    <a:pt x="9076" y="20026"/>
                  </a:lnTo>
                  <a:lnTo>
                    <a:pt x="8557" y="19636"/>
                  </a:lnTo>
                  <a:lnTo>
                    <a:pt x="8074" y="19209"/>
                  </a:lnTo>
                  <a:lnTo>
                    <a:pt x="7295" y="18244"/>
                  </a:lnTo>
                  <a:lnTo>
                    <a:pt x="6979" y="17706"/>
                  </a:lnTo>
                  <a:lnTo>
                    <a:pt x="6682" y="17130"/>
                  </a:lnTo>
                  <a:lnTo>
                    <a:pt x="6329" y="15905"/>
                  </a:lnTo>
                  <a:lnTo>
                    <a:pt x="6274" y="15237"/>
                  </a:lnTo>
                  <a:lnTo>
                    <a:pt x="23905" y="15237"/>
                  </a:lnTo>
                  <a:lnTo>
                    <a:pt x="24202" y="15200"/>
                  </a:lnTo>
                  <a:lnTo>
                    <a:pt x="24721" y="14996"/>
                  </a:lnTo>
                  <a:lnTo>
                    <a:pt x="25111" y="14606"/>
                  </a:lnTo>
                  <a:lnTo>
                    <a:pt x="25334" y="14087"/>
                  </a:lnTo>
                  <a:lnTo>
                    <a:pt x="25352" y="13790"/>
                  </a:lnTo>
                  <a:lnTo>
                    <a:pt x="25352" y="13567"/>
                  </a:lnTo>
                  <a:lnTo>
                    <a:pt x="25352" y="12713"/>
                  </a:lnTo>
                  <a:lnTo>
                    <a:pt x="25222" y="11136"/>
                  </a:lnTo>
                  <a:lnTo>
                    <a:pt x="25000" y="9651"/>
                  </a:lnTo>
                  <a:lnTo>
                    <a:pt x="24666" y="8278"/>
                  </a:lnTo>
                  <a:lnTo>
                    <a:pt x="24443" y="7647"/>
                  </a:lnTo>
                  <a:lnTo>
                    <a:pt x="24202" y="7016"/>
                  </a:lnTo>
                  <a:lnTo>
                    <a:pt x="23663" y="5847"/>
                  </a:lnTo>
                  <a:lnTo>
                    <a:pt x="23032" y="4807"/>
                  </a:lnTo>
                  <a:lnTo>
                    <a:pt x="22309" y="3842"/>
                  </a:lnTo>
                  <a:lnTo>
                    <a:pt x="21919" y="3415"/>
                  </a:lnTo>
                  <a:lnTo>
                    <a:pt x="21511" y="3007"/>
                  </a:lnTo>
                  <a:lnTo>
                    <a:pt x="20620" y="2265"/>
                  </a:lnTo>
                  <a:lnTo>
                    <a:pt x="19655" y="1615"/>
                  </a:lnTo>
                  <a:lnTo>
                    <a:pt x="18634" y="1096"/>
                  </a:lnTo>
                  <a:lnTo>
                    <a:pt x="18077" y="873"/>
                  </a:lnTo>
                  <a:lnTo>
                    <a:pt x="17520" y="650"/>
                  </a:lnTo>
                  <a:lnTo>
                    <a:pt x="16370" y="335"/>
                  </a:lnTo>
                  <a:lnTo>
                    <a:pt x="15163" y="112"/>
                  </a:lnTo>
                  <a:lnTo>
                    <a:pt x="13901" y="19"/>
                  </a:lnTo>
                  <a:lnTo>
                    <a:pt x="13252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" name="Google Shape;200;p10"/>
            <p:cNvSpPr/>
            <p:nvPr/>
          </p:nvSpPr>
          <p:spPr>
            <a:xfrm>
              <a:off x="5884625" y="2663300"/>
              <a:ext cx="579075" cy="659800"/>
            </a:xfrm>
            <a:custGeom>
              <a:avLst/>
              <a:gdLst/>
              <a:ahLst/>
              <a:cxnLst/>
              <a:rect l="l" t="t" r="r" b="b"/>
              <a:pathLst>
                <a:path w="23163" h="26392" extrusionOk="0">
                  <a:moveTo>
                    <a:pt x="17223" y="14347"/>
                  </a:moveTo>
                  <a:lnTo>
                    <a:pt x="17223" y="15237"/>
                  </a:lnTo>
                  <a:lnTo>
                    <a:pt x="17205" y="15961"/>
                  </a:lnTo>
                  <a:lnTo>
                    <a:pt x="17001" y="17297"/>
                  </a:lnTo>
                  <a:lnTo>
                    <a:pt x="16574" y="18467"/>
                  </a:lnTo>
                  <a:lnTo>
                    <a:pt x="15943" y="19487"/>
                  </a:lnTo>
                  <a:lnTo>
                    <a:pt x="15553" y="19933"/>
                  </a:lnTo>
                  <a:lnTo>
                    <a:pt x="15108" y="20341"/>
                  </a:lnTo>
                  <a:lnTo>
                    <a:pt x="14087" y="20991"/>
                  </a:lnTo>
                  <a:lnTo>
                    <a:pt x="12862" y="21417"/>
                  </a:lnTo>
                  <a:lnTo>
                    <a:pt x="11433" y="21640"/>
                  </a:lnTo>
                  <a:lnTo>
                    <a:pt x="10653" y="21659"/>
                  </a:lnTo>
                  <a:lnTo>
                    <a:pt x="9855" y="21622"/>
                  </a:lnTo>
                  <a:lnTo>
                    <a:pt x="9076" y="21492"/>
                  </a:lnTo>
                  <a:lnTo>
                    <a:pt x="8705" y="21417"/>
                  </a:lnTo>
                  <a:lnTo>
                    <a:pt x="8000" y="21158"/>
                  </a:lnTo>
                  <a:lnTo>
                    <a:pt x="7666" y="20972"/>
                  </a:lnTo>
                  <a:lnTo>
                    <a:pt x="7369" y="20786"/>
                  </a:lnTo>
                  <a:lnTo>
                    <a:pt x="6867" y="20304"/>
                  </a:lnTo>
                  <a:lnTo>
                    <a:pt x="6645" y="20007"/>
                  </a:lnTo>
                  <a:lnTo>
                    <a:pt x="6478" y="19691"/>
                  </a:lnTo>
                  <a:lnTo>
                    <a:pt x="6274" y="18949"/>
                  </a:lnTo>
                  <a:lnTo>
                    <a:pt x="6255" y="18522"/>
                  </a:lnTo>
                  <a:lnTo>
                    <a:pt x="6274" y="18170"/>
                  </a:lnTo>
                  <a:lnTo>
                    <a:pt x="6385" y="17557"/>
                  </a:lnTo>
                  <a:lnTo>
                    <a:pt x="6626" y="17000"/>
                  </a:lnTo>
                  <a:lnTo>
                    <a:pt x="6979" y="16518"/>
                  </a:lnTo>
                  <a:lnTo>
                    <a:pt x="7202" y="16314"/>
                  </a:lnTo>
                  <a:lnTo>
                    <a:pt x="7684" y="15924"/>
                  </a:lnTo>
                  <a:lnTo>
                    <a:pt x="8872" y="15293"/>
                  </a:lnTo>
                  <a:lnTo>
                    <a:pt x="9540" y="15052"/>
                  </a:lnTo>
                  <a:lnTo>
                    <a:pt x="10264" y="14848"/>
                  </a:lnTo>
                  <a:lnTo>
                    <a:pt x="11804" y="14551"/>
                  </a:lnTo>
                  <a:lnTo>
                    <a:pt x="12621" y="14476"/>
                  </a:lnTo>
                  <a:lnTo>
                    <a:pt x="14272" y="14365"/>
                  </a:lnTo>
                  <a:lnTo>
                    <a:pt x="15813" y="14347"/>
                  </a:lnTo>
                  <a:close/>
                  <a:moveTo>
                    <a:pt x="12008" y="1"/>
                  </a:moveTo>
                  <a:lnTo>
                    <a:pt x="11284" y="19"/>
                  </a:lnTo>
                  <a:lnTo>
                    <a:pt x="9855" y="131"/>
                  </a:lnTo>
                  <a:lnTo>
                    <a:pt x="8445" y="390"/>
                  </a:lnTo>
                  <a:lnTo>
                    <a:pt x="7035" y="762"/>
                  </a:lnTo>
                  <a:lnTo>
                    <a:pt x="6348" y="1003"/>
                  </a:lnTo>
                  <a:lnTo>
                    <a:pt x="5327" y="1374"/>
                  </a:lnTo>
                  <a:lnTo>
                    <a:pt x="3434" y="2376"/>
                  </a:lnTo>
                  <a:lnTo>
                    <a:pt x="2580" y="3007"/>
                  </a:lnTo>
                  <a:lnTo>
                    <a:pt x="2339" y="3193"/>
                  </a:lnTo>
                  <a:lnTo>
                    <a:pt x="2061" y="3712"/>
                  </a:lnTo>
                  <a:lnTo>
                    <a:pt x="2005" y="4269"/>
                  </a:lnTo>
                  <a:lnTo>
                    <a:pt x="2191" y="4845"/>
                  </a:lnTo>
                  <a:lnTo>
                    <a:pt x="2358" y="5086"/>
                  </a:lnTo>
                  <a:lnTo>
                    <a:pt x="3712" y="6663"/>
                  </a:lnTo>
                  <a:lnTo>
                    <a:pt x="3898" y="6867"/>
                  </a:lnTo>
                  <a:lnTo>
                    <a:pt x="4381" y="7127"/>
                  </a:lnTo>
                  <a:lnTo>
                    <a:pt x="4900" y="7183"/>
                  </a:lnTo>
                  <a:lnTo>
                    <a:pt x="5420" y="7053"/>
                  </a:lnTo>
                  <a:lnTo>
                    <a:pt x="5661" y="6905"/>
                  </a:lnTo>
                  <a:lnTo>
                    <a:pt x="6107" y="6589"/>
                  </a:lnTo>
                  <a:lnTo>
                    <a:pt x="7127" y="5995"/>
                  </a:lnTo>
                  <a:lnTo>
                    <a:pt x="7684" y="5735"/>
                  </a:lnTo>
                  <a:lnTo>
                    <a:pt x="8129" y="5550"/>
                  </a:lnTo>
                  <a:lnTo>
                    <a:pt x="9057" y="5234"/>
                  </a:lnTo>
                  <a:lnTo>
                    <a:pt x="10022" y="5012"/>
                  </a:lnTo>
                  <a:lnTo>
                    <a:pt x="10988" y="4919"/>
                  </a:lnTo>
                  <a:lnTo>
                    <a:pt x="11489" y="4900"/>
                  </a:lnTo>
                  <a:lnTo>
                    <a:pt x="12064" y="4919"/>
                  </a:lnTo>
                  <a:lnTo>
                    <a:pt x="13159" y="5049"/>
                  </a:lnTo>
                  <a:lnTo>
                    <a:pt x="14161" y="5346"/>
                  </a:lnTo>
                  <a:lnTo>
                    <a:pt x="15089" y="5754"/>
                  </a:lnTo>
                  <a:lnTo>
                    <a:pt x="15534" y="6032"/>
                  </a:lnTo>
                  <a:lnTo>
                    <a:pt x="15924" y="6311"/>
                  </a:lnTo>
                  <a:lnTo>
                    <a:pt x="16574" y="7034"/>
                  </a:lnTo>
                  <a:lnTo>
                    <a:pt x="16982" y="7907"/>
                  </a:lnTo>
                  <a:lnTo>
                    <a:pt x="17205" y="8927"/>
                  </a:lnTo>
                  <a:lnTo>
                    <a:pt x="17223" y="9484"/>
                  </a:lnTo>
                  <a:lnTo>
                    <a:pt x="17223" y="10115"/>
                  </a:lnTo>
                  <a:lnTo>
                    <a:pt x="15757" y="10134"/>
                  </a:lnTo>
                  <a:lnTo>
                    <a:pt x="12769" y="10282"/>
                  </a:lnTo>
                  <a:lnTo>
                    <a:pt x="11247" y="10412"/>
                  </a:lnTo>
                  <a:lnTo>
                    <a:pt x="9744" y="10579"/>
                  </a:lnTo>
                  <a:lnTo>
                    <a:pt x="7647" y="11006"/>
                  </a:lnTo>
                  <a:lnTo>
                    <a:pt x="6329" y="11359"/>
                  </a:lnTo>
                  <a:lnTo>
                    <a:pt x="5698" y="11581"/>
                  </a:lnTo>
                  <a:lnTo>
                    <a:pt x="5067" y="11804"/>
                  </a:lnTo>
                  <a:lnTo>
                    <a:pt x="3935" y="12361"/>
                  </a:lnTo>
                  <a:lnTo>
                    <a:pt x="2914" y="12992"/>
                  </a:lnTo>
                  <a:lnTo>
                    <a:pt x="2005" y="13734"/>
                  </a:lnTo>
                  <a:lnTo>
                    <a:pt x="1597" y="14142"/>
                  </a:lnTo>
                  <a:lnTo>
                    <a:pt x="1207" y="14569"/>
                  </a:lnTo>
                  <a:lnTo>
                    <a:pt x="613" y="15553"/>
                  </a:lnTo>
                  <a:lnTo>
                    <a:pt x="223" y="16666"/>
                  </a:lnTo>
                  <a:lnTo>
                    <a:pt x="19" y="17928"/>
                  </a:lnTo>
                  <a:lnTo>
                    <a:pt x="1" y="18615"/>
                  </a:lnTo>
                  <a:lnTo>
                    <a:pt x="19" y="19172"/>
                  </a:lnTo>
                  <a:lnTo>
                    <a:pt x="131" y="20174"/>
                  </a:lnTo>
                  <a:lnTo>
                    <a:pt x="353" y="21083"/>
                  </a:lnTo>
                  <a:lnTo>
                    <a:pt x="706" y="21919"/>
                  </a:lnTo>
                  <a:lnTo>
                    <a:pt x="910" y="22308"/>
                  </a:lnTo>
                  <a:lnTo>
                    <a:pt x="1151" y="22661"/>
                  </a:lnTo>
                  <a:lnTo>
                    <a:pt x="1671" y="23348"/>
                  </a:lnTo>
                  <a:lnTo>
                    <a:pt x="2246" y="23941"/>
                  </a:lnTo>
                  <a:lnTo>
                    <a:pt x="2877" y="24461"/>
                  </a:lnTo>
                  <a:lnTo>
                    <a:pt x="3211" y="24702"/>
                  </a:lnTo>
                  <a:lnTo>
                    <a:pt x="3917" y="25129"/>
                  </a:lnTo>
                  <a:lnTo>
                    <a:pt x="5420" y="25779"/>
                  </a:lnTo>
                  <a:lnTo>
                    <a:pt x="6236" y="26001"/>
                  </a:lnTo>
                  <a:lnTo>
                    <a:pt x="7053" y="26187"/>
                  </a:lnTo>
                  <a:lnTo>
                    <a:pt x="8631" y="26373"/>
                  </a:lnTo>
                  <a:lnTo>
                    <a:pt x="9391" y="26391"/>
                  </a:lnTo>
                  <a:lnTo>
                    <a:pt x="10060" y="26391"/>
                  </a:lnTo>
                  <a:lnTo>
                    <a:pt x="11303" y="26243"/>
                  </a:lnTo>
                  <a:lnTo>
                    <a:pt x="12491" y="25983"/>
                  </a:lnTo>
                  <a:lnTo>
                    <a:pt x="13604" y="25575"/>
                  </a:lnTo>
                  <a:lnTo>
                    <a:pt x="14143" y="25315"/>
                  </a:lnTo>
                  <a:lnTo>
                    <a:pt x="14644" y="25055"/>
                  </a:lnTo>
                  <a:lnTo>
                    <a:pt x="15553" y="24442"/>
                  </a:lnTo>
                  <a:lnTo>
                    <a:pt x="16314" y="23756"/>
                  </a:lnTo>
                  <a:lnTo>
                    <a:pt x="16926" y="22995"/>
                  </a:lnTo>
                  <a:lnTo>
                    <a:pt x="17168" y="22587"/>
                  </a:lnTo>
                  <a:lnTo>
                    <a:pt x="17316" y="22587"/>
                  </a:lnTo>
                  <a:lnTo>
                    <a:pt x="17316" y="24313"/>
                  </a:lnTo>
                  <a:lnTo>
                    <a:pt x="17335" y="24610"/>
                  </a:lnTo>
                  <a:lnTo>
                    <a:pt x="17557" y="25129"/>
                  </a:lnTo>
                  <a:lnTo>
                    <a:pt x="17947" y="25519"/>
                  </a:lnTo>
                  <a:lnTo>
                    <a:pt x="18467" y="25742"/>
                  </a:lnTo>
                  <a:lnTo>
                    <a:pt x="18764" y="25760"/>
                  </a:lnTo>
                  <a:lnTo>
                    <a:pt x="21715" y="25760"/>
                  </a:lnTo>
                  <a:lnTo>
                    <a:pt x="22011" y="25742"/>
                  </a:lnTo>
                  <a:lnTo>
                    <a:pt x="22531" y="25519"/>
                  </a:lnTo>
                  <a:lnTo>
                    <a:pt x="22921" y="25129"/>
                  </a:lnTo>
                  <a:lnTo>
                    <a:pt x="23144" y="24610"/>
                  </a:lnTo>
                  <a:lnTo>
                    <a:pt x="23162" y="24313"/>
                  </a:lnTo>
                  <a:lnTo>
                    <a:pt x="23162" y="10542"/>
                  </a:lnTo>
                  <a:lnTo>
                    <a:pt x="23144" y="9596"/>
                  </a:lnTo>
                  <a:lnTo>
                    <a:pt x="22902" y="7721"/>
                  </a:lnTo>
                  <a:lnTo>
                    <a:pt x="22661" y="6775"/>
                  </a:lnTo>
                  <a:lnTo>
                    <a:pt x="22531" y="6311"/>
                  </a:lnTo>
                  <a:lnTo>
                    <a:pt x="22197" y="5420"/>
                  </a:lnTo>
                  <a:lnTo>
                    <a:pt x="21752" y="4566"/>
                  </a:lnTo>
                  <a:lnTo>
                    <a:pt x="21232" y="3768"/>
                  </a:lnTo>
                  <a:lnTo>
                    <a:pt x="20917" y="3378"/>
                  </a:lnTo>
                  <a:lnTo>
                    <a:pt x="20917" y="3397"/>
                  </a:lnTo>
                  <a:lnTo>
                    <a:pt x="20601" y="3026"/>
                  </a:lnTo>
                  <a:lnTo>
                    <a:pt x="19859" y="2339"/>
                  </a:lnTo>
                  <a:lnTo>
                    <a:pt x="19005" y="1727"/>
                  </a:lnTo>
                  <a:lnTo>
                    <a:pt x="18040" y="1188"/>
                  </a:lnTo>
                  <a:lnTo>
                    <a:pt x="17502" y="947"/>
                  </a:lnTo>
                  <a:lnTo>
                    <a:pt x="16945" y="724"/>
                  </a:lnTo>
                  <a:lnTo>
                    <a:pt x="15720" y="372"/>
                  </a:lnTo>
                  <a:lnTo>
                    <a:pt x="14347" y="131"/>
                  </a:lnTo>
                  <a:lnTo>
                    <a:pt x="12825" y="19"/>
                  </a:lnTo>
                  <a:lnTo>
                    <a:pt x="12008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" name="Google Shape;201;p10"/>
            <p:cNvSpPr/>
            <p:nvPr/>
          </p:nvSpPr>
          <p:spPr>
            <a:xfrm>
              <a:off x="6545800" y="2664225"/>
              <a:ext cx="373975" cy="643550"/>
            </a:xfrm>
            <a:custGeom>
              <a:avLst/>
              <a:gdLst/>
              <a:ahLst/>
              <a:cxnLst/>
              <a:rect l="l" t="t" r="r" b="b"/>
              <a:pathLst>
                <a:path w="14959" h="25742" extrusionOk="0">
                  <a:moveTo>
                    <a:pt x="13400" y="1"/>
                  </a:moveTo>
                  <a:lnTo>
                    <a:pt x="13400" y="19"/>
                  </a:lnTo>
                  <a:lnTo>
                    <a:pt x="12639" y="75"/>
                  </a:lnTo>
                  <a:lnTo>
                    <a:pt x="11339" y="279"/>
                  </a:lnTo>
                  <a:lnTo>
                    <a:pt x="10300" y="613"/>
                  </a:lnTo>
                  <a:lnTo>
                    <a:pt x="9409" y="1059"/>
                  </a:lnTo>
                  <a:lnTo>
                    <a:pt x="9020" y="1318"/>
                  </a:lnTo>
                  <a:lnTo>
                    <a:pt x="8556" y="1671"/>
                  </a:lnTo>
                  <a:lnTo>
                    <a:pt x="7721" y="2451"/>
                  </a:lnTo>
                  <a:lnTo>
                    <a:pt x="6997" y="3341"/>
                  </a:lnTo>
                  <a:lnTo>
                    <a:pt x="6366" y="4325"/>
                  </a:lnTo>
                  <a:lnTo>
                    <a:pt x="6106" y="4863"/>
                  </a:lnTo>
                  <a:lnTo>
                    <a:pt x="5995" y="4863"/>
                  </a:lnTo>
                  <a:lnTo>
                    <a:pt x="5995" y="2135"/>
                  </a:lnTo>
                  <a:lnTo>
                    <a:pt x="5976" y="1838"/>
                  </a:lnTo>
                  <a:lnTo>
                    <a:pt x="5753" y="1318"/>
                  </a:lnTo>
                  <a:lnTo>
                    <a:pt x="5364" y="929"/>
                  </a:lnTo>
                  <a:lnTo>
                    <a:pt x="4844" y="706"/>
                  </a:lnTo>
                  <a:lnTo>
                    <a:pt x="4547" y="687"/>
                  </a:lnTo>
                  <a:lnTo>
                    <a:pt x="1448" y="687"/>
                  </a:lnTo>
                  <a:lnTo>
                    <a:pt x="1151" y="706"/>
                  </a:lnTo>
                  <a:lnTo>
                    <a:pt x="631" y="929"/>
                  </a:lnTo>
                  <a:lnTo>
                    <a:pt x="241" y="1318"/>
                  </a:lnTo>
                  <a:lnTo>
                    <a:pt x="19" y="1838"/>
                  </a:lnTo>
                  <a:lnTo>
                    <a:pt x="0" y="2135"/>
                  </a:lnTo>
                  <a:lnTo>
                    <a:pt x="0" y="24276"/>
                  </a:lnTo>
                  <a:lnTo>
                    <a:pt x="19" y="24573"/>
                  </a:lnTo>
                  <a:lnTo>
                    <a:pt x="241" y="25092"/>
                  </a:lnTo>
                  <a:lnTo>
                    <a:pt x="631" y="25500"/>
                  </a:lnTo>
                  <a:lnTo>
                    <a:pt x="1151" y="25705"/>
                  </a:lnTo>
                  <a:lnTo>
                    <a:pt x="1448" y="25742"/>
                  </a:lnTo>
                  <a:lnTo>
                    <a:pt x="4807" y="25742"/>
                  </a:lnTo>
                  <a:lnTo>
                    <a:pt x="5104" y="25705"/>
                  </a:lnTo>
                  <a:lnTo>
                    <a:pt x="5623" y="25500"/>
                  </a:lnTo>
                  <a:lnTo>
                    <a:pt x="6013" y="25092"/>
                  </a:lnTo>
                  <a:lnTo>
                    <a:pt x="6236" y="24573"/>
                  </a:lnTo>
                  <a:lnTo>
                    <a:pt x="6254" y="24276"/>
                  </a:lnTo>
                  <a:lnTo>
                    <a:pt x="6254" y="12324"/>
                  </a:lnTo>
                  <a:lnTo>
                    <a:pt x="6273" y="11971"/>
                  </a:lnTo>
                  <a:lnTo>
                    <a:pt x="6403" y="11062"/>
                  </a:lnTo>
                  <a:lnTo>
                    <a:pt x="6514" y="10505"/>
                  </a:lnTo>
                  <a:lnTo>
                    <a:pt x="6663" y="9930"/>
                  </a:lnTo>
                  <a:lnTo>
                    <a:pt x="7164" y="8816"/>
                  </a:lnTo>
                  <a:lnTo>
                    <a:pt x="7516" y="8259"/>
                  </a:lnTo>
                  <a:lnTo>
                    <a:pt x="7906" y="7721"/>
                  </a:lnTo>
                  <a:lnTo>
                    <a:pt x="8908" y="6775"/>
                  </a:lnTo>
                  <a:lnTo>
                    <a:pt x="9539" y="6385"/>
                  </a:lnTo>
                  <a:lnTo>
                    <a:pt x="10170" y="6014"/>
                  </a:lnTo>
                  <a:lnTo>
                    <a:pt x="11636" y="5439"/>
                  </a:lnTo>
                  <a:lnTo>
                    <a:pt x="12917" y="5142"/>
                  </a:lnTo>
                  <a:lnTo>
                    <a:pt x="13678" y="5030"/>
                  </a:lnTo>
                  <a:lnTo>
                    <a:pt x="13938" y="4993"/>
                  </a:lnTo>
                  <a:lnTo>
                    <a:pt x="14420" y="4752"/>
                  </a:lnTo>
                  <a:lnTo>
                    <a:pt x="14754" y="4344"/>
                  </a:lnTo>
                  <a:lnTo>
                    <a:pt x="14940" y="3861"/>
                  </a:lnTo>
                  <a:lnTo>
                    <a:pt x="14958" y="3583"/>
                  </a:lnTo>
                  <a:lnTo>
                    <a:pt x="14940" y="1430"/>
                  </a:lnTo>
                  <a:lnTo>
                    <a:pt x="14903" y="1133"/>
                  </a:lnTo>
                  <a:lnTo>
                    <a:pt x="14661" y="595"/>
                  </a:lnTo>
                  <a:lnTo>
                    <a:pt x="14253" y="205"/>
                  </a:lnTo>
                  <a:lnTo>
                    <a:pt x="13696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" name="Google Shape;202;p10"/>
            <p:cNvSpPr/>
            <p:nvPr/>
          </p:nvSpPr>
          <p:spPr>
            <a:xfrm>
              <a:off x="6961975" y="2500450"/>
              <a:ext cx="420375" cy="820325"/>
            </a:xfrm>
            <a:custGeom>
              <a:avLst/>
              <a:gdLst/>
              <a:ahLst/>
              <a:cxnLst/>
              <a:rect l="l" t="t" r="r" b="b"/>
              <a:pathLst>
                <a:path w="16815" h="32813" extrusionOk="0">
                  <a:moveTo>
                    <a:pt x="5846" y="1"/>
                  </a:moveTo>
                  <a:lnTo>
                    <a:pt x="5549" y="19"/>
                  </a:lnTo>
                  <a:lnTo>
                    <a:pt x="5030" y="242"/>
                  </a:lnTo>
                  <a:lnTo>
                    <a:pt x="4621" y="632"/>
                  </a:lnTo>
                  <a:lnTo>
                    <a:pt x="4417" y="1151"/>
                  </a:lnTo>
                  <a:lnTo>
                    <a:pt x="4399" y="1448"/>
                  </a:lnTo>
                  <a:lnTo>
                    <a:pt x="4399" y="6515"/>
                  </a:lnTo>
                  <a:lnTo>
                    <a:pt x="1448" y="6515"/>
                  </a:lnTo>
                  <a:lnTo>
                    <a:pt x="1169" y="6533"/>
                  </a:lnTo>
                  <a:lnTo>
                    <a:pt x="650" y="6756"/>
                  </a:lnTo>
                  <a:lnTo>
                    <a:pt x="242" y="7146"/>
                  </a:lnTo>
                  <a:lnTo>
                    <a:pt x="19" y="7665"/>
                  </a:lnTo>
                  <a:lnTo>
                    <a:pt x="0" y="7962"/>
                  </a:lnTo>
                  <a:lnTo>
                    <a:pt x="0" y="10078"/>
                  </a:lnTo>
                  <a:lnTo>
                    <a:pt x="19" y="10375"/>
                  </a:lnTo>
                  <a:lnTo>
                    <a:pt x="242" y="10895"/>
                  </a:lnTo>
                  <a:lnTo>
                    <a:pt x="650" y="11284"/>
                  </a:lnTo>
                  <a:lnTo>
                    <a:pt x="1169" y="11507"/>
                  </a:lnTo>
                  <a:lnTo>
                    <a:pt x="1448" y="11526"/>
                  </a:lnTo>
                  <a:lnTo>
                    <a:pt x="4399" y="11526"/>
                  </a:lnTo>
                  <a:lnTo>
                    <a:pt x="4399" y="23941"/>
                  </a:lnTo>
                  <a:lnTo>
                    <a:pt x="4399" y="24851"/>
                  </a:lnTo>
                  <a:lnTo>
                    <a:pt x="4566" y="26558"/>
                  </a:lnTo>
                  <a:lnTo>
                    <a:pt x="4733" y="27356"/>
                  </a:lnTo>
                  <a:lnTo>
                    <a:pt x="4918" y="28136"/>
                  </a:lnTo>
                  <a:lnTo>
                    <a:pt x="5549" y="29546"/>
                  </a:lnTo>
                  <a:lnTo>
                    <a:pt x="5976" y="30177"/>
                  </a:lnTo>
                  <a:lnTo>
                    <a:pt x="6217" y="30474"/>
                  </a:lnTo>
                  <a:lnTo>
                    <a:pt x="6756" y="31031"/>
                  </a:lnTo>
                  <a:lnTo>
                    <a:pt x="7368" y="31513"/>
                  </a:lnTo>
                  <a:lnTo>
                    <a:pt x="8073" y="31922"/>
                  </a:lnTo>
                  <a:lnTo>
                    <a:pt x="8463" y="32107"/>
                  </a:lnTo>
                  <a:lnTo>
                    <a:pt x="8853" y="32274"/>
                  </a:lnTo>
                  <a:lnTo>
                    <a:pt x="9762" y="32534"/>
                  </a:lnTo>
                  <a:lnTo>
                    <a:pt x="10783" y="32720"/>
                  </a:lnTo>
                  <a:lnTo>
                    <a:pt x="11915" y="32794"/>
                  </a:lnTo>
                  <a:lnTo>
                    <a:pt x="12527" y="32812"/>
                  </a:lnTo>
                  <a:lnTo>
                    <a:pt x="13047" y="32794"/>
                  </a:lnTo>
                  <a:lnTo>
                    <a:pt x="14142" y="32701"/>
                  </a:lnTo>
                  <a:lnTo>
                    <a:pt x="14717" y="32627"/>
                  </a:lnTo>
                  <a:lnTo>
                    <a:pt x="15274" y="32534"/>
                  </a:lnTo>
                  <a:lnTo>
                    <a:pt x="16276" y="32274"/>
                  </a:lnTo>
                  <a:lnTo>
                    <a:pt x="16703" y="32126"/>
                  </a:lnTo>
                  <a:lnTo>
                    <a:pt x="16499" y="27226"/>
                  </a:lnTo>
                  <a:lnTo>
                    <a:pt x="15887" y="27467"/>
                  </a:lnTo>
                  <a:lnTo>
                    <a:pt x="15181" y="27616"/>
                  </a:lnTo>
                  <a:lnTo>
                    <a:pt x="14476" y="27727"/>
                  </a:lnTo>
                  <a:lnTo>
                    <a:pt x="13827" y="27746"/>
                  </a:lnTo>
                  <a:lnTo>
                    <a:pt x="13326" y="27746"/>
                  </a:lnTo>
                  <a:lnTo>
                    <a:pt x="12472" y="27597"/>
                  </a:lnTo>
                  <a:lnTo>
                    <a:pt x="11804" y="27319"/>
                  </a:lnTo>
                  <a:lnTo>
                    <a:pt x="11303" y="26911"/>
                  </a:lnTo>
                  <a:lnTo>
                    <a:pt x="11154" y="26651"/>
                  </a:lnTo>
                  <a:lnTo>
                    <a:pt x="11006" y="26372"/>
                  </a:lnTo>
                  <a:lnTo>
                    <a:pt x="10783" y="25760"/>
                  </a:lnTo>
                  <a:lnTo>
                    <a:pt x="10560" y="24702"/>
                  </a:lnTo>
                  <a:lnTo>
                    <a:pt x="10542" y="23886"/>
                  </a:lnTo>
                  <a:lnTo>
                    <a:pt x="10542" y="11526"/>
                  </a:lnTo>
                  <a:lnTo>
                    <a:pt x="15367" y="11526"/>
                  </a:lnTo>
                  <a:lnTo>
                    <a:pt x="15645" y="11507"/>
                  </a:lnTo>
                  <a:lnTo>
                    <a:pt x="16165" y="11284"/>
                  </a:lnTo>
                  <a:lnTo>
                    <a:pt x="16573" y="10895"/>
                  </a:lnTo>
                  <a:lnTo>
                    <a:pt x="16796" y="10375"/>
                  </a:lnTo>
                  <a:lnTo>
                    <a:pt x="16815" y="10078"/>
                  </a:lnTo>
                  <a:lnTo>
                    <a:pt x="16815" y="7962"/>
                  </a:lnTo>
                  <a:lnTo>
                    <a:pt x="16796" y="7665"/>
                  </a:lnTo>
                  <a:lnTo>
                    <a:pt x="16573" y="7146"/>
                  </a:lnTo>
                  <a:lnTo>
                    <a:pt x="16165" y="6756"/>
                  </a:lnTo>
                  <a:lnTo>
                    <a:pt x="15645" y="6533"/>
                  </a:lnTo>
                  <a:lnTo>
                    <a:pt x="15367" y="6515"/>
                  </a:lnTo>
                  <a:lnTo>
                    <a:pt x="10542" y="6515"/>
                  </a:lnTo>
                  <a:lnTo>
                    <a:pt x="10542" y="1448"/>
                  </a:lnTo>
                  <a:lnTo>
                    <a:pt x="10523" y="1151"/>
                  </a:lnTo>
                  <a:lnTo>
                    <a:pt x="10300" y="632"/>
                  </a:lnTo>
                  <a:lnTo>
                    <a:pt x="9911" y="242"/>
                  </a:lnTo>
                  <a:lnTo>
                    <a:pt x="9391" y="19"/>
                  </a:lnTo>
                  <a:lnTo>
                    <a:pt x="9094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" name="Google Shape;203;p10"/>
            <p:cNvSpPr/>
            <p:nvPr/>
          </p:nvSpPr>
          <p:spPr>
            <a:xfrm>
              <a:off x="4511750" y="2466575"/>
              <a:ext cx="655150" cy="841200"/>
            </a:xfrm>
            <a:custGeom>
              <a:avLst/>
              <a:gdLst/>
              <a:ahLst/>
              <a:cxnLst/>
              <a:rect l="l" t="t" r="r" b="b"/>
              <a:pathLst>
                <a:path w="26206" h="33648" extrusionOk="0">
                  <a:moveTo>
                    <a:pt x="1466" y="1"/>
                  </a:moveTo>
                  <a:lnTo>
                    <a:pt x="1169" y="19"/>
                  </a:lnTo>
                  <a:lnTo>
                    <a:pt x="650" y="242"/>
                  </a:lnTo>
                  <a:lnTo>
                    <a:pt x="241" y="632"/>
                  </a:lnTo>
                  <a:lnTo>
                    <a:pt x="19" y="1151"/>
                  </a:lnTo>
                  <a:lnTo>
                    <a:pt x="0" y="1448"/>
                  </a:lnTo>
                  <a:lnTo>
                    <a:pt x="0" y="32200"/>
                  </a:lnTo>
                  <a:lnTo>
                    <a:pt x="19" y="32497"/>
                  </a:lnTo>
                  <a:lnTo>
                    <a:pt x="241" y="33017"/>
                  </a:lnTo>
                  <a:lnTo>
                    <a:pt x="650" y="33406"/>
                  </a:lnTo>
                  <a:lnTo>
                    <a:pt x="1169" y="33629"/>
                  </a:lnTo>
                  <a:lnTo>
                    <a:pt x="1466" y="33648"/>
                  </a:lnTo>
                  <a:lnTo>
                    <a:pt x="4825" y="33648"/>
                  </a:lnTo>
                  <a:lnTo>
                    <a:pt x="5122" y="33629"/>
                  </a:lnTo>
                  <a:lnTo>
                    <a:pt x="5642" y="33406"/>
                  </a:lnTo>
                  <a:lnTo>
                    <a:pt x="6032" y="33017"/>
                  </a:lnTo>
                  <a:lnTo>
                    <a:pt x="6255" y="32497"/>
                  </a:lnTo>
                  <a:lnTo>
                    <a:pt x="6273" y="32200"/>
                  </a:lnTo>
                  <a:lnTo>
                    <a:pt x="6273" y="18133"/>
                  </a:lnTo>
                  <a:lnTo>
                    <a:pt x="19932" y="18133"/>
                  </a:lnTo>
                  <a:lnTo>
                    <a:pt x="19932" y="32200"/>
                  </a:lnTo>
                  <a:lnTo>
                    <a:pt x="19951" y="32497"/>
                  </a:lnTo>
                  <a:lnTo>
                    <a:pt x="20174" y="33017"/>
                  </a:lnTo>
                  <a:lnTo>
                    <a:pt x="20563" y="33406"/>
                  </a:lnTo>
                  <a:lnTo>
                    <a:pt x="21083" y="33629"/>
                  </a:lnTo>
                  <a:lnTo>
                    <a:pt x="21380" y="33648"/>
                  </a:lnTo>
                  <a:lnTo>
                    <a:pt x="24758" y="33648"/>
                  </a:lnTo>
                  <a:lnTo>
                    <a:pt x="25036" y="33629"/>
                  </a:lnTo>
                  <a:lnTo>
                    <a:pt x="25556" y="33406"/>
                  </a:lnTo>
                  <a:lnTo>
                    <a:pt x="25964" y="33017"/>
                  </a:lnTo>
                  <a:lnTo>
                    <a:pt x="26187" y="32497"/>
                  </a:lnTo>
                  <a:lnTo>
                    <a:pt x="26205" y="32200"/>
                  </a:lnTo>
                  <a:lnTo>
                    <a:pt x="26205" y="1448"/>
                  </a:lnTo>
                  <a:lnTo>
                    <a:pt x="26187" y="1151"/>
                  </a:lnTo>
                  <a:lnTo>
                    <a:pt x="25964" y="632"/>
                  </a:lnTo>
                  <a:lnTo>
                    <a:pt x="25556" y="242"/>
                  </a:lnTo>
                  <a:lnTo>
                    <a:pt x="25036" y="19"/>
                  </a:lnTo>
                  <a:lnTo>
                    <a:pt x="24758" y="1"/>
                  </a:lnTo>
                  <a:lnTo>
                    <a:pt x="21380" y="1"/>
                  </a:lnTo>
                  <a:lnTo>
                    <a:pt x="21083" y="19"/>
                  </a:lnTo>
                  <a:lnTo>
                    <a:pt x="20563" y="242"/>
                  </a:lnTo>
                  <a:lnTo>
                    <a:pt x="20174" y="632"/>
                  </a:lnTo>
                  <a:lnTo>
                    <a:pt x="19951" y="1151"/>
                  </a:lnTo>
                  <a:lnTo>
                    <a:pt x="19932" y="1448"/>
                  </a:lnTo>
                  <a:lnTo>
                    <a:pt x="19932" y="13641"/>
                  </a:lnTo>
                  <a:lnTo>
                    <a:pt x="6273" y="13641"/>
                  </a:lnTo>
                  <a:lnTo>
                    <a:pt x="6273" y="1448"/>
                  </a:lnTo>
                  <a:lnTo>
                    <a:pt x="6255" y="1151"/>
                  </a:lnTo>
                  <a:lnTo>
                    <a:pt x="6032" y="632"/>
                  </a:lnTo>
                  <a:lnTo>
                    <a:pt x="5642" y="242"/>
                  </a:lnTo>
                  <a:lnTo>
                    <a:pt x="5122" y="19"/>
                  </a:lnTo>
                  <a:lnTo>
                    <a:pt x="4825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" name="Google Shape;204;p10"/>
            <p:cNvSpPr/>
            <p:nvPr/>
          </p:nvSpPr>
          <p:spPr>
            <a:xfrm>
              <a:off x="2392800" y="2663300"/>
              <a:ext cx="633800" cy="662575"/>
            </a:xfrm>
            <a:custGeom>
              <a:avLst/>
              <a:gdLst/>
              <a:ahLst/>
              <a:cxnLst/>
              <a:rect l="l" t="t" r="r" b="b"/>
              <a:pathLst>
                <a:path w="25352" h="26503" extrusionOk="0">
                  <a:moveTo>
                    <a:pt x="13195" y="4696"/>
                  </a:moveTo>
                  <a:lnTo>
                    <a:pt x="13938" y="4715"/>
                  </a:lnTo>
                  <a:lnTo>
                    <a:pt x="15255" y="4974"/>
                  </a:lnTo>
                  <a:lnTo>
                    <a:pt x="15831" y="5197"/>
                  </a:lnTo>
                  <a:lnTo>
                    <a:pt x="16369" y="5457"/>
                  </a:lnTo>
                  <a:lnTo>
                    <a:pt x="17297" y="6125"/>
                  </a:lnTo>
                  <a:lnTo>
                    <a:pt x="17687" y="6515"/>
                  </a:lnTo>
                  <a:lnTo>
                    <a:pt x="18039" y="6942"/>
                  </a:lnTo>
                  <a:lnTo>
                    <a:pt x="18559" y="7907"/>
                  </a:lnTo>
                  <a:lnTo>
                    <a:pt x="18745" y="8445"/>
                  </a:lnTo>
                  <a:lnTo>
                    <a:pt x="18912" y="9002"/>
                  </a:lnTo>
                  <a:lnTo>
                    <a:pt x="19079" y="10152"/>
                  </a:lnTo>
                  <a:lnTo>
                    <a:pt x="19097" y="10746"/>
                  </a:lnTo>
                  <a:lnTo>
                    <a:pt x="6254" y="10746"/>
                  </a:lnTo>
                  <a:lnTo>
                    <a:pt x="6329" y="10097"/>
                  </a:lnTo>
                  <a:lnTo>
                    <a:pt x="6663" y="8890"/>
                  </a:lnTo>
                  <a:lnTo>
                    <a:pt x="7201" y="7795"/>
                  </a:lnTo>
                  <a:lnTo>
                    <a:pt x="7962" y="6830"/>
                  </a:lnTo>
                  <a:lnTo>
                    <a:pt x="8426" y="6403"/>
                  </a:lnTo>
                  <a:lnTo>
                    <a:pt x="8927" y="5995"/>
                  </a:lnTo>
                  <a:lnTo>
                    <a:pt x="10003" y="5346"/>
                  </a:lnTo>
                  <a:lnTo>
                    <a:pt x="11210" y="4937"/>
                  </a:lnTo>
                  <a:lnTo>
                    <a:pt x="12509" y="4715"/>
                  </a:lnTo>
                  <a:lnTo>
                    <a:pt x="13195" y="4696"/>
                  </a:lnTo>
                  <a:close/>
                  <a:moveTo>
                    <a:pt x="13251" y="1"/>
                  </a:moveTo>
                  <a:lnTo>
                    <a:pt x="12546" y="19"/>
                  </a:lnTo>
                  <a:lnTo>
                    <a:pt x="11191" y="131"/>
                  </a:lnTo>
                  <a:lnTo>
                    <a:pt x="9873" y="372"/>
                  </a:lnTo>
                  <a:lnTo>
                    <a:pt x="8611" y="743"/>
                  </a:lnTo>
                  <a:lnTo>
                    <a:pt x="8018" y="966"/>
                  </a:lnTo>
                  <a:lnTo>
                    <a:pt x="7405" y="1226"/>
                  </a:lnTo>
                  <a:lnTo>
                    <a:pt x="6273" y="1801"/>
                  </a:lnTo>
                  <a:lnTo>
                    <a:pt x="5234" y="2469"/>
                  </a:lnTo>
                  <a:lnTo>
                    <a:pt x="4269" y="3248"/>
                  </a:lnTo>
                  <a:lnTo>
                    <a:pt x="3805" y="3675"/>
                  </a:lnTo>
                  <a:lnTo>
                    <a:pt x="3378" y="4121"/>
                  </a:lnTo>
                  <a:lnTo>
                    <a:pt x="2580" y="5086"/>
                  </a:lnTo>
                  <a:lnTo>
                    <a:pt x="1875" y="6144"/>
                  </a:lnTo>
                  <a:lnTo>
                    <a:pt x="1281" y="7294"/>
                  </a:lnTo>
                  <a:lnTo>
                    <a:pt x="1021" y="7907"/>
                  </a:lnTo>
                  <a:lnTo>
                    <a:pt x="780" y="8538"/>
                  </a:lnTo>
                  <a:lnTo>
                    <a:pt x="390" y="9837"/>
                  </a:lnTo>
                  <a:lnTo>
                    <a:pt x="130" y="11210"/>
                  </a:lnTo>
                  <a:lnTo>
                    <a:pt x="19" y="12658"/>
                  </a:lnTo>
                  <a:lnTo>
                    <a:pt x="0" y="13400"/>
                  </a:lnTo>
                  <a:lnTo>
                    <a:pt x="19" y="14161"/>
                  </a:lnTo>
                  <a:lnTo>
                    <a:pt x="130" y="15609"/>
                  </a:lnTo>
                  <a:lnTo>
                    <a:pt x="390" y="17000"/>
                  </a:lnTo>
                  <a:lnTo>
                    <a:pt x="780" y="18300"/>
                  </a:lnTo>
                  <a:lnTo>
                    <a:pt x="1021" y="18912"/>
                  </a:lnTo>
                  <a:lnTo>
                    <a:pt x="1281" y="19506"/>
                  </a:lnTo>
                  <a:lnTo>
                    <a:pt x="1893" y="20619"/>
                  </a:lnTo>
                  <a:lnTo>
                    <a:pt x="2598" y="21659"/>
                  </a:lnTo>
                  <a:lnTo>
                    <a:pt x="3396" y="22587"/>
                  </a:lnTo>
                  <a:lnTo>
                    <a:pt x="3842" y="23013"/>
                  </a:lnTo>
                  <a:lnTo>
                    <a:pt x="4287" y="23422"/>
                  </a:lnTo>
                  <a:lnTo>
                    <a:pt x="5271" y="24146"/>
                  </a:lnTo>
                  <a:lnTo>
                    <a:pt x="6329" y="24795"/>
                  </a:lnTo>
                  <a:lnTo>
                    <a:pt x="7479" y="25352"/>
                  </a:lnTo>
                  <a:lnTo>
                    <a:pt x="8092" y="25593"/>
                  </a:lnTo>
                  <a:lnTo>
                    <a:pt x="8704" y="25797"/>
                  </a:lnTo>
                  <a:lnTo>
                    <a:pt x="9985" y="26150"/>
                  </a:lnTo>
                  <a:lnTo>
                    <a:pt x="11340" y="26373"/>
                  </a:lnTo>
                  <a:lnTo>
                    <a:pt x="12731" y="26484"/>
                  </a:lnTo>
                  <a:lnTo>
                    <a:pt x="13455" y="26503"/>
                  </a:lnTo>
                  <a:lnTo>
                    <a:pt x="14216" y="26484"/>
                  </a:lnTo>
                  <a:lnTo>
                    <a:pt x="15682" y="26373"/>
                  </a:lnTo>
                  <a:lnTo>
                    <a:pt x="17074" y="26131"/>
                  </a:lnTo>
                  <a:lnTo>
                    <a:pt x="18373" y="25760"/>
                  </a:lnTo>
                  <a:lnTo>
                    <a:pt x="19598" y="25296"/>
                  </a:lnTo>
                  <a:lnTo>
                    <a:pt x="20730" y="24684"/>
                  </a:lnTo>
                  <a:lnTo>
                    <a:pt x="21788" y="23960"/>
                  </a:lnTo>
                  <a:lnTo>
                    <a:pt x="22772" y="23125"/>
                  </a:lnTo>
                  <a:lnTo>
                    <a:pt x="23236" y="22661"/>
                  </a:lnTo>
                  <a:lnTo>
                    <a:pt x="23421" y="22420"/>
                  </a:lnTo>
                  <a:lnTo>
                    <a:pt x="23607" y="21863"/>
                  </a:lnTo>
                  <a:lnTo>
                    <a:pt x="23551" y="21288"/>
                  </a:lnTo>
                  <a:lnTo>
                    <a:pt x="23273" y="20768"/>
                  </a:lnTo>
                  <a:lnTo>
                    <a:pt x="23050" y="20564"/>
                  </a:lnTo>
                  <a:lnTo>
                    <a:pt x="21139" y="19042"/>
                  </a:lnTo>
                  <a:lnTo>
                    <a:pt x="20916" y="18875"/>
                  </a:lnTo>
                  <a:lnTo>
                    <a:pt x="20415" y="18726"/>
                  </a:lnTo>
                  <a:lnTo>
                    <a:pt x="19914" y="18745"/>
                  </a:lnTo>
                  <a:lnTo>
                    <a:pt x="19431" y="18949"/>
                  </a:lnTo>
                  <a:lnTo>
                    <a:pt x="19227" y="19135"/>
                  </a:lnTo>
                  <a:lnTo>
                    <a:pt x="18819" y="19543"/>
                  </a:lnTo>
                  <a:lnTo>
                    <a:pt x="17891" y="20230"/>
                  </a:lnTo>
                  <a:lnTo>
                    <a:pt x="17371" y="20527"/>
                  </a:lnTo>
                  <a:lnTo>
                    <a:pt x="16963" y="20731"/>
                  </a:lnTo>
                  <a:lnTo>
                    <a:pt x="16053" y="21046"/>
                  </a:lnTo>
                  <a:lnTo>
                    <a:pt x="15070" y="21269"/>
                  </a:lnTo>
                  <a:lnTo>
                    <a:pt x="13993" y="21380"/>
                  </a:lnTo>
                  <a:lnTo>
                    <a:pt x="13400" y="21380"/>
                  </a:lnTo>
                  <a:lnTo>
                    <a:pt x="12731" y="21362"/>
                  </a:lnTo>
                  <a:lnTo>
                    <a:pt x="11432" y="21120"/>
                  </a:lnTo>
                  <a:lnTo>
                    <a:pt x="10801" y="20916"/>
                  </a:lnTo>
                  <a:lnTo>
                    <a:pt x="10189" y="20657"/>
                  </a:lnTo>
                  <a:lnTo>
                    <a:pt x="9057" y="20026"/>
                  </a:lnTo>
                  <a:lnTo>
                    <a:pt x="8556" y="19636"/>
                  </a:lnTo>
                  <a:lnTo>
                    <a:pt x="8073" y="19209"/>
                  </a:lnTo>
                  <a:lnTo>
                    <a:pt x="7275" y="18244"/>
                  </a:lnTo>
                  <a:lnTo>
                    <a:pt x="6960" y="17706"/>
                  </a:lnTo>
                  <a:lnTo>
                    <a:pt x="6681" y="17130"/>
                  </a:lnTo>
                  <a:lnTo>
                    <a:pt x="6329" y="15905"/>
                  </a:lnTo>
                  <a:lnTo>
                    <a:pt x="6254" y="15237"/>
                  </a:lnTo>
                  <a:lnTo>
                    <a:pt x="23904" y="15237"/>
                  </a:lnTo>
                  <a:lnTo>
                    <a:pt x="24201" y="15200"/>
                  </a:lnTo>
                  <a:lnTo>
                    <a:pt x="24702" y="14996"/>
                  </a:lnTo>
                  <a:lnTo>
                    <a:pt x="25110" y="14606"/>
                  </a:lnTo>
                  <a:lnTo>
                    <a:pt x="25333" y="14087"/>
                  </a:lnTo>
                  <a:lnTo>
                    <a:pt x="25351" y="13790"/>
                  </a:lnTo>
                  <a:lnTo>
                    <a:pt x="25351" y="13567"/>
                  </a:lnTo>
                  <a:lnTo>
                    <a:pt x="25333" y="12713"/>
                  </a:lnTo>
                  <a:lnTo>
                    <a:pt x="25222" y="11136"/>
                  </a:lnTo>
                  <a:lnTo>
                    <a:pt x="24999" y="9651"/>
                  </a:lnTo>
                  <a:lnTo>
                    <a:pt x="24665" y="8278"/>
                  </a:lnTo>
                  <a:lnTo>
                    <a:pt x="24442" y="7647"/>
                  </a:lnTo>
                  <a:lnTo>
                    <a:pt x="24201" y="7016"/>
                  </a:lnTo>
                  <a:lnTo>
                    <a:pt x="23663" y="5847"/>
                  </a:lnTo>
                  <a:lnTo>
                    <a:pt x="23032" y="4807"/>
                  </a:lnTo>
                  <a:lnTo>
                    <a:pt x="22308" y="3842"/>
                  </a:lnTo>
                  <a:lnTo>
                    <a:pt x="21900" y="3415"/>
                  </a:lnTo>
                  <a:lnTo>
                    <a:pt x="21918" y="3415"/>
                  </a:lnTo>
                  <a:lnTo>
                    <a:pt x="21491" y="3007"/>
                  </a:lnTo>
                  <a:lnTo>
                    <a:pt x="20619" y="2265"/>
                  </a:lnTo>
                  <a:lnTo>
                    <a:pt x="19654" y="1615"/>
                  </a:lnTo>
                  <a:lnTo>
                    <a:pt x="18633" y="1096"/>
                  </a:lnTo>
                  <a:lnTo>
                    <a:pt x="18076" y="873"/>
                  </a:lnTo>
                  <a:lnTo>
                    <a:pt x="17520" y="650"/>
                  </a:lnTo>
                  <a:lnTo>
                    <a:pt x="16369" y="335"/>
                  </a:lnTo>
                  <a:lnTo>
                    <a:pt x="15163" y="112"/>
                  </a:lnTo>
                  <a:lnTo>
                    <a:pt x="13901" y="19"/>
                  </a:lnTo>
                  <a:lnTo>
                    <a:pt x="13251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" name="Google Shape;205;p10"/>
            <p:cNvSpPr/>
            <p:nvPr/>
          </p:nvSpPr>
          <p:spPr>
            <a:xfrm>
              <a:off x="237650" y="2349675"/>
              <a:ext cx="1219800" cy="1015625"/>
            </a:xfrm>
            <a:custGeom>
              <a:avLst/>
              <a:gdLst/>
              <a:ahLst/>
              <a:cxnLst/>
              <a:rect l="l" t="t" r="r" b="b"/>
              <a:pathLst>
                <a:path w="48792" h="40625" extrusionOk="0">
                  <a:moveTo>
                    <a:pt x="11915" y="0"/>
                  </a:moveTo>
                  <a:lnTo>
                    <a:pt x="10746" y="93"/>
                  </a:lnTo>
                  <a:lnTo>
                    <a:pt x="9614" y="297"/>
                  </a:lnTo>
                  <a:lnTo>
                    <a:pt x="8500" y="612"/>
                  </a:lnTo>
                  <a:lnTo>
                    <a:pt x="7443" y="1039"/>
                  </a:lnTo>
                  <a:lnTo>
                    <a:pt x="6422" y="1559"/>
                  </a:lnTo>
                  <a:lnTo>
                    <a:pt x="5457" y="2171"/>
                  </a:lnTo>
                  <a:lnTo>
                    <a:pt x="4547" y="2858"/>
                  </a:lnTo>
                  <a:lnTo>
                    <a:pt x="3712" y="3638"/>
                  </a:lnTo>
                  <a:lnTo>
                    <a:pt x="2933" y="4491"/>
                  </a:lnTo>
                  <a:lnTo>
                    <a:pt x="2246" y="5419"/>
                  </a:lnTo>
                  <a:lnTo>
                    <a:pt x="1634" y="6403"/>
                  </a:lnTo>
                  <a:lnTo>
                    <a:pt x="1114" y="7442"/>
                  </a:lnTo>
                  <a:lnTo>
                    <a:pt x="687" y="8556"/>
                  </a:lnTo>
                  <a:lnTo>
                    <a:pt x="372" y="9688"/>
                  </a:lnTo>
                  <a:lnTo>
                    <a:pt x="149" y="10875"/>
                  </a:lnTo>
                  <a:lnTo>
                    <a:pt x="75" y="11488"/>
                  </a:lnTo>
                  <a:lnTo>
                    <a:pt x="0" y="12583"/>
                  </a:lnTo>
                  <a:lnTo>
                    <a:pt x="130" y="14736"/>
                  </a:lnTo>
                  <a:lnTo>
                    <a:pt x="539" y="16870"/>
                  </a:lnTo>
                  <a:lnTo>
                    <a:pt x="1225" y="18967"/>
                  </a:lnTo>
                  <a:lnTo>
                    <a:pt x="2116" y="21008"/>
                  </a:lnTo>
                  <a:lnTo>
                    <a:pt x="3230" y="23013"/>
                  </a:lnTo>
                  <a:lnTo>
                    <a:pt x="4510" y="24961"/>
                  </a:lnTo>
                  <a:lnTo>
                    <a:pt x="5921" y="26836"/>
                  </a:lnTo>
                  <a:lnTo>
                    <a:pt x="7461" y="28636"/>
                  </a:lnTo>
                  <a:lnTo>
                    <a:pt x="9076" y="30362"/>
                  </a:lnTo>
                  <a:lnTo>
                    <a:pt x="11600" y="32793"/>
                  </a:lnTo>
                  <a:lnTo>
                    <a:pt x="14996" y="35688"/>
                  </a:lnTo>
                  <a:lnTo>
                    <a:pt x="18188" y="38120"/>
                  </a:lnTo>
                  <a:lnTo>
                    <a:pt x="19617" y="39140"/>
                  </a:lnTo>
                  <a:lnTo>
                    <a:pt x="20155" y="39493"/>
                  </a:lnTo>
                  <a:lnTo>
                    <a:pt x="21325" y="40050"/>
                  </a:lnTo>
                  <a:lnTo>
                    <a:pt x="22531" y="40439"/>
                  </a:lnTo>
                  <a:lnTo>
                    <a:pt x="23774" y="40625"/>
                  </a:lnTo>
                  <a:lnTo>
                    <a:pt x="25036" y="40625"/>
                  </a:lnTo>
                  <a:lnTo>
                    <a:pt x="26280" y="40439"/>
                  </a:lnTo>
                  <a:lnTo>
                    <a:pt x="27486" y="40050"/>
                  </a:lnTo>
                  <a:lnTo>
                    <a:pt x="28637" y="39493"/>
                  </a:lnTo>
                  <a:lnTo>
                    <a:pt x="29193" y="39140"/>
                  </a:lnTo>
                  <a:lnTo>
                    <a:pt x="30567" y="38157"/>
                  </a:lnTo>
                  <a:lnTo>
                    <a:pt x="33648" y="35818"/>
                  </a:lnTo>
                  <a:lnTo>
                    <a:pt x="36914" y="33053"/>
                  </a:lnTo>
                  <a:lnTo>
                    <a:pt x="39364" y="30733"/>
                  </a:lnTo>
                  <a:lnTo>
                    <a:pt x="40941" y="29081"/>
                  </a:lnTo>
                  <a:lnTo>
                    <a:pt x="42444" y="27356"/>
                  </a:lnTo>
                  <a:lnTo>
                    <a:pt x="43855" y="25555"/>
                  </a:lnTo>
                  <a:lnTo>
                    <a:pt x="45135" y="23699"/>
                  </a:lnTo>
                  <a:lnTo>
                    <a:pt x="46268" y="21788"/>
                  </a:lnTo>
                  <a:lnTo>
                    <a:pt x="47233" y="19839"/>
                  </a:lnTo>
                  <a:lnTo>
                    <a:pt x="47994" y="17835"/>
                  </a:lnTo>
                  <a:lnTo>
                    <a:pt x="48513" y="15793"/>
                  </a:lnTo>
                  <a:lnTo>
                    <a:pt x="48773" y="13715"/>
                  </a:lnTo>
                  <a:lnTo>
                    <a:pt x="48792" y="12676"/>
                  </a:lnTo>
                  <a:lnTo>
                    <a:pt x="48773" y="12082"/>
                  </a:lnTo>
                  <a:lnTo>
                    <a:pt x="48736" y="11488"/>
                  </a:lnTo>
                  <a:lnTo>
                    <a:pt x="48662" y="10820"/>
                  </a:lnTo>
                  <a:lnTo>
                    <a:pt x="48272" y="9224"/>
                  </a:lnTo>
                  <a:lnTo>
                    <a:pt x="47845" y="8017"/>
                  </a:lnTo>
                  <a:lnTo>
                    <a:pt x="47270" y="6830"/>
                  </a:lnTo>
                  <a:lnTo>
                    <a:pt x="46509" y="5753"/>
                  </a:lnTo>
                  <a:lnTo>
                    <a:pt x="45785" y="5104"/>
                  </a:lnTo>
                  <a:lnTo>
                    <a:pt x="45247" y="4788"/>
                  </a:lnTo>
                  <a:lnTo>
                    <a:pt x="44653" y="4547"/>
                  </a:lnTo>
                  <a:lnTo>
                    <a:pt x="44003" y="4417"/>
                  </a:lnTo>
                  <a:lnTo>
                    <a:pt x="43242" y="4417"/>
                  </a:lnTo>
                  <a:lnTo>
                    <a:pt x="42444" y="4565"/>
                  </a:lnTo>
                  <a:lnTo>
                    <a:pt x="41684" y="4881"/>
                  </a:lnTo>
                  <a:lnTo>
                    <a:pt x="40997" y="5345"/>
                  </a:lnTo>
                  <a:lnTo>
                    <a:pt x="40681" y="5642"/>
                  </a:lnTo>
                  <a:lnTo>
                    <a:pt x="27616" y="18707"/>
                  </a:lnTo>
                  <a:lnTo>
                    <a:pt x="27393" y="18930"/>
                  </a:lnTo>
                  <a:lnTo>
                    <a:pt x="27059" y="19450"/>
                  </a:lnTo>
                  <a:lnTo>
                    <a:pt x="26836" y="20006"/>
                  </a:lnTo>
                  <a:lnTo>
                    <a:pt x="26725" y="20582"/>
                  </a:lnTo>
                  <a:lnTo>
                    <a:pt x="26725" y="21175"/>
                  </a:lnTo>
                  <a:lnTo>
                    <a:pt x="26836" y="21751"/>
                  </a:lnTo>
                  <a:lnTo>
                    <a:pt x="27059" y="22308"/>
                  </a:lnTo>
                  <a:lnTo>
                    <a:pt x="27393" y="22809"/>
                  </a:lnTo>
                  <a:lnTo>
                    <a:pt x="27616" y="23050"/>
                  </a:lnTo>
                  <a:lnTo>
                    <a:pt x="27839" y="23254"/>
                  </a:lnTo>
                  <a:lnTo>
                    <a:pt x="28358" y="23607"/>
                  </a:lnTo>
                  <a:lnTo>
                    <a:pt x="28915" y="23829"/>
                  </a:lnTo>
                  <a:lnTo>
                    <a:pt x="29490" y="23941"/>
                  </a:lnTo>
                  <a:lnTo>
                    <a:pt x="30084" y="23941"/>
                  </a:lnTo>
                  <a:lnTo>
                    <a:pt x="30660" y="23829"/>
                  </a:lnTo>
                  <a:lnTo>
                    <a:pt x="31216" y="23607"/>
                  </a:lnTo>
                  <a:lnTo>
                    <a:pt x="31717" y="23254"/>
                  </a:lnTo>
                  <a:lnTo>
                    <a:pt x="31959" y="23050"/>
                  </a:lnTo>
                  <a:lnTo>
                    <a:pt x="43075" y="11933"/>
                  </a:lnTo>
                  <a:lnTo>
                    <a:pt x="43168" y="11840"/>
                  </a:lnTo>
                  <a:lnTo>
                    <a:pt x="43410" y="11748"/>
                  </a:lnTo>
                  <a:lnTo>
                    <a:pt x="43651" y="11748"/>
                  </a:lnTo>
                  <a:lnTo>
                    <a:pt x="43873" y="11840"/>
                  </a:lnTo>
                  <a:lnTo>
                    <a:pt x="43966" y="11933"/>
                  </a:lnTo>
                  <a:lnTo>
                    <a:pt x="44727" y="12694"/>
                  </a:lnTo>
                  <a:lnTo>
                    <a:pt x="44820" y="12787"/>
                  </a:lnTo>
                  <a:lnTo>
                    <a:pt x="44913" y="13010"/>
                  </a:lnTo>
                  <a:lnTo>
                    <a:pt x="44913" y="13269"/>
                  </a:lnTo>
                  <a:lnTo>
                    <a:pt x="44820" y="13492"/>
                  </a:lnTo>
                  <a:lnTo>
                    <a:pt x="44727" y="13585"/>
                  </a:lnTo>
                  <a:lnTo>
                    <a:pt x="33703" y="24627"/>
                  </a:lnTo>
                  <a:lnTo>
                    <a:pt x="33314" y="24999"/>
                  </a:lnTo>
                  <a:lnTo>
                    <a:pt x="32441" y="25592"/>
                  </a:lnTo>
                  <a:lnTo>
                    <a:pt x="31476" y="26019"/>
                  </a:lnTo>
                  <a:lnTo>
                    <a:pt x="30455" y="26261"/>
                  </a:lnTo>
                  <a:lnTo>
                    <a:pt x="29936" y="26298"/>
                  </a:lnTo>
                  <a:lnTo>
                    <a:pt x="29360" y="26298"/>
                  </a:lnTo>
                  <a:lnTo>
                    <a:pt x="28247" y="26094"/>
                  </a:lnTo>
                  <a:lnTo>
                    <a:pt x="27208" y="25667"/>
                  </a:lnTo>
                  <a:lnTo>
                    <a:pt x="26280" y="25017"/>
                  </a:lnTo>
                  <a:lnTo>
                    <a:pt x="25871" y="24627"/>
                  </a:lnTo>
                  <a:lnTo>
                    <a:pt x="25500" y="24201"/>
                  </a:lnTo>
                  <a:lnTo>
                    <a:pt x="24925" y="23291"/>
                  </a:lnTo>
                  <a:lnTo>
                    <a:pt x="24572" y="22326"/>
                  </a:lnTo>
                  <a:lnTo>
                    <a:pt x="24405" y="21287"/>
                  </a:lnTo>
                  <a:lnTo>
                    <a:pt x="24424" y="20248"/>
                  </a:lnTo>
                  <a:lnTo>
                    <a:pt x="24647" y="19227"/>
                  </a:lnTo>
                  <a:lnTo>
                    <a:pt x="25055" y="18262"/>
                  </a:lnTo>
                  <a:lnTo>
                    <a:pt x="25649" y="17352"/>
                  </a:lnTo>
                  <a:lnTo>
                    <a:pt x="26038" y="16963"/>
                  </a:lnTo>
                  <a:lnTo>
                    <a:pt x="33351" y="9651"/>
                  </a:lnTo>
                  <a:lnTo>
                    <a:pt x="39011" y="3972"/>
                  </a:lnTo>
                  <a:lnTo>
                    <a:pt x="39456" y="3563"/>
                  </a:lnTo>
                  <a:lnTo>
                    <a:pt x="40422" y="2895"/>
                  </a:lnTo>
                  <a:lnTo>
                    <a:pt x="41479" y="2413"/>
                  </a:lnTo>
                  <a:lnTo>
                    <a:pt x="42611" y="2134"/>
                  </a:lnTo>
                  <a:lnTo>
                    <a:pt x="43205" y="2079"/>
                  </a:lnTo>
                  <a:lnTo>
                    <a:pt x="42444" y="1577"/>
                  </a:lnTo>
                  <a:lnTo>
                    <a:pt x="40811" y="798"/>
                  </a:lnTo>
                  <a:lnTo>
                    <a:pt x="39067" y="260"/>
                  </a:lnTo>
                  <a:lnTo>
                    <a:pt x="37229" y="0"/>
                  </a:lnTo>
                  <a:lnTo>
                    <a:pt x="36283" y="0"/>
                  </a:lnTo>
                  <a:lnTo>
                    <a:pt x="35299" y="56"/>
                  </a:lnTo>
                  <a:lnTo>
                    <a:pt x="33425" y="371"/>
                  </a:lnTo>
                  <a:lnTo>
                    <a:pt x="31643" y="965"/>
                  </a:lnTo>
                  <a:lnTo>
                    <a:pt x="29991" y="1819"/>
                  </a:lnTo>
                  <a:lnTo>
                    <a:pt x="28507" y="2877"/>
                  </a:lnTo>
                  <a:lnTo>
                    <a:pt x="27171" y="4157"/>
                  </a:lnTo>
                  <a:lnTo>
                    <a:pt x="26057" y="5623"/>
                  </a:lnTo>
                  <a:lnTo>
                    <a:pt x="25129" y="7256"/>
                  </a:lnTo>
                  <a:lnTo>
                    <a:pt x="24776" y="8147"/>
                  </a:lnTo>
                  <a:lnTo>
                    <a:pt x="24721" y="8259"/>
                  </a:lnTo>
                  <a:lnTo>
                    <a:pt x="24517" y="8389"/>
                  </a:lnTo>
                  <a:lnTo>
                    <a:pt x="24294" y="8389"/>
                  </a:lnTo>
                  <a:lnTo>
                    <a:pt x="24090" y="8259"/>
                  </a:lnTo>
                  <a:lnTo>
                    <a:pt x="24034" y="8147"/>
                  </a:lnTo>
                  <a:lnTo>
                    <a:pt x="23663" y="7256"/>
                  </a:lnTo>
                  <a:lnTo>
                    <a:pt x="22754" y="5623"/>
                  </a:lnTo>
                  <a:lnTo>
                    <a:pt x="21640" y="4157"/>
                  </a:lnTo>
                  <a:lnTo>
                    <a:pt x="20304" y="2877"/>
                  </a:lnTo>
                  <a:lnTo>
                    <a:pt x="18819" y="1819"/>
                  </a:lnTo>
                  <a:lnTo>
                    <a:pt x="17167" y="965"/>
                  </a:lnTo>
                  <a:lnTo>
                    <a:pt x="15386" y="371"/>
                  </a:lnTo>
                  <a:lnTo>
                    <a:pt x="13493" y="56"/>
                  </a:lnTo>
                  <a:lnTo>
                    <a:pt x="12528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06" name="Google Shape;206;p10"/>
          <p:cNvSpPr txBox="1">
            <a:spLocks noGrp="1"/>
          </p:cNvSpPr>
          <p:nvPr>
            <p:ph type="title"/>
          </p:nvPr>
        </p:nvSpPr>
        <p:spPr>
          <a:xfrm>
            <a:off x="6630600" y="1983833"/>
            <a:ext cx="5026800" cy="20220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100"/>
              <a:buNone/>
              <a:defRPr sz="6100" b="1"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100"/>
              <a:buNone/>
              <a:defRPr sz="6100" b="1">
                <a:solidFill>
                  <a:schemeClr val="lt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100"/>
              <a:buNone/>
              <a:defRPr sz="6100" b="1">
                <a:solidFill>
                  <a:schemeClr val="lt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100"/>
              <a:buNone/>
              <a:defRPr sz="6100" b="1">
                <a:solidFill>
                  <a:schemeClr val="lt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100"/>
              <a:buNone/>
              <a:defRPr sz="6100" b="1">
                <a:solidFill>
                  <a:schemeClr val="lt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100"/>
              <a:buNone/>
              <a:defRPr sz="6100" b="1">
                <a:solidFill>
                  <a:schemeClr val="lt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100"/>
              <a:buNone/>
              <a:defRPr sz="6100" b="1">
                <a:solidFill>
                  <a:schemeClr val="lt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100"/>
              <a:buNone/>
              <a:defRPr sz="6100" b="1">
                <a:solidFill>
                  <a:schemeClr val="lt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6100"/>
              <a:buNone/>
              <a:defRPr sz="6100" b="1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207" name="Google Shape;207;p10"/>
          <p:cNvSpPr txBox="1">
            <a:spLocks noGrp="1"/>
          </p:cNvSpPr>
          <p:nvPr>
            <p:ph type="sldNum" idx="12"/>
          </p:nvPr>
        </p:nvSpPr>
        <p:spPr>
          <a:xfrm>
            <a:off x="11044810" y="6091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buNone/>
              <a:defRPr>
                <a:solidFill>
                  <a:srgbClr val="F3F3EA"/>
                </a:solidFill>
              </a:defRPr>
            </a:lvl1pPr>
            <a:lvl2pPr lvl="1" rtl="0">
              <a:buNone/>
              <a:defRPr>
                <a:solidFill>
                  <a:srgbClr val="F3F3EA"/>
                </a:solidFill>
              </a:defRPr>
            </a:lvl2pPr>
            <a:lvl3pPr lvl="2" rtl="0">
              <a:buNone/>
              <a:defRPr>
                <a:solidFill>
                  <a:srgbClr val="F3F3EA"/>
                </a:solidFill>
              </a:defRPr>
            </a:lvl3pPr>
            <a:lvl4pPr lvl="3" rtl="0">
              <a:buNone/>
              <a:defRPr>
                <a:solidFill>
                  <a:srgbClr val="F3F3EA"/>
                </a:solidFill>
              </a:defRPr>
            </a:lvl4pPr>
            <a:lvl5pPr lvl="4" rtl="0">
              <a:buNone/>
              <a:defRPr>
                <a:solidFill>
                  <a:srgbClr val="F3F3EA"/>
                </a:solidFill>
              </a:defRPr>
            </a:lvl5pPr>
            <a:lvl6pPr lvl="5" rtl="0">
              <a:buNone/>
              <a:defRPr>
                <a:solidFill>
                  <a:srgbClr val="F3F3EA"/>
                </a:solidFill>
              </a:defRPr>
            </a:lvl6pPr>
            <a:lvl7pPr lvl="6" rtl="0">
              <a:buNone/>
              <a:defRPr>
                <a:solidFill>
                  <a:srgbClr val="F3F3EA"/>
                </a:solidFill>
              </a:defRPr>
            </a:lvl7pPr>
            <a:lvl8pPr lvl="7" rtl="0">
              <a:buNone/>
              <a:defRPr>
                <a:solidFill>
                  <a:srgbClr val="F3F3EA"/>
                </a:solidFill>
              </a:defRPr>
            </a:lvl8pPr>
            <a:lvl9pPr lvl="8" rtl="0">
              <a:buNone/>
              <a:defRPr>
                <a:solidFill>
                  <a:srgbClr val="F3F3EA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08" name="Google Shape;208;p10"/>
          <p:cNvSpPr txBox="1">
            <a:spLocks noGrp="1"/>
          </p:cNvSpPr>
          <p:nvPr>
            <p:ph type="sldNum" idx="2"/>
          </p:nvPr>
        </p:nvSpPr>
        <p:spPr>
          <a:xfrm>
            <a:off x="11044810" y="6091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buNone/>
              <a:defRPr>
                <a:solidFill>
                  <a:srgbClr val="F8F8F3"/>
                </a:solidFill>
              </a:defRPr>
            </a:lvl1pPr>
            <a:lvl2pPr lvl="1" rtl="0">
              <a:buNone/>
              <a:defRPr>
                <a:solidFill>
                  <a:srgbClr val="F8F8F3"/>
                </a:solidFill>
              </a:defRPr>
            </a:lvl2pPr>
            <a:lvl3pPr lvl="2" rtl="0">
              <a:buNone/>
              <a:defRPr>
                <a:solidFill>
                  <a:srgbClr val="F8F8F3"/>
                </a:solidFill>
              </a:defRPr>
            </a:lvl3pPr>
            <a:lvl4pPr lvl="3" rtl="0">
              <a:buNone/>
              <a:defRPr>
                <a:solidFill>
                  <a:srgbClr val="F8F8F3"/>
                </a:solidFill>
              </a:defRPr>
            </a:lvl4pPr>
            <a:lvl5pPr lvl="4" rtl="0">
              <a:buNone/>
              <a:defRPr>
                <a:solidFill>
                  <a:srgbClr val="F8F8F3"/>
                </a:solidFill>
              </a:defRPr>
            </a:lvl5pPr>
            <a:lvl6pPr lvl="5" rtl="0">
              <a:buNone/>
              <a:defRPr>
                <a:solidFill>
                  <a:srgbClr val="F8F8F3"/>
                </a:solidFill>
              </a:defRPr>
            </a:lvl6pPr>
            <a:lvl7pPr lvl="6" rtl="0">
              <a:buNone/>
              <a:defRPr>
                <a:solidFill>
                  <a:srgbClr val="F8F8F3"/>
                </a:solidFill>
              </a:defRPr>
            </a:lvl7pPr>
            <a:lvl8pPr lvl="7" rtl="0">
              <a:buNone/>
              <a:defRPr>
                <a:solidFill>
                  <a:srgbClr val="F8F8F3"/>
                </a:solidFill>
              </a:defRPr>
            </a:lvl8pPr>
            <a:lvl9pPr lvl="8" rtl="0">
              <a:buNone/>
              <a:defRPr>
                <a:solidFill>
                  <a:srgbClr val="F8F8F3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09" name="Google Shape;209;p10"/>
          <p:cNvSpPr txBox="1">
            <a:spLocks noGrp="1"/>
          </p:cNvSpPr>
          <p:nvPr>
            <p:ph type="sldNum" idx="3"/>
          </p:nvPr>
        </p:nvSpPr>
        <p:spPr>
          <a:xfrm>
            <a:off x="11044810" y="6091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algn="r" rtl="0">
              <a:buNone/>
              <a:defRPr sz="1100">
                <a:latin typeface="Lato"/>
                <a:ea typeface="Lato"/>
                <a:cs typeface="Lato"/>
                <a:sym typeface="Lato"/>
              </a:defRPr>
            </a:lvl1pPr>
            <a:lvl2pPr lvl="1" algn="r" rtl="0">
              <a:buNone/>
              <a:defRPr sz="1100">
                <a:latin typeface="Lato"/>
                <a:ea typeface="Lato"/>
                <a:cs typeface="Lato"/>
                <a:sym typeface="Lato"/>
              </a:defRPr>
            </a:lvl2pPr>
            <a:lvl3pPr lvl="2" algn="r" rtl="0">
              <a:buNone/>
              <a:defRPr sz="1100">
                <a:latin typeface="Lato"/>
                <a:ea typeface="Lato"/>
                <a:cs typeface="Lato"/>
                <a:sym typeface="Lato"/>
              </a:defRPr>
            </a:lvl3pPr>
            <a:lvl4pPr lvl="3" algn="r" rtl="0">
              <a:buNone/>
              <a:defRPr sz="1100">
                <a:latin typeface="Lato"/>
                <a:ea typeface="Lato"/>
                <a:cs typeface="Lato"/>
                <a:sym typeface="Lato"/>
              </a:defRPr>
            </a:lvl4pPr>
            <a:lvl5pPr lvl="4" algn="r" rtl="0">
              <a:buNone/>
              <a:defRPr sz="1100">
                <a:latin typeface="Lato"/>
                <a:ea typeface="Lato"/>
                <a:cs typeface="Lato"/>
                <a:sym typeface="Lato"/>
              </a:defRPr>
            </a:lvl5pPr>
            <a:lvl6pPr lvl="5" algn="r" rtl="0">
              <a:buNone/>
              <a:defRPr sz="1100">
                <a:latin typeface="Lato"/>
                <a:ea typeface="Lato"/>
                <a:cs typeface="Lato"/>
                <a:sym typeface="Lato"/>
              </a:defRPr>
            </a:lvl6pPr>
            <a:lvl7pPr lvl="6" algn="r" rtl="0">
              <a:buNone/>
              <a:defRPr sz="1100">
                <a:latin typeface="Lato"/>
                <a:ea typeface="Lato"/>
                <a:cs typeface="Lato"/>
                <a:sym typeface="Lato"/>
              </a:defRPr>
            </a:lvl7pPr>
            <a:lvl8pPr lvl="7" algn="r" rtl="0">
              <a:buNone/>
              <a:defRPr sz="1100">
                <a:latin typeface="Lato"/>
                <a:ea typeface="Lato"/>
                <a:cs typeface="Lato"/>
                <a:sym typeface="Lato"/>
              </a:defRPr>
            </a:lvl8pPr>
            <a:lvl9pPr lvl="8" algn="r" rtl="0">
              <a:buNone/>
              <a:defRPr sz="1100">
                <a:latin typeface="Lato"/>
                <a:ea typeface="Lato"/>
                <a:cs typeface="Lato"/>
                <a:sym typeface="Lato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10" name="Google Shape;210;p10"/>
          <p:cNvSpPr txBox="1">
            <a:spLocks noGrp="1"/>
          </p:cNvSpPr>
          <p:nvPr>
            <p:ph type="subTitle" idx="1"/>
          </p:nvPr>
        </p:nvSpPr>
        <p:spPr>
          <a:xfrm>
            <a:off x="6630600" y="4079967"/>
            <a:ext cx="5026800" cy="16371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300"/>
              <a:buNone/>
              <a:defRPr>
                <a:solidFill>
                  <a:schemeClr val="lt1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11" name="Google Shape;211;p10"/>
          <p:cNvSpPr>
            <a:spLocks noGrp="1"/>
          </p:cNvSpPr>
          <p:nvPr>
            <p:ph type="pic" idx="4"/>
          </p:nvPr>
        </p:nvSpPr>
        <p:spPr>
          <a:xfrm>
            <a:off x="0" y="0"/>
            <a:ext cx="5894400" cy="6858000"/>
          </a:xfrm>
          <a:prstGeom prst="flowChartDelay">
            <a:avLst/>
          </a:prstGeom>
          <a:noFill/>
          <a:ln>
            <a:noFill/>
          </a:ln>
        </p:spPr>
      </p:sp>
      <p:sp>
        <p:nvSpPr>
          <p:cNvPr id="212" name="Google Shape;212;p10"/>
          <p:cNvSpPr/>
          <p:nvPr/>
        </p:nvSpPr>
        <p:spPr>
          <a:xfrm>
            <a:off x="11525533" y="364133"/>
            <a:ext cx="365273" cy="304371"/>
          </a:xfrm>
          <a:custGeom>
            <a:avLst/>
            <a:gdLst/>
            <a:ahLst/>
            <a:cxnLst/>
            <a:rect l="l" t="t" r="r" b="b"/>
            <a:pathLst>
              <a:path w="251479" h="209550" extrusionOk="0">
                <a:moveTo>
                  <a:pt x="62932" y="0"/>
                </a:moveTo>
                <a:lnTo>
                  <a:pt x="59858" y="78"/>
                </a:lnTo>
                <a:lnTo>
                  <a:pt x="56847" y="326"/>
                </a:lnTo>
                <a:lnTo>
                  <a:pt x="53851" y="714"/>
                </a:lnTo>
                <a:lnTo>
                  <a:pt x="50901" y="1257"/>
                </a:lnTo>
                <a:lnTo>
                  <a:pt x="47998" y="1925"/>
                </a:lnTo>
                <a:lnTo>
                  <a:pt x="45142" y="2748"/>
                </a:lnTo>
                <a:lnTo>
                  <a:pt x="42348" y="3695"/>
                </a:lnTo>
                <a:lnTo>
                  <a:pt x="39600" y="4781"/>
                </a:lnTo>
                <a:lnTo>
                  <a:pt x="36915" y="5992"/>
                </a:lnTo>
                <a:lnTo>
                  <a:pt x="34291" y="7327"/>
                </a:lnTo>
                <a:lnTo>
                  <a:pt x="31730" y="8786"/>
                </a:lnTo>
                <a:lnTo>
                  <a:pt x="29246" y="10354"/>
                </a:lnTo>
                <a:lnTo>
                  <a:pt x="26840" y="12031"/>
                </a:lnTo>
                <a:lnTo>
                  <a:pt x="24511" y="13831"/>
                </a:lnTo>
                <a:lnTo>
                  <a:pt x="22261" y="15741"/>
                </a:lnTo>
                <a:lnTo>
                  <a:pt x="20087" y="17743"/>
                </a:lnTo>
                <a:lnTo>
                  <a:pt x="18023" y="19839"/>
                </a:lnTo>
                <a:lnTo>
                  <a:pt x="16036" y="22043"/>
                </a:lnTo>
                <a:lnTo>
                  <a:pt x="14157" y="24325"/>
                </a:lnTo>
                <a:lnTo>
                  <a:pt x="12372" y="26716"/>
                </a:lnTo>
                <a:lnTo>
                  <a:pt x="10696" y="29168"/>
                </a:lnTo>
                <a:lnTo>
                  <a:pt x="9112" y="31714"/>
                </a:lnTo>
                <a:lnTo>
                  <a:pt x="7653" y="34338"/>
                </a:lnTo>
                <a:lnTo>
                  <a:pt x="6318" y="37039"/>
                </a:lnTo>
                <a:lnTo>
                  <a:pt x="5092" y="39802"/>
                </a:lnTo>
                <a:lnTo>
                  <a:pt x="3990" y="42643"/>
                </a:lnTo>
                <a:lnTo>
                  <a:pt x="3012" y="45546"/>
                </a:lnTo>
                <a:lnTo>
                  <a:pt x="2173" y="48495"/>
                </a:lnTo>
                <a:lnTo>
                  <a:pt x="1459" y="51507"/>
                </a:lnTo>
                <a:lnTo>
                  <a:pt x="885" y="54580"/>
                </a:lnTo>
                <a:lnTo>
                  <a:pt x="450" y="57700"/>
                </a:lnTo>
                <a:lnTo>
                  <a:pt x="310" y="59268"/>
                </a:lnTo>
                <a:lnTo>
                  <a:pt x="186" y="60665"/>
                </a:lnTo>
                <a:lnTo>
                  <a:pt x="31" y="63475"/>
                </a:lnTo>
                <a:lnTo>
                  <a:pt x="0" y="66269"/>
                </a:lnTo>
                <a:lnTo>
                  <a:pt x="62" y="69063"/>
                </a:lnTo>
                <a:lnTo>
                  <a:pt x="217" y="71842"/>
                </a:lnTo>
                <a:lnTo>
                  <a:pt x="466" y="74605"/>
                </a:lnTo>
                <a:lnTo>
                  <a:pt x="823" y="77368"/>
                </a:lnTo>
                <a:lnTo>
                  <a:pt x="1257" y="80132"/>
                </a:lnTo>
                <a:lnTo>
                  <a:pt x="1801" y="82864"/>
                </a:lnTo>
                <a:lnTo>
                  <a:pt x="2422" y="85611"/>
                </a:lnTo>
                <a:lnTo>
                  <a:pt x="3120" y="88328"/>
                </a:lnTo>
                <a:lnTo>
                  <a:pt x="3912" y="91045"/>
                </a:lnTo>
                <a:lnTo>
                  <a:pt x="4781" y="93730"/>
                </a:lnTo>
                <a:lnTo>
                  <a:pt x="5728" y="96416"/>
                </a:lnTo>
                <a:lnTo>
                  <a:pt x="7280" y="100436"/>
                </a:lnTo>
                <a:lnTo>
                  <a:pt x="9609" y="105714"/>
                </a:lnTo>
                <a:lnTo>
                  <a:pt x="12201" y="110946"/>
                </a:lnTo>
                <a:lnTo>
                  <a:pt x="15058" y="116099"/>
                </a:lnTo>
                <a:lnTo>
                  <a:pt x="18147" y="121191"/>
                </a:lnTo>
                <a:lnTo>
                  <a:pt x="21438" y="126205"/>
                </a:lnTo>
                <a:lnTo>
                  <a:pt x="24931" y="131126"/>
                </a:lnTo>
                <a:lnTo>
                  <a:pt x="28594" y="135969"/>
                </a:lnTo>
                <a:lnTo>
                  <a:pt x="32413" y="140719"/>
                </a:lnTo>
                <a:lnTo>
                  <a:pt x="36371" y="145392"/>
                </a:lnTo>
                <a:lnTo>
                  <a:pt x="40454" y="149940"/>
                </a:lnTo>
                <a:lnTo>
                  <a:pt x="44630" y="154395"/>
                </a:lnTo>
                <a:lnTo>
                  <a:pt x="48883" y="158742"/>
                </a:lnTo>
                <a:lnTo>
                  <a:pt x="53199" y="162964"/>
                </a:lnTo>
                <a:lnTo>
                  <a:pt x="57545" y="167078"/>
                </a:lnTo>
                <a:lnTo>
                  <a:pt x="61938" y="171068"/>
                </a:lnTo>
                <a:lnTo>
                  <a:pt x="66316" y="174917"/>
                </a:lnTo>
                <a:lnTo>
                  <a:pt x="70678" y="178643"/>
                </a:lnTo>
                <a:lnTo>
                  <a:pt x="75024" y="182229"/>
                </a:lnTo>
                <a:lnTo>
                  <a:pt x="81420" y="187352"/>
                </a:lnTo>
                <a:lnTo>
                  <a:pt x="89663" y="193639"/>
                </a:lnTo>
                <a:lnTo>
                  <a:pt x="97425" y="199274"/>
                </a:lnTo>
                <a:lnTo>
                  <a:pt x="101057" y="201819"/>
                </a:lnTo>
                <a:lnTo>
                  <a:pt x="102454" y="202766"/>
                </a:lnTo>
                <a:lnTo>
                  <a:pt x="105342" y="204458"/>
                </a:lnTo>
                <a:lnTo>
                  <a:pt x="108338" y="205918"/>
                </a:lnTo>
                <a:lnTo>
                  <a:pt x="111396" y="207128"/>
                </a:lnTo>
                <a:lnTo>
                  <a:pt x="114516" y="208091"/>
                </a:lnTo>
                <a:lnTo>
                  <a:pt x="117683" y="208820"/>
                </a:lnTo>
                <a:lnTo>
                  <a:pt x="120896" y="209302"/>
                </a:lnTo>
                <a:lnTo>
                  <a:pt x="124125" y="209550"/>
                </a:lnTo>
                <a:lnTo>
                  <a:pt x="127354" y="209550"/>
                </a:lnTo>
                <a:lnTo>
                  <a:pt x="130583" y="209302"/>
                </a:lnTo>
                <a:lnTo>
                  <a:pt x="133796" y="208820"/>
                </a:lnTo>
                <a:lnTo>
                  <a:pt x="136963" y="208091"/>
                </a:lnTo>
                <a:lnTo>
                  <a:pt x="140098" y="207128"/>
                </a:lnTo>
                <a:lnTo>
                  <a:pt x="143156" y="205918"/>
                </a:lnTo>
                <a:lnTo>
                  <a:pt x="146137" y="204458"/>
                </a:lnTo>
                <a:lnTo>
                  <a:pt x="149024" y="202766"/>
                </a:lnTo>
                <a:lnTo>
                  <a:pt x="150421" y="201819"/>
                </a:lnTo>
                <a:lnTo>
                  <a:pt x="154038" y="199289"/>
                </a:lnTo>
                <a:lnTo>
                  <a:pt x="161769" y="193670"/>
                </a:lnTo>
                <a:lnTo>
                  <a:pt x="169981" y="187414"/>
                </a:lnTo>
                <a:lnTo>
                  <a:pt x="176361" y="182306"/>
                </a:lnTo>
                <a:lnTo>
                  <a:pt x="180676" y="178736"/>
                </a:lnTo>
                <a:lnTo>
                  <a:pt x="185023" y="175042"/>
                </a:lnTo>
                <a:lnTo>
                  <a:pt x="189385" y="171192"/>
                </a:lnTo>
                <a:lnTo>
                  <a:pt x="193763" y="167233"/>
                </a:lnTo>
                <a:lnTo>
                  <a:pt x="198094" y="163151"/>
                </a:lnTo>
                <a:lnTo>
                  <a:pt x="202394" y="158944"/>
                </a:lnTo>
                <a:lnTo>
                  <a:pt x="206647" y="154613"/>
                </a:lnTo>
                <a:lnTo>
                  <a:pt x="210807" y="150189"/>
                </a:lnTo>
                <a:lnTo>
                  <a:pt x="214874" y="145656"/>
                </a:lnTo>
                <a:lnTo>
                  <a:pt x="218817" y="141014"/>
                </a:lnTo>
                <a:lnTo>
                  <a:pt x="222636" y="136280"/>
                </a:lnTo>
                <a:lnTo>
                  <a:pt x="226300" y="131467"/>
                </a:lnTo>
                <a:lnTo>
                  <a:pt x="229792" y="126562"/>
                </a:lnTo>
                <a:lnTo>
                  <a:pt x="233083" y="121579"/>
                </a:lnTo>
                <a:lnTo>
                  <a:pt x="236173" y="116518"/>
                </a:lnTo>
                <a:lnTo>
                  <a:pt x="239044" y="111380"/>
                </a:lnTo>
                <a:lnTo>
                  <a:pt x="241652" y="106180"/>
                </a:lnTo>
                <a:lnTo>
                  <a:pt x="243996" y="100917"/>
                </a:lnTo>
                <a:lnTo>
                  <a:pt x="245564" y="96928"/>
                </a:lnTo>
                <a:lnTo>
                  <a:pt x="246527" y="94258"/>
                </a:lnTo>
                <a:lnTo>
                  <a:pt x="247396" y="91572"/>
                </a:lnTo>
                <a:lnTo>
                  <a:pt x="248203" y="88871"/>
                </a:lnTo>
                <a:lnTo>
                  <a:pt x="248917" y="86155"/>
                </a:lnTo>
                <a:lnTo>
                  <a:pt x="249554" y="83438"/>
                </a:lnTo>
                <a:lnTo>
                  <a:pt x="250112" y="80706"/>
                </a:lnTo>
                <a:lnTo>
                  <a:pt x="250563" y="77958"/>
                </a:lnTo>
                <a:lnTo>
                  <a:pt x="250935" y="75211"/>
                </a:lnTo>
                <a:lnTo>
                  <a:pt x="251215" y="72448"/>
                </a:lnTo>
                <a:lnTo>
                  <a:pt x="251385" y="69684"/>
                </a:lnTo>
                <a:lnTo>
                  <a:pt x="251479" y="66906"/>
                </a:lnTo>
                <a:lnTo>
                  <a:pt x="251463" y="64127"/>
                </a:lnTo>
                <a:lnTo>
                  <a:pt x="251339" y="61333"/>
                </a:lnTo>
                <a:lnTo>
                  <a:pt x="251230" y="59936"/>
                </a:lnTo>
                <a:lnTo>
                  <a:pt x="251199" y="59610"/>
                </a:lnTo>
                <a:lnTo>
                  <a:pt x="251184" y="59268"/>
                </a:lnTo>
                <a:lnTo>
                  <a:pt x="250966" y="57235"/>
                </a:lnTo>
                <a:lnTo>
                  <a:pt x="250361" y="53199"/>
                </a:lnTo>
                <a:lnTo>
                  <a:pt x="249507" y="49256"/>
                </a:lnTo>
                <a:lnTo>
                  <a:pt x="248436" y="45421"/>
                </a:lnTo>
                <a:lnTo>
                  <a:pt x="247132" y="41665"/>
                </a:lnTo>
                <a:lnTo>
                  <a:pt x="245626" y="38032"/>
                </a:lnTo>
                <a:lnTo>
                  <a:pt x="243919" y="34508"/>
                </a:lnTo>
                <a:lnTo>
                  <a:pt x="242009" y="31124"/>
                </a:lnTo>
                <a:lnTo>
                  <a:pt x="240969" y="29479"/>
                </a:lnTo>
                <a:lnTo>
                  <a:pt x="240209" y="28299"/>
                </a:lnTo>
                <a:lnTo>
                  <a:pt x="239401" y="27135"/>
                </a:lnTo>
                <a:lnTo>
                  <a:pt x="238594" y="26110"/>
                </a:lnTo>
                <a:lnTo>
                  <a:pt x="237244" y="24667"/>
                </a:lnTo>
                <a:lnTo>
                  <a:pt x="236281" y="23766"/>
                </a:lnTo>
                <a:lnTo>
                  <a:pt x="235784" y="23332"/>
                </a:lnTo>
                <a:lnTo>
                  <a:pt x="234837" y="22571"/>
                </a:lnTo>
                <a:lnTo>
                  <a:pt x="232882" y="21236"/>
                </a:lnTo>
                <a:lnTo>
                  <a:pt x="230832" y="20134"/>
                </a:lnTo>
                <a:lnTo>
                  <a:pt x="228690" y="19233"/>
                </a:lnTo>
                <a:lnTo>
                  <a:pt x="226517" y="18566"/>
                </a:lnTo>
                <a:lnTo>
                  <a:pt x="224297" y="18116"/>
                </a:lnTo>
                <a:lnTo>
                  <a:pt x="222046" y="17883"/>
                </a:lnTo>
                <a:lnTo>
                  <a:pt x="219795" y="17867"/>
                </a:lnTo>
                <a:lnTo>
                  <a:pt x="217544" y="18069"/>
                </a:lnTo>
                <a:lnTo>
                  <a:pt x="215325" y="18473"/>
                </a:lnTo>
                <a:lnTo>
                  <a:pt x="213167" y="19094"/>
                </a:lnTo>
                <a:lnTo>
                  <a:pt x="211056" y="19916"/>
                </a:lnTo>
                <a:lnTo>
                  <a:pt x="209007" y="20957"/>
                </a:lnTo>
                <a:lnTo>
                  <a:pt x="207082" y="22214"/>
                </a:lnTo>
                <a:lnTo>
                  <a:pt x="205250" y="23658"/>
                </a:lnTo>
                <a:lnTo>
                  <a:pt x="203542" y="25319"/>
                </a:lnTo>
                <a:lnTo>
                  <a:pt x="202751" y="26219"/>
                </a:lnTo>
                <a:lnTo>
                  <a:pt x="185504" y="46787"/>
                </a:lnTo>
                <a:lnTo>
                  <a:pt x="141775" y="98899"/>
                </a:lnTo>
                <a:lnTo>
                  <a:pt x="141232" y="99567"/>
                </a:lnTo>
                <a:lnTo>
                  <a:pt x="140285" y="100964"/>
                </a:lnTo>
                <a:lnTo>
                  <a:pt x="139508" y="102439"/>
                </a:lnTo>
                <a:lnTo>
                  <a:pt x="138903" y="103976"/>
                </a:lnTo>
                <a:lnTo>
                  <a:pt x="138468" y="105543"/>
                </a:lnTo>
                <a:lnTo>
                  <a:pt x="138189" y="107142"/>
                </a:lnTo>
                <a:lnTo>
                  <a:pt x="138065" y="108741"/>
                </a:lnTo>
                <a:lnTo>
                  <a:pt x="138111" y="110356"/>
                </a:lnTo>
                <a:lnTo>
                  <a:pt x="138329" y="111955"/>
                </a:lnTo>
                <a:lnTo>
                  <a:pt x="138701" y="113522"/>
                </a:lnTo>
                <a:lnTo>
                  <a:pt x="139229" y="115044"/>
                </a:lnTo>
                <a:lnTo>
                  <a:pt x="139912" y="116518"/>
                </a:lnTo>
                <a:lnTo>
                  <a:pt x="140750" y="117931"/>
                </a:lnTo>
                <a:lnTo>
                  <a:pt x="141759" y="119266"/>
                </a:lnTo>
                <a:lnTo>
                  <a:pt x="142908" y="120492"/>
                </a:lnTo>
                <a:lnTo>
                  <a:pt x="144212" y="121626"/>
                </a:lnTo>
                <a:lnTo>
                  <a:pt x="144926" y="122138"/>
                </a:lnTo>
                <a:lnTo>
                  <a:pt x="145438" y="122479"/>
                </a:lnTo>
                <a:lnTo>
                  <a:pt x="146494" y="123085"/>
                </a:lnTo>
                <a:lnTo>
                  <a:pt x="147581" y="123613"/>
                </a:lnTo>
                <a:lnTo>
                  <a:pt x="148698" y="124063"/>
                </a:lnTo>
                <a:lnTo>
                  <a:pt x="149863" y="124420"/>
                </a:lnTo>
                <a:lnTo>
                  <a:pt x="151042" y="124684"/>
                </a:lnTo>
                <a:lnTo>
                  <a:pt x="152238" y="124854"/>
                </a:lnTo>
                <a:lnTo>
                  <a:pt x="153448" y="124932"/>
                </a:lnTo>
                <a:lnTo>
                  <a:pt x="154069" y="124932"/>
                </a:lnTo>
                <a:lnTo>
                  <a:pt x="154939" y="124901"/>
                </a:lnTo>
                <a:lnTo>
                  <a:pt x="156662" y="124699"/>
                </a:lnTo>
                <a:lnTo>
                  <a:pt x="158338" y="124311"/>
                </a:lnTo>
                <a:lnTo>
                  <a:pt x="159937" y="123752"/>
                </a:lnTo>
                <a:lnTo>
                  <a:pt x="161459" y="123038"/>
                </a:lnTo>
                <a:lnTo>
                  <a:pt x="162902" y="122153"/>
                </a:lnTo>
                <a:lnTo>
                  <a:pt x="164253" y="121113"/>
                </a:lnTo>
                <a:lnTo>
                  <a:pt x="165495" y="119918"/>
                </a:lnTo>
                <a:lnTo>
                  <a:pt x="166053" y="119266"/>
                </a:lnTo>
                <a:lnTo>
                  <a:pt x="210357" y="66471"/>
                </a:lnTo>
                <a:lnTo>
                  <a:pt x="210668" y="66130"/>
                </a:lnTo>
                <a:lnTo>
                  <a:pt x="211366" y="65586"/>
                </a:lnTo>
                <a:lnTo>
                  <a:pt x="212142" y="65183"/>
                </a:lnTo>
                <a:lnTo>
                  <a:pt x="212965" y="64950"/>
                </a:lnTo>
                <a:lnTo>
                  <a:pt x="213819" y="64872"/>
                </a:lnTo>
                <a:lnTo>
                  <a:pt x="214673" y="64965"/>
                </a:lnTo>
                <a:lnTo>
                  <a:pt x="215495" y="65214"/>
                </a:lnTo>
                <a:lnTo>
                  <a:pt x="216272" y="65633"/>
                </a:lnTo>
                <a:lnTo>
                  <a:pt x="216644" y="65928"/>
                </a:lnTo>
                <a:lnTo>
                  <a:pt x="219252" y="68117"/>
                </a:lnTo>
                <a:lnTo>
                  <a:pt x="219578" y="68412"/>
                </a:lnTo>
                <a:lnTo>
                  <a:pt x="220137" y="69110"/>
                </a:lnTo>
                <a:lnTo>
                  <a:pt x="220525" y="69886"/>
                </a:lnTo>
                <a:lnTo>
                  <a:pt x="220773" y="70709"/>
                </a:lnTo>
                <a:lnTo>
                  <a:pt x="220835" y="71563"/>
                </a:lnTo>
                <a:lnTo>
                  <a:pt x="220758" y="72417"/>
                </a:lnTo>
                <a:lnTo>
                  <a:pt x="220494" y="73239"/>
                </a:lnTo>
                <a:lnTo>
                  <a:pt x="220075" y="74031"/>
                </a:lnTo>
                <a:lnTo>
                  <a:pt x="219795" y="74388"/>
                </a:lnTo>
                <a:lnTo>
                  <a:pt x="175492" y="127183"/>
                </a:lnTo>
                <a:lnTo>
                  <a:pt x="174560" y="128239"/>
                </a:lnTo>
                <a:lnTo>
                  <a:pt x="172573" y="130195"/>
                </a:lnTo>
                <a:lnTo>
                  <a:pt x="170431" y="131918"/>
                </a:lnTo>
                <a:lnTo>
                  <a:pt x="168134" y="133423"/>
                </a:lnTo>
                <a:lnTo>
                  <a:pt x="165696" y="134681"/>
                </a:lnTo>
                <a:lnTo>
                  <a:pt x="163151" y="135705"/>
                </a:lnTo>
                <a:lnTo>
                  <a:pt x="160512" y="136481"/>
                </a:lnTo>
                <a:lnTo>
                  <a:pt x="157764" y="136994"/>
                </a:lnTo>
                <a:lnTo>
                  <a:pt x="156367" y="137133"/>
                </a:lnTo>
                <a:lnTo>
                  <a:pt x="155109" y="137227"/>
                </a:lnTo>
                <a:lnTo>
                  <a:pt x="153868" y="137242"/>
                </a:lnTo>
                <a:lnTo>
                  <a:pt x="152626" y="137227"/>
                </a:lnTo>
                <a:lnTo>
                  <a:pt x="150189" y="137009"/>
                </a:lnTo>
                <a:lnTo>
                  <a:pt x="147782" y="136590"/>
                </a:lnTo>
                <a:lnTo>
                  <a:pt x="145438" y="135954"/>
                </a:lnTo>
                <a:lnTo>
                  <a:pt x="143141" y="135131"/>
                </a:lnTo>
                <a:lnTo>
                  <a:pt x="140937" y="134091"/>
                </a:lnTo>
                <a:lnTo>
                  <a:pt x="138810" y="132865"/>
                </a:lnTo>
                <a:lnTo>
                  <a:pt x="136776" y="131436"/>
                </a:lnTo>
                <a:lnTo>
                  <a:pt x="135814" y="130645"/>
                </a:lnTo>
                <a:lnTo>
                  <a:pt x="135255" y="130179"/>
                </a:lnTo>
                <a:lnTo>
                  <a:pt x="134200" y="129201"/>
                </a:lnTo>
                <a:lnTo>
                  <a:pt x="132725" y="127649"/>
                </a:lnTo>
                <a:lnTo>
                  <a:pt x="130986" y="125460"/>
                </a:lnTo>
                <a:lnTo>
                  <a:pt x="129496" y="123131"/>
                </a:lnTo>
                <a:lnTo>
                  <a:pt x="128254" y="120679"/>
                </a:lnTo>
                <a:lnTo>
                  <a:pt x="127245" y="118148"/>
                </a:lnTo>
                <a:lnTo>
                  <a:pt x="126500" y="115540"/>
                </a:lnTo>
                <a:lnTo>
                  <a:pt x="126019" y="112870"/>
                </a:lnTo>
                <a:lnTo>
                  <a:pt x="125786" y="110185"/>
                </a:lnTo>
                <a:lnTo>
                  <a:pt x="125801" y="107468"/>
                </a:lnTo>
                <a:lnTo>
                  <a:pt x="126081" y="104783"/>
                </a:lnTo>
                <a:lnTo>
                  <a:pt x="126624" y="102113"/>
                </a:lnTo>
                <a:lnTo>
                  <a:pt x="127431" y="99489"/>
                </a:lnTo>
                <a:lnTo>
                  <a:pt x="128487" y="96928"/>
                </a:lnTo>
                <a:lnTo>
                  <a:pt x="129822" y="94460"/>
                </a:lnTo>
                <a:lnTo>
                  <a:pt x="131017" y="92690"/>
                </a:lnTo>
                <a:lnTo>
                  <a:pt x="131887" y="91541"/>
                </a:lnTo>
                <a:lnTo>
                  <a:pt x="132337" y="90967"/>
                </a:lnTo>
                <a:lnTo>
                  <a:pt x="157966" y="60432"/>
                </a:lnTo>
                <a:lnTo>
                  <a:pt x="193312" y="18302"/>
                </a:lnTo>
                <a:lnTo>
                  <a:pt x="193856" y="17681"/>
                </a:lnTo>
                <a:lnTo>
                  <a:pt x="194958" y="16470"/>
                </a:lnTo>
                <a:lnTo>
                  <a:pt x="196697" y="14778"/>
                </a:lnTo>
                <a:lnTo>
                  <a:pt x="199149" y="12745"/>
                </a:lnTo>
                <a:lnTo>
                  <a:pt x="201757" y="10960"/>
                </a:lnTo>
                <a:lnTo>
                  <a:pt x="204474" y="9423"/>
                </a:lnTo>
                <a:lnTo>
                  <a:pt x="207299" y="8134"/>
                </a:lnTo>
                <a:lnTo>
                  <a:pt x="210217" y="7110"/>
                </a:lnTo>
                <a:lnTo>
                  <a:pt x="213198" y="6334"/>
                </a:lnTo>
                <a:lnTo>
                  <a:pt x="214704" y="6054"/>
                </a:lnTo>
                <a:lnTo>
                  <a:pt x="213105" y="5309"/>
                </a:lnTo>
                <a:lnTo>
                  <a:pt x="209860" y="3958"/>
                </a:lnTo>
                <a:lnTo>
                  <a:pt x="206523" y="2810"/>
                </a:lnTo>
                <a:lnTo>
                  <a:pt x="203108" y="1832"/>
                </a:lnTo>
                <a:lnTo>
                  <a:pt x="199630" y="1056"/>
                </a:lnTo>
                <a:lnTo>
                  <a:pt x="196091" y="497"/>
                </a:lnTo>
                <a:lnTo>
                  <a:pt x="192505" y="140"/>
                </a:lnTo>
                <a:lnTo>
                  <a:pt x="188857" y="0"/>
                </a:lnTo>
                <a:lnTo>
                  <a:pt x="187010" y="16"/>
                </a:lnTo>
                <a:lnTo>
                  <a:pt x="185737" y="47"/>
                </a:lnTo>
                <a:lnTo>
                  <a:pt x="183222" y="202"/>
                </a:lnTo>
                <a:lnTo>
                  <a:pt x="180723" y="450"/>
                </a:lnTo>
                <a:lnTo>
                  <a:pt x="178255" y="776"/>
                </a:lnTo>
                <a:lnTo>
                  <a:pt x="175802" y="1195"/>
                </a:lnTo>
                <a:lnTo>
                  <a:pt x="173380" y="1708"/>
                </a:lnTo>
                <a:lnTo>
                  <a:pt x="171005" y="2313"/>
                </a:lnTo>
                <a:lnTo>
                  <a:pt x="168646" y="2996"/>
                </a:lnTo>
                <a:lnTo>
                  <a:pt x="166317" y="3757"/>
                </a:lnTo>
                <a:lnTo>
                  <a:pt x="164035" y="4610"/>
                </a:lnTo>
                <a:lnTo>
                  <a:pt x="161800" y="5542"/>
                </a:lnTo>
                <a:lnTo>
                  <a:pt x="159596" y="6551"/>
                </a:lnTo>
                <a:lnTo>
                  <a:pt x="157422" y="7638"/>
                </a:lnTo>
                <a:lnTo>
                  <a:pt x="155311" y="8786"/>
                </a:lnTo>
                <a:lnTo>
                  <a:pt x="153247" y="10028"/>
                </a:lnTo>
                <a:lnTo>
                  <a:pt x="151213" y="11332"/>
                </a:lnTo>
                <a:lnTo>
                  <a:pt x="149257" y="12714"/>
                </a:lnTo>
                <a:lnTo>
                  <a:pt x="147332" y="14157"/>
                </a:lnTo>
                <a:lnTo>
                  <a:pt x="145469" y="15679"/>
                </a:lnTo>
                <a:lnTo>
                  <a:pt x="143669" y="17262"/>
                </a:lnTo>
                <a:lnTo>
                  <a:pt x="141930" y="18907"/>
                </a:lnTo>
                <a:lnTo>
                  <a:pt x="140254" y="20615"/>
                </a:lnTo>
                <a:lnTo>
                  <a:pt x="138624" y="22385"/>
                </a:lnTo>
                <a:lnTo>
                  <a:pt x="137071" y="24216"/>
                </a:lnTo>
                <a:lnTo>
                  <a:pt x="135597" y="26095"/>
                </a:lnTo>
                <a:lnTo>
                  <a:pt x="134184" y="28035"/>
                </a:lnTo>
                <a:lnTo>
                  <a:pt x="132833" y="30038"/>
                </a:lnTo>
                <a:lnTo>
                  <a:pt x="131561" y="32102"/>
                </a:lnTo>
                <a:lnTo>
                  <a:pt x="130381" y="34198"/>
                </a:lnTo>
                <a:lnTo>
                  <a:pt x="129263" y="36356"/>
                </a:lnTo>
                <a:lnTo>
                  <a:pt x="128223" y="38560"/>
                </a:lnTo>
                <a:lnTo>
                  <a:pt x="127276" y="40826"/>
                </a:lnTo>
                <a:lnTo>
                  <a:pt x="126841" y="41960"/>
                </a:lnTo>
                <a:lnTo>
                  <a:pt x="126717" y="42270"/>
                </a:lnTo>
                <a:lnTo>
                  <a:pt x="126469" y="42720"/>
                </a:lnTo>
                <a:lnTo>
                  <a:pt x="126205" y="42969"/>
                </a:lnTo>
                <a:lnTo>
                  <a:pt x="125910" y="43062"/>
                </a:lnTo>
                <a:lnTo>
                  <a:pt x="125739" y="43077"/>
                </a:lnTo>
                <a:lnTo>
                  <a:pt x="125569" y="43062"/>
                </a:lnTo>
                <a:lnTo>
                  <a:pt x="125274" y="42969"/>
                </a:lnTo>
                <a:lnTo>
                  <a:pt x="125010" y="42720"/>
                </a:lnTo>
                <a:lnTo>
                  <a:pt x="124761" y="42270"/>
                </a:lnTo>
                <a:lnTo>
                  <a:pt x="124637" y="41960"/>
                </a:lnTo>
                <a:lnTo>
                  <a:pt x="124202" y="40826"/>
                </a:lnTo>
                <a:lnTo>
                  <a:pt x="123256" y="38560"/>
                </a:lnTo>
                <a:lnTo>
                  <a:pt x="122215" y="36356"/>
                </a:lnTo>
                <a:lnTo>
                  <a:pt x="121098" y="34198"/>
                </a:lnTo>
                <a:lnTo>
                  <a:pt x="119918" y="32102"/>
                </a:lnTo>
                <a:lnTo>
                  <a:pt x="118645" y="30038"/>
                </a:lnTo>
                <a:lnTo>
                  <a:pt x="117295" y="28035"/>
                </a:lnTo>
                <a:lnTo>
                  <a:pt x="115882" y="26095"/>
                </a:lnTo>
                <a:lnTo>
                  <a:pt x="114407" y="24216"/>
                </a:lnTo>
                <a:lnTo>
                  <a:pt x="112855" y="22385"/>
                </a:lnTo>
                <a:lnTo>
                  <a:pt x="111225" y="20615"/>
                </a:lnTo>
                <a:lnTo>
                  <a:pt x="109548" y="18907"/>
                </a:lnTo>
                <a:lnTo>
                  <a:pt x="107810" y="17262"/>
                </a:lnTo>
                <a:lnTo>
                  <a:pt x="106009" y="15679"/>
                </a:lnTo>
                <a:lnTo>
                  <a:pt x="104146" y="14157"/>
                </a:lnTo>
                <a:lnTo>
                  <a:pt x="102221" y="12714"/>
                </a:lnTo>
                <a:lnTo>
                  <a:pt x="100265" y="11332"/>
                </a:lnTo>
                <a:lnTo>
                  <a:pt x="98232" y="10028"/>
                </a:lnTo>
                <a:lnTo>
                  <a:pt x="96167" y="8786"/>
                </a:lnTo>
                <a:lnTo>
                  <a:pt x="94056" y="7638"/>
                </a:lnTo>
                <a:lnTo>
                  <a:pt x="91883" y="6551"/>
                </a:lnTo>
                <a:lnTo>
                  <a:pt x="89678" y="5542"/>
                </a:lnTo>
                <a:lnTo>
                  <a:pt x="87443" y="4610"/>
                </a:lnTo>
                <a:lnTo>
                  <a:pt x="85161" y="3757"/>
                </a:lnTo>
                <a:lnTo>
                  <a:pt x="82833" y="2996"/>
                </a:lnTo>
                <a:lnTo>
                  <a:pt x="80473" y="2313"/>
                </a:lnTo>
                <a:lnTo>
                  <a:pt x="78098" y="1708"/>
                </a:lnTo>
                <a:lnTo>
                  <a:pt x="75676" y="1195"/>
                </a:lnTo>
                <a:lnTo>
                  <a:pt x="73224" y="776"/>
                </a:lnTo>
                <a:lnTo>
                  <a:pt x="70756" y="450"/>
                </a:lnTo>
                <a:lnTo>
                  <a:pt x="68256" y="202"/>
                </a:lnTo>
                <a:lnTo>
                  <a:pt x="65741" y="47"/>
                </a:lnTo>
                <a:lnTo>
                  <a:pt x="64469" y="16"/>
                </a:lnTo>
                <a:lnTo>
                  <a:pt x="62932" y="0"/>
                </a:ln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314452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2C Eyebrow, Title, Subtitle, Content on Near White">
  <p:cSld name="B2C Eyebrow, Title, Subtitle, Content on Near White">
    <p:bg>
      <p:bgPr>
        <a:solidFill>
          <a:schemeClr val="lt2"/>
        </a:solidFill>
        <a:effectLst/>
      </p:bgPr>
    </p:bg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Google Shape;214;p11"/>
          <p:cNvSpPr txBox="1">
            <a:spLocks noGrp="1"/>
          </p:cNvSpPr>
          <p:nvPr>
            <p:ph type="sldNum" idx="12"/>
          </p:nvPr>
        </p:nvSpPr>
        <p:spPr>
          <a:xfrm>
            <a:off x="11044810" y="6091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15" name="Google Shape;215;p11"/>
          <p:cNvSpPr txBox="1">
            <a:spLocks noGrp="1"/>
          </p:cNvSpPr>
          <p:nvPr>
            <p:ph type="body" idx="1"/>
          </p:nvPr>
        </p:nvSpPr>
        <p:spPr>
          <a:xfrm>
            <a:off x="415600" y="1834900"/>
            <a:ext cx="11360700" cy="41331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30200" rtl="0">
              <a:spcBef>
                <a:spcPts val="0"/>
              </a:spcBef>
              <a:spcAft>
                <a:spcPts val="0"/>
              </a:spcAft>
              <a:buSzPts val="1600"/>
              <a:buChar char="•"/>
              <a:defRPr sz="1600"/>
            </a:lvl1pPr>
            <a:lvl2pPr marL="914400" lvl="1" indent="-323850" rtl="0">
              <a:spcBef>
                <a:spcPts val="1300"/>
              </a:spcBef>
              <a:spcAft>
                <a:spcPts val="0"/>
              </a:spcAft>
              <a:buSzPts val="1500"/>
              <a:buChar char="○"/>
              <a:defRPr sz="1500"/>
            </a:lvl2pPr>
            <a:lvl3pPr marL="1371600" lvl="2" indent="-311150" rtl="0">
              <a:spcBef>
                <a:spcPts val="1300"/>
              </a:spcBef>
              <a:spcAft>
                <a:spcPts val="0"/>
              </a:spcAft>
              <a:buSzPts val="1300"/>
              <a:buChar char="•"/>
              <a:defRPr sz="1300"/>
            </a:lvl3pPr>
            <a:lvl4pPr marL="1828800" lvl="3" indent="-304800" rtl="0">
              <a:spcBef>
                <a:spcPts val="1300"/>
              </a:spcBef>
              <a:spcAft>
                <a:spcPts val="0"/>
              </a:spcAft>
              <a:buSzPts val="1200"/>
              <a:buChar char="◦"/>
              <a:defRPr sz="1200"/>
            </a:lvl4pPr>
            <a:lvl5pPr marL="2286000" lvl="4" indent="-298450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/>
            </a:lvl5pPr>
            <a:lvl6pPr marL="2743200" lvl="5" indent="-298450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/>
            </a:lvl6pPr>
            <a:lvl7pPr marL="3200400" lvl="6" indent="-298450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/>
            </a:lvl7pPr>
            <a:lvl8pPr marL="3657600" lvl="7" indent="-298450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 rtl="0">
              <a:spcBef>
                <a:spcPts val="1300"/>
              </a:spcBef>
              <a:spcAft>
                <a:spcPts val="1300"/>
              </a:spcAft>
              <a:buSzPts val="1100"/>
              <a:buChar char="•"/>
              <a:defRPr/>
            </a:lvl9pPr>
          </a:lstStyle>
          <a:p>
            <a:endParaRPr/>
          </a:p>
        </p:txBody>
      </p:sp>
      <p:sp>
        <p:nvSpPr>
          <p:cNvPr id="216" name="Google Shape;216;p11"/>
          <p:cNvSpPr/>
          <p:nvPr/>
        </p:nvSpPr>
        <p:spPr>
          <a:xfrm rot="10800000">
            <a:off x="3833" y="67"/>
            <a:ext cx="11147700" cy="10329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7" name="Google Shape;217;p11"/>
          <p:cNvSpPr/>
          <p:nvPr/>
        </p:nvSpPr>
        <p:spPr>
          <a:xfrm>
            <a:off x="-23600" y="0"/>
            <a:ext cx="1266300" cy="10329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8" name="Google Shape;218;p11"/>
          <p:cNvSpPr txBox="1">
            <a:spLocks noGrp="1"/>
          </p:cNvSpPr>
          <p:nvPr>
            <p:ph type="title"/>
          </p:nvPr>
        </p:nvSpPr>
        <p:spPr>
          <a:xfrm>
            <a:off x="415600" y="398067"/>
            <a:ext cx="101241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1pPr>
            <a:lvl2pPr lvl="1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2pPr>
            <a:lvl3pPr lvl="2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3pPr>
            <a:lvl4pPr lvl="3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4pPr>
            <a:lvl5pPr lvl="4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5pPr>
            <a:lvl6pPr lvl="5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6pPr>
            <a:lvl7pPr lvl="6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7pPr>
            <a:lvl8pPr lvl="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8pPr>
            <a:lvl9pPr lvl="8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219" name="Google Shape;219;p11"/>
          <p:cNvSpPr txBox="1">
            <a:spLocks noGrp="1"/>
          </p:cNvSpPr>
          <p:nvPr>
            <p:ph type="title" idx="2"/>
          </p:nvPr>
        </p:nvSpPr>
        <p:spPr>
          <a:xfrm>
            <a:off x="415600" y="1226067"/>
            <a:ext cx="11360700" cy="393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00"/>
              <a:buFont typeface="Lato"/>
              <a:buNone/>
              <a:defRPr sz="19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220" name="Google Shape;220;p11"/>
          <p:cNvSpPr/>
          <p:nvPr/>
        </p:nvSpPr>
        <p:spPr>
          <a:xfrm>
            <a:off x="11525533" y="364133"/>
            <a:ext cx="365273" cy="304371"/>
          </a:xfrm>
          <a:custGeom>
            <a:avLst/>
            <a:gdLst/>
            <a:ahLst/>
            <a:cxnLst/>
            <a:rect l="l" t="t" r="r" b="b"/>
            <a:pathLst>
              <a:path w="251479" h="209550" extrusionOk="0">
                <a:moveTo>
                  <a:pt x="62932" y="0"/>
                </a:moveTo>
                <a:lnTo>
                  <a:pt x="59858" y="78"/>
                </a:lnTo>
                <a:lnTo>
                  <a:pt x="56847" y="326"/>
                </a:lnTo>
                <a:lnTo>
                  <a:pt x="53851" y="714"/>
                </a:lnTo>
                <a:lnTo>
                  <a:pt x="50901" y="1257"/>
                </a:lnTo>
                <a:lnTo>
                  <a:pt x="47998" y="1925"/>
                </a:lnTo>
                <a:lnTo>
                  <a:pt x="45142" y="2748"/>
                </a:lnTo>
                <a:lnTo>
                  <a:pt x="42348" y="3695"/>
                </a:lnTo>
                <a:lnTo>
                  <a:pt x="39600" y="4781"/>
                </a:lnTo>
                <a:lnTo>
                  <a:pt x="36915" y="5992"/>
                </a:lnTo>
                <a:lnTo>
                  <a:pt x="34291" y="7327"/>
                </a:lnTo>
                <a:lnTo>
                  <a:pt x="31730" y="8786"/>
                </a:lnTo>
                <a:lnTo>
                  <a:pt x="29246" y="10354"/>
                </a:lnTo>
                <a:lnTo>
                  <a:pt x="26840" y="12031"/>
                </a:lnTo>
                <a:lnTo>
                  <a:pt x="24511" y="13831"/>
                </a:lnTo>
                <a:lnTo>
                  <a:pt x="22261" y="15741"/>
                </a:lnTo>
                <a:lnTo>
                  <a:pt x="20087" y="17743"/>
                </a:lnTo>
                <a:lnTo>
                  <a:pt x="18023" y="19839"/>
                </a:lnTo>
                <a:lnTo>
                  <a:pt x="16036" y="22043"/>
                </a:lnTo>
                <a:lnTo>
                  <a:pt x="14157" y="24325"/>
                </a:lnTo>
                <a:lnTo>
                  <a:pt x="12372" y="26716"/>
                </a:lnTo>
                <a:lnTo>
                  <a:pt x="10696" y="29168"/>
                </a:lnTo>
                <a:lnTo>
                  <a:pt x="9112" y="31714"/>
                </a:lnTo>
                <a:lnTo>
                  <a:pt x="7653" y="34338"/>
                </a:lnTo>
                <a:lnTo>
                  <a:pt x="6318" y="37039"/>
                </a:lnTo>
                <a:lnTo>
                  <a:pt x="5092" y="39802"/>
                </a:lnTo>
                <a:lnTo>
                  <a:pt x="3990" y="42643"/>
                </a:lnTo>
                <a:lnTo>
                  <a:pt x="3012" y="45546"/>
                </a:lnTo>
                <a:lnTo>
                  <a:pt x="2173" y="48495"/>
                </a:lnTo>
                <a:lnTo>
                  <a:pt x="1459" y="51507"/>
                </a:lnTo>
                <a:lnTo>
                  <a:pt x="885" y="54580"/>
                </a:lnTo>
                <a:lnTo>
                  <a:pt x="450" y="57700"/>
                </a:lnTo>
                <a:lnTo>
                  <a:pt x="310" y="59268"/>
                </a:lnTo>
                <a:lnTo>
                  <a:pt x="186" y="60665"/>
                </a:lnTo>
                <a:lnTo>
                  <a:pt x="31" y="63475"/>
                </a:lnTo>
                <a:lnTo>
                  <a:pt x="0" y="66269"/>
                </a:lnTo>
                <a:lnTo>
                  <a:pt x="62" y="69063"/>
                </a:lnTo>
                <a:lnTo>
                  <a:pt x="217" y="71842"/>
                </a:lnTo>
                <a:lnTo>
                  <a:pt x="466" y="74605"/>
                </a:lnTo>
                <a:lnTo>
                  <a:pt x="823" y="77368"/>
                </a:lnTo>
                <a:lnTo>
                  <a:pt x="1257" y="80132"/>
                </a:lnTo>
                <a:lnTo>
                  <a:pt x="1801" y="82864"/>
                </a:lnTo>
                <a:lnTo>
                  <a:pt x="2422" y="85611"/>
                </a:lnTo>
                <a:lnTo>
                  <a:pt x="3120" y="88328"/>
                </a:lnTo>
                <a:lnTo>
                  <a:pt x="3912" y="91045"/>
                </a:lnTo>
                <a:lnTo>
                  <a:pt x="4781" y="93730"/>
                </a:lnTo>
                <a:lnTo>
                  <a:pt x="5728" y="96416"/>
                </a:lnTo>
                <a:lnTo>
                  <a:pt x="7280" y="100436"/>
                </a:lnTo>
                <a:lnTo>
                  <a:pt x="9609" y="105714"/>
                </a:lnTo>
                <a:lnTo>
                  <a:pt x="12201" y="110946"/>
                </a:lnTo>
                <a:lnTo>
                  <a:pt x="15058" y="116099"/>
                </a:lnTo>
                <a:lnTo>
                  <a:pt x="18147" y="121191"/>
                </a:lnTo>
                <a:lnTo>
                  <a:pt x="21438" y="126205"/>
                </a:lnTo>
                <a:lnTo>
                  <a:pt x="24931" y="131126"/>
                </a:lnTo>
                <a:lnTo>
                  <a:pt x="28594" y="135969"/>
                </a:lnTo>
                <a:lnTo>
                  <a:pt x="32413" y="140719"/>
                </a:lnTo>
                <a:lnTo>
                  <a:pt x="36371" y="145392"/>
                </a:lnTo>
                <a:lnTo>
                  <a:pt x="40454" y="149940"/>
                </a:lnTo>
                <a:lnTo>
                  <a:pt x="44630" y="154395"/>
                </a:lnTo>
                <a:lnTo>
                  <a:pt x="48883" y="158742"/>
                </a:lnTo>
                <a:lnTo>
                  <a:pt x="53199" y="162964"/>
                </a:lnTo>
                <a:lnTo>
                  <a:pt x="57545" y="167078"/>
                </a:lnTo>
                <a:lnTo>
                  <a:pt x="61938" y="171068"/>
                </a:lnTo>
                <a:lnTo>
                  <a:pt x="66316" y="174917"/>
                </a:lnTo>
                <a:lnTo>
                  <a:pt x="70678" y="178643"/>
                </a:lnTo>
                <a:lnTo>
                  <a:pt x="75024" y="182229"/>
                </a:lnTo>
                <a:lnTo>
                  <a:pt x="81420" y="187352"/>
                </a:lnTo>
                <a:lnTo>
                  <a:pt x="89663" y="193639"/>
                </a:lnTo>
                <a:lnTo>
                  <a:pt x="97425" y="199274"/>
                </a:lnTo>
                <a:lnTo>
                  <a:pt x="101057" y="201819"/>
                </a:lnTo>
                <a:lnTo>
                  <a:pt x="102454" y="202766"/>
                </a:lnTo>
                <a:lnTo>
                  <a:pt x="105342" y="204458"/>
                </a:lnTo>
                <a:lnTo>
                  <a:pt x="108338" y="205918"/>
                </a:lnTo>
                <a:lnTo>
                  <a:pt x="111396" y="207128"/>
                </a:lnTo>
                <a:lnTo>
                  <a:pt x="114516" y="208091"/>
                </a:lnTo>
                <a:lnTo>
                  <a:pt x="117683" y="208820"/>
                </a:lnTo>
                <a:lnTo>
                  <a:pt x="120896" y="209302"/>
                </a:lnTo>
                <a:lnTo>
                  <a:pt x="124125" y="209550"/>
                </a:lnTo>
                <a:lnTo>
                  <a:pt x="127354" y="209550"/>
                </a:lnTo>
                <a:lnTo>
                  <a:pt x="130583" y="209302"/>
                </a:lnTo>
                <a:lnTo>
                  <a:pt x="133796" y="208820"/>
                </a:lnTo>
                <a:lnTo>
                  <a:pt x="136963" y="208091"/>
                </a:lnTo>
                <a:lnTo>
                  <a:pt x="140098" y="207128"/>
                </a:lnTo>
                <a:lnTo>
                  <a:pt x="143156" y="205918"/>
                </a:lnTo>
                <a:lnTo>
                  <a:pt x="146137" y="204458"/>
                </a:lnTo>
                <a:lnTo>
                  <a:pt x="149024" y="202766"/>
                </a:lnTo>
                <a:lnTo>
                  <a:pt x="150421" y="201819"/>
                </a:lnTo>
                <a:lnTo>
                  <a:pt x="154038" y="199289"/>
                </a:lnTo>
                <a:lnTo>
                  <a:pt x="161769" y="193670"/>
                </a:lnTo>
                <a:lnTo>
                  <a:pt x="169981" y="187414"/>
                </a:lnTo>
                <a:lnTo>
                  <a:pt x="176361" y="182306"/>
                </a:lnTo>
                <a:lnTo>
                  <a:pt x="180676" y="178736"/>
                </a:lnTo>
                <a:lnTo>
                  <a:pt x="185023" y="175042"/>
                </a:lnTo>
                <a:lnTo>
                  <a:pt x="189385" y="171192"/>
                </a:lnTo>
                <a:lnTo>
                  <a:pt x="193763" y="167233"/>
                </a:lnTo>
                <a:lnTo>
                  <a:pt x="198094" y="163151"/>
                </a:lnTo>
                <a:lnTo>
                  <a:pt x="202394" y="158944"/>
                </a:lnTo>
                <a:lnTo>
                  <a:pt x="206647" y="154613"/>
                </a:lnTo>
                <a:lnTo>
                  <a:pt x="210807" y="150189"/>
                </a:lnTo>
                <a:lnTo>
                  <a:pt x="214874" y="145656"/>
                </a:lnTo>
                <a:lnTo>
                  <a:pt x="218817" y="141014"/>
                </a:lnTo>
                <a:lnTo>
                  <a:pt x="222636" y="136280"/>
                </a:lnTo>
                <a:lnTo>
                  <a:pt x="226300" y="131467"/>
                </a:lnTo>
                <a:lnTo>
                  <a:pt x="229792" y="126562"/>
                </a:lnTo>
                <a:lnTo>
                  <a:pt x="233083" y="121579"/>
                </a:lnTo>
                <a:lnTo>
                  <a:pt x="236173" y="116518"/>
                </a:lnTo>
                <a:lnTo>
                  <a:pt x="239044" y="111380"/>
                </a:lnTo>
                <a:lnTo>
                  <a:pt x="241652" y="106180"/>
                </a:lnTo>
                <a:lnTo>
                  <a:pt x="243996" y="100917"/>
                </a:lnTo>
                <a:lnTo>
                  <a:pt x="245564" y="96928"/>
                </a:lnTo>
                <a:lnTo>
                  <a:pt x="246527" y="94258"/>
                </a:lnTo>
                <a:lnTo>
                  <a:pt x="247396" y="91572"/>
                </a:lnTo>
                <a:lnTo>
                  <a:pt x="248203" y="88871"/>
                </a:lnTo>
                <a:lnTo>
                  <a:pt x="248917" y="86155"/>
                </a:lnTo>
                <a:lnTo>
                  <a:pt x="249554" y="83438"/>
                </a:lnTo>
                <a:lnTo>
                  <a:pt x="250112" y="80706"/>
                </a:lnTo>
                <a:lnTo>
                  <a:pt x="250563" y="77958"/>
                </a:lnTo>
                <a:lnTo>
                  <a:pt x="250935" y="75211"/>
                </a:lnTo>
                <a:lnTo>
                  <a:pt x="251215" y="72448"/>
                </a:lnTo>
                <a:lnTo>
                  <a:pt x="251385" y="69684"/>
                </a:lnTo>
                <a:lnTo>
                  <a:pt x="251479" y="66906"/>
                </a:lnTo>
                <a:lnTo>
                  <a:pt x="251463" y="64127"/>
                </a:lnTo>
                <a:lnTo>
                  <a:pt x="251339" y="61333"/>
                </a:lnTo>
                <a:lnTo>
                  <a:pt x="251230" y="59936"/>
                </a:lnTo>
                <a:lnTo>
                  <a:pt x="251199" y="59610"/>
                </a:lnTo>
                <a:lnTo>
                  <a:pt x="251184" y="59268"/>
                </a:lnTo>
                <a:lnTo>
                  <a:pt x="250966" y="57235"/>
                </a:lnTo>
                <a:lnTo>
                  <a:pt x="250361" y="53199"/>
                </a:lnTo>
                <a:lnTo>
                  <a:pt x="249507" y="49256"/>
                </a:lnTo>
                <a:lnTo>
                  <a:pt x="248436" y="45421"/>
                </a:lnTo>
                <a:lnTo>
                  <a:pt x="247132" y="41665"/>
                </a:lnTo>
                <a:lnTo>
                  <a:pt x="245626" y="38032"/>
                </a:lnTo>
                <a:lnTo>
                  <a:pt x="243919" y="34508"/>
                </a:lnTo>
                <a:lnTo>
                  <a:pt x="242009" y="31124"/>
                </a:lnTo>
                <a:lnTo>
                  <a:pt x="240969" y="29479"/>
                </a:lnTo>
                <a:lnTo>
                  <a:pt x="240209" y="28299"/>
                </a:lnTo>
                <a:lnTo>
                  <a:pt x="239401" y="27135"/>
                </a:lnTo>
                <a:lnTo>
                  <a:pt x="238594" y="26110"/>
                </a:lnTo>
                <a:lnTo>
                  <a:pt x="237244" y="24667"/>
                </a:lnTo>
                <a:lnTo>
                  <a:pt x="236281" y="23766"/>
                </a:lnTo>
                <a:lnTo>
                  <a:pt x="235784" y="23332"/>
                </a:lnTo>
                <a:lnTo>
                  <a:pt x="234837" y="22571"/>
                </a:lnTo>
                <a:lnTo>
                  <a:pt x="232882" y="21236"/>
                </a:lnTo>
                <a:lnTo>
                  <a:pt x="230832" y="20134"/>
                </a:lnTo>
                <a:lnTo>
                  <a:pt x="228690" y="19233"/>
                </a:lnTo>
                <a:lnTo>
                  <a:pt x="226517" y="18566"/>
                </a:lnTo>
                <a:lnTo>
                  <a:pt x="224297" y="18116"/>
                </a:lnTo>
                <a:lnTo>
                  <a:pt x="222046" y="17883"/>
                </a:lnTo>
                <a:lnTo>
                  <a:pt x="219795" y="17867"/>
                </a:lnTo>
                <a:lnTo>
                  <a:pt x="217544" y="18069"/>
                </a:lnTo>
                <a:lnTo>
                  <a:pt x="215325" y="18473"/>
                </a:lnTo>
                <a:lnTo>
                  <a:pt x="213167" y="19094"/>
                </a:lnTo>
                <a:lnTo>
                  <a:pt x="211056" y="19916"/>
                </a:lnTo>
                <a:lnTo>
                  <a:pt x="209007" y="20957"/>
                </a:lnTo>
                <a:lnTo>
                  <a:pt x="207082" y="22214"/>
                </a:lnTo>
                <a:lnTo>
                  <a:pt x="205250" y="23658"/>
                </a:lnTo>
                <a:lnTo>
                  <a:pt x="203542" y="25319"/>
                </a:lnTo>
                <a:lnTo>
                  <a:pt x="202751" y="26219"/>
                </a:lnTo>
                <a:lnTo>
                  <a:pt x="185504" y="46787"/>
                </a:lnTo>
                <a:lnTo>
                  <a:pt x="141775" y="98899"/>
                </a:lnTo>
                <a:lnTo>
                  <a:pt x="141232" y="99567"/>
                </a:lnTo>
                <a:lnTo>
                  <a:pt x="140285" y="100964"/>
                </a:lnTo>
                <a:lnTo>
                  <a:pt x="139508" y="102439"/>
                </a:lnTo>
                <a:lnTo>
                  <a:pt x="138903" y="103976"/>
                </a:lnTo>
                <a:lnTo>
                  <a:pt x="138468" y="105543"/>
                </a:lnTo>
                <a:lnTo>
                  <a:pt x="138189" y="107142"/>
                </a:lnTo>
                <a:lnTo>
                  <a:pt x="138065" y="108741"/>
                </a:lnTo>
                <a:lnTo>
                  <a:pt x="138111" y="110356"/>
                </a:lnTo>
                <a:lnTo>
                  <a:pt x="138329" y="111955"/>
                </a:lnTo>
                <a:lnTo>
                  <a:pt x="138701" y="113522"/>
                </a:lnTo>
                <a:lnTo>
                  <a:pt x="139229" y="115044"/>
                </a:lnTo>
                <a:lnTo>
                  <a:pt x="139912" y="116518"/>
                </a:lnTo>
                <a:lnTo>
                  <a:pt x="140750" y="117931"/>
                </a:lnTo>
                <a:lnTo>
                  <a:pt x="141759" y="119266"/>
                </a:lnTo>
                <a:lnTo>
                  <a:pt x="142908" y="120492"/>
                </a:lnTo>
                <a:lnTo>
                  <a:pt x="144212" y="121626"/>
                </a:lnTo>
                <a:lnTo>
                  <a:pt x="144926" y="122138"/>
                </a:lnTo>
                <a:lnTo>
                  <a:pt x="145438" y="122479"/>
                </a:lnTo>
                <a:lnTo>
                  <a:pt x="146494" y="123085"/>
                </a:lnTo>
                <a:lnTo>
                  <a:pt x="147581" y="123613"/>
                </a:lnTo>
                <a:lnTo>
                  <a:pt x="148698" y="124063"/>
                </a:lnTo>
                <a:lnTo>
                  <a:pt x="149863" y="124420"/>
                </a:lnTo>
                <a:lnTo>
                  <a:pt x="151042" y="124684"/>
                </a:lnTo>
                <a:lnTo>
                  <a:pt x="152238" y="124854"/>
                </a:lnTo>
                <a:lnTo>
                  <a:pt x="153448" y="124932"/>
                </a:lnTo>
                <a:lnTo>
                  <a:pt x="154069" y="124932"/>
                </a:lnTo>
                <a:lnTo>
                  <a:pt x="154939" y="124901"/>
                </a:lnTo>
                <a:lnTo>
                  <a:pt x="156662" y="124699"/>
                </a:lnTo>
                <a:lnTo>
                  <a:pt x="158338" y="124311"/>
                </a:lnTo>
                <a:lnTo>
                  <a:pt x="159937" y="123752"/>
                </a:lnTo>
                <a:lnTo>
                  <a:pt x="161459" y="123038"/>
                </a:lnTo>
                <a:lnTo>
                  <a:pt x="162902" y="122153"/>
                </a:lnTo>
                <a:lnTo>
                  <a:pt x="164253" y="121113"/>
                </a:lnTo>
                <a:lnTo>
                  <a:pt x="165495" y="119918"/>
                </a:lnTo>
                <a:lnTo>
                  <a:pt x="166053" y="119266"/>
                </a:lnTo>
                <a:lnTo>
                  <a:pt x="210357" y="66471"/>
                </a:lnTo>
                <a:lnTo>
                  <a:pt x="210668" y="66130"/>
                </a:lnTo>
                <a:lnTo>
                  <a:pt x="211366" y="65586"/>
                </a:lnTo>
                <a:lnTo>
                  <a:pt x="212142" y="65183"/>
                </a:lnTo>
                <a:lnTo>
                  <a:pt x="212965" y="64950"/>
                </a:lnTo>
                <a:lnTo>
                  <a:pt x="213819" y="64872"/>
                </a:lnTo>
                <a:lnTo>
                  <a:pt x="214673" y="64965"/>
                </a:lnTo>
                <a:lnTo>
                  <a:pt x="215495" y="65214"/>
                </a:lnTo>
                <a:lnTo>
                  <a:pt x="216272" y="65633"/>
                </a:lnTo>
                <a:lnTo>
                  <a:pt x="216644" y="65928"/>
                </a:lnTo>
                <a:lnTo>
                  <a:pt x="219252" y="68117"/>
                </a:lnTo>
                <a:lnTo>
                  <a:pt x="219578" y="68412"/>
                </a:lnTo>
                <a:lnTo>
                  <a:pt x="220137" y="69110"/>
                </a:lnTo>
                <a:lnTo>
                  <a:pt x="220525" y="69886"/>
                </a:lnTo>
                <a:lnTo>
                  <a:pt x="220773" y="70709"/>
                </a:lnTo>
                <a:lnTo>
                  <a:pt x="220835" y="71563"/>
                </a:lnTo>
                <a:lnTo>
                  <a:pt x="220758" y="72417"/>
                </a:lnTo>
                <a:lnTo>
                  <a:pt x="220494" y="73239"/>
                </a:lnTo>
                <a:lnTo>
                  <a:pt x="220075" y="74031"/>
                </a:lnTo>
                <a:lnTo>
                  <a:pt x="219795" y="74388"/>
                </a:lnTo>
                <a:lnTo>
                  <a:pt x="175492" y="127183"/>
                </a:lnTo>
                <a:lnTo>
                  <a:pt x="174560" y="128239"/>
                </a:lnTo>
                <a:lnTo>
                  <a:pt x="172573" y="130195"/>
                </a:lnTo>
                <a:lnTo>
                  <a:pt x="170431" y="131918"/>
                </a:lnTo>
                <a:lnTo>
                  <a:pt x="168134" y="133423"/>
                </a:lnTo>
                <a:lnTo>
                  <a:pt x="165696" y="134681"/>
                </a:lnTo>
                <a:lnTo>
                  <a:pt x="163151" y="135705"/>
                </a:lnTo>
                <a:lnTo>
                  <a:pt x="160512" y="136481"/>
                </a:lnTo>
                <a:lnTo>
                  <a:pt x="157764" y="136994"/>
                </a:lnTo>
                <a:lnTo>
                  <a:pt x="156367" y="137133"/>
                </a:lnTo>
                <a:lnTo>
                  <a:pt x="155109" y="137227"/>
                </a:lnTo>
                <a:lnTo>
                  <a:pt x="153868" y="137242"/>
                </a:lnTo>
                <a:lnTo>
                  <a:pt x="152626" y="137227"/>
                </a:lnTo>
                <a:lnTo>
                  <a:pt x="150189" y="137009"/>
                </a:lnTo>
                <a:lnTo>
                  <a:pt x="147782" y="136590"/>
                </a:lnTo>
                <a:lnTo>
                  <a:pt x="145438" y="135954"/>
                </a:lnTo>
                <a:lnTo>
                  <a:pt x="143141" y="135131"/>
                </a:lnTo>
                <a:lnTo>
                  <a:pt x="140937" y="134091"/>
                </a:lnTo>
                <a:lnTo>
                  <a:pt x="138810" y="132865"/>
                </a:lnTo>
                <a:lnTo>
                  <a:pt x="136776" y="131436"/>
                </a:lnTo>
                <a:lnTo>
                  <a:pt x="135814" y="130645"/>
                </a:lnTo>
                <a:lnTo>
                  <a:pt x="135255" y="130179"/>
                </a:lnTo>
                <a:lnTo>
                  <a:pt x="134200" y="129201"/>
                </a:lnTo>
                <a:lnTo>
                  <a:pt x="132725" y="127649"/>
                </a:lnTo>
                <a:lnTo>
                  <a:pt x="130986" y="125460"/>
                </a:lnTo>
                <a:lnTo>
                  <a:pt x="129496" y="123131"/>
                </a:lnTo>
                <a:lnTo>
                  <a:pt x="128254" y="120679"/>
                </a:lnTo>
                <a:lnTo>
                  <a:pt x="127245" y="118148"/>
                </a:lnTo>
                <a:lnTo>
                  <a:pt x="126500" y="115540"/>
                </a:lnTo>
                <a:lnTo>
                  <a:pt x="126019" y="112870"/>
                </a:lnTo>
                <a:lnTo>
                  <a:pt x="125786" y="110185"/>
                </a:lnTo>
                <a:lnTo>
                  <a:pt x="125801" y="107468"/>
                </a:lnTo>
                <a:lnTo>
                  <a:pt x="126081" y="104783"/>
                </a:lnTo>
                <a:lnTo>
                  <a:pt x="126624" y="102113"/>
                </a:lnTo>
                <a:lnTo>
                  <a:pt x="127431" y="99489"/>
                </a:lnTo>
                <a:lnTo>
                  <a:pt x="128487" y="96928"/>
                </a:lnTo>
                <a:lnTo>
                  <a:pt x="129822" y="94460"/>
                </a:lnTo>
                <a:lnTo>
                  <a:pt x="131017" y="92690"/>
                </a:lnTo>
                <a:lnTo>
                  <a:pt x="131887" y="91541"/>
                </a:lnTo>
                <a:lnTo>
                  <a:pt x="132337" y="90967"/>
                </a:lnTo>
                <a:lnTo>
                  <a:pt x="157966" y="60432"/>
                </a:lnTo>
                <a:lnTo>
                  <a:pt x="193312" y="18302"/>
                </a:lnTo>
                <a:lnTo>
                  <a:pt x="193856" y="17681"/>
                </a:lnTo>
                <a:lnTo>
                  <a:pt x="194958" y="16470"/>
                </a:lnTo>
                <a:lnTo>
                  <a:pt x="196697" y="14778"/>
                </a:lnTo>
                <a:lnTo>
                  <a:pt x="199149" y="12745"/>
                </a:lnTo>
                <a:lnTo>
                  <a:pt x="201757" y="10960"/>
                </a:lnTo>
                <a:lnTo>
                  <a:pt x="204474" y="9423"/>
                </a:lnTo>
                <a:lnTo>
                  <a:pt x="207299" y="8134"/>
                </a:lnTo>
                <a:lnTo>
                  <a:pt x="210217" y="7110"/>
                </a:lnTo>
                <a:lnTo>
                  <a:pt x="213198" y="6334"/>
                </a:lnTo>
                <a:lnTo>
                  <a:pt x="214704" y="6054"/>
                </a:lnTo>
                <a:lnTo>
                  <a:pt x="213105" y="5309"/>
                </a:lnTo>
                <a:lnTo>
                  <a:pt x="209860" y="3958"/>
                </a:lnTo>
                <a:lnTo>
                  <a:pt x="206523" y="2810"/>
                </a:lnTo>
                <a:lnTo>
                  <a:pt x="203108" y="1832"/>
                </a:lnTo>
                <a:lnTo>
                  <a:pt x="199630" y="1056"/>
                </a:lnTo>
                <a:lnTo>
                  <a:pt x="196091" y="497"/>
                </a:lnTo>
                <a:lnTo>
                  <a:pt x="192505" y="140"/>
                </a:lnTo>
                <a:lnTo>
                  <a:pt x="188857" y="0"/>
                </a:lnTo>
                <a:lnTo>
                  <a:pt x="187010" y="16"/>
                </a:lnTo>
                <a:lnTo>
                  <a:pt x="185737" y="47"/>
                </a:lnTo>
                <a:lnTo>
                  <a:pt x="183222" y="202"/>
                </a:lnTo>
                <a:lnTo>
                  <a:pt x="180723" y="450"/>
                </a:lnTo>
                <a:lnTo>
                  <a:pt x="178255" y="776"/>
                </a:lnTo>
                <a:lnTo>
                  <a:pt x="175802" y="1195"/>
                </a:lnTo>
                <a:lnTo>
                  <a:pt x="173380" y="1708"/>
                </a:lnTo>
                <a:lnTo>
                  <a:pt x="171005" y="2313"/>
                </a:lnTo>
                <a:lnTo>
                  <a:pt x="168646" y="2996"/>
                </a:lnTo>
                <a:lnTo>
                  <a:pt x="166317" y="3757"/>
                </a:lnTo>
                <a:lnTo>
                  <a:pt x="164035" y="4610"/>
                </a:lnTo>
                <a:lnTo>
                  <a:pt x="161800" y="5542"/>
                </a:lnTo>
                <a:lnTo>
                  <a:pt x="159596" y="6551"/>
                </a:lnTo>
                <a:lnTo>
                  <a:pt x="157422" y="7638"/>
                </a:lnTo>
                <a:lnTo>
                  <a:pt x="155311" y="8786"/>
                </a:lnTo>
                <a:lnTo>
                  <a:pt x="153247" y="10028"/>
                </a:lnTo>
                <a:lnTo>
                  <a:pt x="151213" y="11332"/>
                </a:lnTo>
                <a:lnTo>
                  <a:pt x="149257" y="12714"/>
                </a:lnTo>
                <a:lnTo>
                  <a:pt x="147332" y="14157"/>
                </a:lnTo>
                <a:lnTo>
                  <a:pt x="145469" y="15679"/>
                </a:lnTo>
                <a:lnTo>
                  <a:pt x="143669" y="17262"/>
                </a:lnTo>
                <a:lnTo>
                  <a:pt x="141930" y="18907"/>
                </a:lnTo>
                <a:lnTo>
                  <a:pt x="140254" y="20615"/>
                </a:lnTo>
                <a:lnTo>
                  <a:pt x="138624" y="22385"/>
                </a:lnTo>
                <a:lnTo>
                  <a:pt x="137071" y="24216"/>
                </a:lnTo>
                <a:lnTo>
                  <a:pt x="135597" y="26095"/>
                </a:lnTo>
                <a:lnTo>
                  <a:pt x="134184" y="28035"/>
                </a:lnTo>
                <a:lnTo>
                  <a:pt x="132833" y="30038"/>
                </a:lnTo>
                <a:lnTo>
                  <a:pt x="131561" y="32102"/>
                </a:lnTo>
                <a:lnTo>
                  <a:pt x="130381" y="34198"/>
                </a:lnTo>
                <a:lnTo>
                  <a:pt x="129263" y="36356"/>
                </a:lnTo>
                <a:lnTo>
                  <a:pt x="128223" y="38560"/>
                </a:lnTo>
                <a:lnTo>
                  <a:pt x="127276" y="40826"/>
                </a:lnTo>
                <a:lnTo>
                  <a:pt x="126841" y="41960"/>
                </a:lnTo>
                <a:lnTo>
                  <a:pt x="126717" y="42270"/>
                </a:lnTo>
                <a:lnTo>
                  <a:pt x="126469" y="42720"/>
                </a:lnTo>
                <a:lnTo>
                  <a:pt x="126205" y="42969"/>
                </a:lnTo>
                <a:lnTo>
                  <a:pt x="125910" y="43062"/>
                </a:lnTo>
                <a:lnTo>
                  <a:pt x="125739" y="43077"/>
                </a:lnTo>
                <a:lnTo>
                  <a:pt x="125569" y="43062"/>
                </a:lnTo>
                <a:lnTo>
                  <a:pt x="125274" y="42969"/>
                </a:lnTo>
                <a:lnTo>
                  <a:pt x="125010" y="42720"/>
                </a:lnTo>
                <a:lnTo>
                  <a:pt x="124761" y="42270"/>
                </a:lnTo>
                <a:lnTo>
                  <a:pt x="124637" y="41960"/>
                </a:lnTo>
                <a:lnTo>
                  <a:pt x="124202" y="40826"/>
                </a:lnTo>
                <a:lnTo>
                  <a:pt x="123256" y="38560"/>
                </a:lnTo>
                <a:lnTo>
                  <a:pt x="122215" y="36356"/>
                </a:lnTo>
                <a:lnTo>
                  <a:pt x="121098" y="34198"/>
                </a:lnTo>
                <a:lnTo>
                  <a:pt x="119918" y="32102"/>
                </a:lnTo>
                <a:lnTo>
                  <a:pt x="118645" y="30038"/>
                </a:lnTo>
                <a:lnTo>
                  <a:pt x="117295" y="28035"/>
                </a:lnTo>
                <a:lnTo>
                  <a:pt x="115882" y="26095"/>
                </a:lnTo>
                <a:lnTo>
                  <a:pt x="114407" y="24216"/>
                </a:lnTo>
                <a:lnTo>
                  <a:pt x="112855" y="22385"/>
                </a:lnTo>
                <a:lnTo>
                  <a:pt x="111225" y="20615"/>
                </a:lnTo>
                <a:lnTo>
                  <a:pt x="109548" y="18907"/>
                </a:lnTo>
                <a:lnTo>
                  <a:pt x="107810" y="17262"/>
                </a:lnTo>
                <a:lnTo>
                  <a:pt x="106009" y="15679"/>
                </a:lnTo>
                <a:lnTo>
                  <a:pt x="104146" y="14157"/>
                </a:lnTo>
                <a:lnTo>
                  <a:pt x="102221" y="12714"/>
                </a:lnTo>
                <a:lnTo>
                  <a:pt x="100265" y="11332"/>
                </a:lnTo>
                <a:lnTo>
                  <a:pt x="98232" y="10028"/>
                </a:lnTo>
                <a:lnTo>
                  <a:pt x="96167" y="8786"/>
                </a:lnTo>
                <a:lnTo>
                  <a:pt x="94056" y="7638"/>
                </a:lnTo>
                <a:lnTo>
                  <a:pt x="91883" y="6551"/>
                </a:lnTo>
                <a:lnTo>
                  <a:pt x="89678" y="5542"/>
                </a:lnTo>
                <a:lnTo>
                  <a:pt x="87443" y="4610"/>
                </a:lnTo>
                <a:lnTo>
                  <a:pt x="85161" y="3757"/>
                </a:lnTo>
                <a:lnTo>
                  <a:pt x="82833" y="2996"/>
                </a:lnTo>
                <a:lnTo>
                  <a:pt x="80473" y="2313"/>
                </a:lnTo>
                <a:lnTo>
                  <a:pt x="78098" y="1708"/>
                </a:lnTo>
                <a:lnTo>
                  <a:pt x="75676" y="1195"/>
                </a:lnTo>
                <a:lnTo>
                  <a:pt x="73224" y="776"/>
                </a:lnTo>
                <a:lnTo>
                  <a:pt x="70756" y="450"/>
                </a:lnTo>
                <a:lnTo>
                  <a:pt x="68256" y="202"/>
                </a:lnTo>
                <a:lnTo>
                  <a:pt x="65741" y="47"/>
                </a:lnTo>
                <a:lnTo>
                  <a:pt x="64469" y="16"/>
                </a:lnTo>
                <a:lnTo>
                  <a:pt x="62932" y="0"/>
                </a:lnTo>
                <a:close/>
              </a:path>
            </a:pathLst>
          </a:custGeom>
          <a:solidFill>
            <a:srgbClr val="F7224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7031391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2C Eyebrow, Title, Subtitle, Content on White">
  <p:cSld name="B2C Eyebrow, Title, Subtitle, Content on White">
    <p:bg>
      <p:bgPr>
        <a:solidFill>
          <a:schemeClr val="lt1"/>
        </a:solidFill>
        <a:effectLst/>
      </p:bgPr>
    </p:bg>
    <p:spTree>
      <p:nvGrpSpPr>
        <p:cNvPr id="1" name="Shape 2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" name="Google Shape;222;p12"/>
          <p:cNvSpPr txBox="1">
            <a:spLocks noGrp="1"/>
          </p:cNvSpPr>
          <p:nvPr>
            <p:ph type="sldNum" idx="12"/>
          </p:nvPr>
        </p:nvSpPr>
        <p:spPr>
          <a:xfrm>
            <a:off x="11044810" y="6091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23" name="Google Shape;223;p12"/>
          <p:cNvSpPr txBox="1">
            <a:spLocks noGrp="1"/>
          </p:cNvSpPr>
          <p:nvPr>
            <p:ph type="title"/>
          </p:nvPr>
        </p:nvSpPr>
        <p:spPr>
          <a:xfrm>
            <a:off x="415600" y="1226067"/>
            <a:ext cx="11360700" cy="393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00"/>
              <a:buFont typeface="Lato"/>
              <a:buNone/>
              <a:defRPr sz="19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224" name="Google Shape;224;p12"/>
          <p:cNvSpPr txBox="1">
            <a:spLocks noGrp="1"/>
          </p:cNvSpPr>
          <p:nvPr>
            <p:ph type="body" idx="1"/>
          </p:nvPr>
        </p:nvSpPr>
        <p:spPr>
          <a:xfrm>
            <a:off x="415600" y="1834900"/>
            <a:ext cx="11360700" cy="41331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30200" rtl="0">
              <a:spcBef>
                <a:spcPts val="0"/>
              </a:spcBef>
              <a:spcAft>
                <a:spcPts val="0"/>
              </a:spcAft>
              <a:buSzPts val="1600"/>
              <a:buChar char="•"/>
              <a:defRPr sz="1600"/>
            </a:lvl1pPr>
            <a:lvl2pPr marL="914400" lvl="1" indent="-323850" rtl="0">
              <a:spcBef>
                <a:spcPts val="1300"/>
              </a:spcBef>
              <a:spcAft>
                <a:spcPts val="0"/>
              </a:spcAft>
              <a:buSzPts val="1500"/>
              <a:buChar char="○"/>
              <a:defRPr sz="1500"/>
            </a:lvl2pPr>
            <a:lvl3pPr marL="1371600" lvl="2" indent="-311150" rtl="0">
              <a:spcBef>
                <a:spcPts val="1300"/>
              </a:spcBef>
              <a:spcAft>
                <a:spcPts val="0"/>
              </a:spcAft>
              <a:buSzPts val="1300"/>
              <a:buChar char="•"/>
              <a:defRPr sz="1300"/>
            </a:lvl3pPr>
            <a:lvl4pPr marL="1828800" lvl="3" indent="-304800" rtl="0">
              <a:spcBef>
                <a:spcPts val="1300"/>
              </a:spcBef>
              <a:spcAft>
                <a:spcPts val="0"/>
              </a:spcAft>
              <a:buSzPts val="1200"/>
              <a:buChar char="◦"/>
              <a:defRPr sz="1200"/>
            </a:lvl4pPr>
            <a:lvl5pPr marL="2286000" lvl="4" indent="-298450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/>
            </a:lvl5pPr>
            <a:lvl6pPr marL="2743200" lvl="5" indent="-298450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/>
            </a:lvl6pPr>
            <a:lvl7pPr marL="3200400" lvl="6" indent="-298450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/>
            </a:lvl7pPr>
            <a:lvl8pPr marL="3657600" lvl="7" indent="-298450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 rtl="0">
              <a:spcBef>
                <a:spcPts val="1300"/>
              </a:spcBef>
              <a:spcAft>
                <a:spcPts val="1300"/>
              </a:spcAft>
              <a:buSzPts val="1100"/>
              <a:buChar char="•"/>
              <a:defRPr/>
            </a:lvl9pPr>
          </a:lstStyle>
          <a:p>
            <a:endParaRPr/>
          </a:p>
        </p:txBody>
      </p:sp>
      <p:sp>
        <p:nvSpPr>
          <p:cNvPr id="225" name="Google Shape;225;p12"/>
          <p:cNvSpPr/>
          <p:nvPr/>
        </p:nvSpPr>
        <p:spPr>
          <a:xfrm rot="10800000">
            <a:off x="3833" y="67"/>
            <a:ext cx="11147700" cy="10329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6" name="Google Shape;226;p12"/>
          <p:cNvSpPr/>
          <p:nvPr/>
        </p:nvSpPr>
        <p:spPr>
          <a:xfrm>
            <a:off x="-23600" y="0"/>
            <a:ext cx="1266300" cy="10329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7" name="Google Shape;227;p12"/>
          <p:cNvSpPr txBox="1">
            <a:spLocks noGrp="1"/>
          </p:cNvSpPr>
          <p:nvPr>
            <p:ph type="title" idx="2"/>
          </p:nvPr>
        </p:nvSpPr>
        <p:spPr>
          <a:xfrm>
            <a:off x="415600" y="398067"/>
            <a:ext cx="101241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1pPr>
            <a:lvl2pPr lvl="1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2pPr>
            <a:lvl3pPr lvl="2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3pPr>
            <a:lvl4pPr lvl="3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4pPr>
            <a:lvl5pPr lvl="4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5pPr>
            <a:lvl6pPr lvl="5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6pPr>
            <a:lvl7pPr lvl="6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7pPr>
            <a:lvl8pPr lvl="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8pPr>
            <a:lvl9pPr lvl="8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228" name="Google Shape;228;p12"/>
          <p:cNvSpPr/>
          <p:nvPr/>
        </p:nvSpPr>
        <p:spPr>
          <a:xfrm>
            <a:off x="11525533" y="364133"/>
            <a:ext cx="365273" cy="304371"/>
          </a:xfrm>
          <a:custGeom>
            <a:avLst/>
            <a:gdLst/>
            <a:ahLst/>
            <a:cxnLst/>
            <a:rect l="l" t="t" r="r" b="b"/>
            <a:pathLst>
              <a:path w="251479" h="209550" extrusionOk="0">
                <a:moveTo>
                  <a:pt x="62932" y="0"/>
                </a:moveTo>
                <a:lnTo>
                  <a:pt x="59858" y="78"/>
                </a:lnTo>
                <a:lnTo>
                  <a:pt x="56847" y="326"/>
                </a:lnTo>
                <a:lnTo>
                  <a:pt x="53851" y="714"/>
                </a:lnTo>
                <a:lnTo>
                  <a:pt x="50901" y="1257"/>
                </a:lnTo>
                <a:lnTo>
                  <a:pt x="47998" y="1925"/>
                </a:lnTo>
                <a:lnTo>
                  <a:pt x="45142" y="2748"/>
                </a:lnTo>
                <a:lnTo>
                  <a:pt x="42348" y="3695"/>
                </a:lnTo>
                <a:lnTo>
                  <a:pt x="39600" y="4781"/>
                </a:lnTo>
                <a:lnTo>
                  <a:pt x="36915" y="5992"/>
                </a:lnTo>
                <a:lnTo>
                  <a:pt x="34291" y="7327"/>
                </a:lnTo>
                <a:lnTo>
                  <a:pt x="31730" y="8786"/>
                </a:lnTo>
                <a:lnTo>
                  <a:pt x="29246" y="10354"/>
                </a:lnTo>
                <a:lnTo>
                  <a:pt x="26840" y="12031"/>
                </a:lnTo>
                <a:lnTo>
                  <a:pt x="24511" y="13831"/>
                </a:lnTo>
                <a:lnTo>
                  <a:pt x="22261" y="15741"/>
                </a:lnTo>
                <a:lnTo>
                  <a:pt x="20087" y="17743"/>
                </a:lnTo>
                <a:lnTo>
                  <a:pt x="18023" y="19839"/>
                </a:lnTo>
                <a:lnTo>
                  <a:pt x="16036" y="22043"/>
                </a:lnTo>
                <a:lnTo>
                  <a:pt x="14157" y="24325"/>
                </a:lnTo>
                <a:lnTo>
                  <a:pt x="12372" y="26716"/>
                </a:lnTo>
                <a:lnTo>
                  <a:pt x="10696" y="29168"/>
                </a:lnTo>
                <a:lnTo>
                  <a:pt x="9112" y="31714"/>
                </a:lnTo>
                <a:lnTo>
                  <a:pt x="7653" y="34338"/>
                </a:lnTo>
                <a:lnTo>
                  <a:pt x="6318" y="37039"/>
                </a:lnTo>
                <a:lnTo>
                  <a:pt x="5092" y="39802"/>
                </a:lnTo>
                <a:lnTo>
                  <a:pt x="3990" y="42643"/>
                </a:lnTo>
                <a:lnTo>
                  <a:pt x="3012" y="45546"/>
                </a:lnTo>
                <a:lnTo>
                  <a:pt x="2173" y="48495"/>
                </a:lnTo>
                <a:lnTo>
                  <a:pt x="1459" y="51507"/>
                </a:lnTo>
                <a:lnTo>
                  <a:pt x="885" y="54580"/>
                </a:lnTo>
                <a:lnTo>
                  <a:pt x="450" y="57700"/>
                </a:lnTo>
                <a:lnTo>
                  <a:pt x="310" y="59268"/>
                </a:lnTo>
                <a:lnTo>
                  <a:pt x="186" y="60665"/>
                </a:lnTo>
                <a:lnTo>
                  <a:pt x="31" y="63475"/>
                </a:lnTo>
                <a:lnTo>
                  <a:pt x="0" y="66269"/>
                </a:lnTo>
                <a:lnTo>
                  <a:pt x="62" y="69063"/>
                </a:lnTo>
                <a:lnTo>
                  <a:pt x="217" y="71842"/>
                </a:lnTo>
                <a:lnTo>
                  <a:pt x="466" y="74605"/>
                </a:lnTo>
                <a:lnTo>
                  <a:pt x="823" y="77368"/>
                </a:lnTo>
                <a:lnTo>
                  <a:pt x="1257" y="80132"/>
                </a:lnTo>
                <a:lnTo>
                  <a:pt x="1801" y="82864"/>
                </a:lnTo>
                <a:lnTo>
                  <a:pt x="2422" y="85611"/>
                </a:lnTo>
                <a:lnTo>
                  <a:pt x="3120" y="88328"/>
                </a:lnTo>
                <a:lnTo>
                  <a:pt x="3912" y="91045"/>
                </a:lnTo>
                <a:lnTo>
                  <a:pt x="4781" y="93730"/>
                </a:lnTo>
                <a:lnTo>
                  <a:pt x="5728" y="96416"/>
                </a:lnTo>
                <a:lnTo>
                  <a:pt x="7280" y="100436"/>
                </a:lnTo>
                <a:lnTo>
                  <a:pt x="9609" y="105714"/>
                </a:lnTo>
                <a:lnTo>
                  <a:pt x="12201" y="110946"/>
                </a:lnTo>
                <a:lnTo>
                  <a:pt x="15058" y="116099"/>
                </a:lnTo>
                <a:lnTo>
                  <a:pt x="18147" y="121191"/>
                </a:lnTo>
                <a:lnTo>
                  <a:pt x="21438" y="126205"/>
                </a:lnTo>
                <a:lnTo>
                  <a:pt x="24931" y="131126"/>
                </a:lnTo>
                <a:lnTo>
                  <a:pt x="28594" y="135969"/>
                </a:lnTo>
                <a:lnTo>
                  <a:pt x="32413" y="140719"/>
                </a:lnTo>
                <a:lnTo>
                  <a:pt x="36371" y="145392"/>
                </a:lnTo>
                <a:lnTo>
                  <a:pt x="40454" y="149940"/>
                </a:lnTo>
                <a:lnTo>
                  <a:pt x="44630" y="154395"/>
                </a:lnTo>
                <a:lnTo>
                  <a:pt x="48883" y="158742"/>
                </a:lnTo>
                <a:lnTo>
                  <a:pt x="53199" y="162964"/>
                </a:lnTo>
                <a:lnTo>
                  <a:pt x="57545" y="167078"/>
                </a:lnTo>
                <a:lnTo>
                  <a:pt x="61938" y="171068"/>
                </a:lnTo>
                <a:lnTo>
                  <a:pt x="66316" y="174917"/>
                </a:lnTo>
                <a:lnTo>
                  <a:pt x="70678" y="178643"/>
                </a:lnTo>
                <a:lnTo>
                  <a:pt x="75024" y="182229"/>
                </a:lnTo>
                <a:lnTo>
                  <a:pt x="81420" y="187352"/>
                </a:lnTo>
                <a:lnTo>
                  <a:pt x="89663" y="193639"/>
                </a:lnTo>
                <a:lnTo>
                  <a:pt x="97425" y="199274"/>
                </a:lnTo>
                <a:lnTo>
                  <a:pt x="101057" y="201819"/>
                </a:lnTo>
                <a:lnTo>
                  <a:pt x="102454" y="202766"/>
                </a:lnTo>
                <a:lnTo>
                  <a:pt x="105342" y="204458"/>
                </a:lnTo>
                <a:lnTo>
                  <a:pt x="108338" y="205918"/>
                </a:lnTo>
                <a:lnTo>
                  <a:pt x="111396" y="207128"/>
                </a:lnTo>
                <a:lnTo>
                  <a:pt x="114516" y="208091"/>
                </a:lnTo>
                <a:lnTo>
                  <a:pt x="117683" y="208820"/>
                </a:lnTo>
                <a:lnTo>
                  <a:pt x="120896" y="209302"/>
                </a:lnTo>
                <a:lnTo>
                  <a:pt x="124125" y="209550"/>
                </a:lnTo>
                <a:lnTo>
                  <a:pt x="127354" y="209550"/>
                </a:lnTo>
                <a:lnTo>
                  <a:pt x="130583" y="209302"/>
                </a:lnTo>
                <a:lnTo>
                  <a:pt x="133796" y="208820"/>
                </a:lnTo>
                <a:lnTo>
                  <a:pt x="136963" y="208091"/>
                </a:lnTo>
                <a:lnTo>
                  <a:pt x="140098" y="207128"/>
                </a:lnTo>
                <a:lnTo>
                  <a:pt x="143156" y="205918"/>
                </a:lnTo>
                <a:lnTo>
                  <a:pt x="146137" y="204458"/>
                </a:lnTo>
                <a:lnTo>
                  <a:pt x="149024" y="202766"/>
                </a:lnTo>
                <a:lnTo>
                  <a:pt x="150421" y="201819"/>
                </a:lnTo>
                <a:lnTo>
                  <a:pt x="154038" y="199289"/>
                </a:lnTo>
                <a:lnTo>
                  <a:pt x="161769" y="193670"/>
                </a:lnTo>
                <a:lnTo>
                  <a:pt x="169981" y="187414"/>
                </a:lnTo>
                <a:lnTo>
                  <a:pt x="176361" y="182306"/>
                </a:lnTo>
                <a:lnTo>
                  <a:pt x="180676" y="178736"/>
                </a:lnTo>
                <a:lnTo>
                  <a:pt x="185023" y="175042"/>
                </a:lnTo>
                <a:lnTo>
                  <a:pt x="189385" y="171192"/>
                </a:lnTo>
                <a:lnTo>
                  <a:pt x="193763" y="167233"/>
                </a:lnTo>
                <a:lnTo>
                  <a:pt x="198094" y="163151"/>
                </a:lnTo>
                <a:lnTo>
                  <a:pt x="202394" y="158944"/>
                </a:lnTo>
                <a:lnTo>
                  <a:pt x="206647" y="154613"/>
                </a:lnTo>
                <a:lnTo>
                  <a:pt x="210807" y="150189"/>
                </a:lnTo>
                <a:lnTo>
                  <a:pt x="214874" y="145656"/>
                </a:lnTo>
                <a:lnTo>
                  <a:pt x="218817" y="141014"/>
                </a:lnTo>
                <a:lnTo>
                  <a:pt x="222636" y="136280"/>
                </a:lnTo>
                <a:lnTo>
                  <a:pt x="226300" y="131467"/>
                </a:lnTo>
                <a:lnTo>
                  <a:pt x="229792" y="126562"/>
                </a:lnTo>
                <a:lnTo>
                  <a:pt x="233083" y="121579"/>
                </a:lnTo>
                <a:lnTo>
                  <a:pt x="236173" y="116518"/>
                </a:lnTo>
                <a:lnTo>
                  <a:pt x="239044" y="111380"/>
                </a:lnTo>
                <a:lnTo>
                  <a:pt x="241652" y="106180"/>
                </a:lnTo>
                <a:lnTo>
                  <a:pt x="243996" y="100917"/>
                </a:lnTo>
                <a:lnTo>
                  <a:pt x="245564" y="96928"/>
                </a:lnTo>
                <a:lnTo>
                  <a:pt x="246527" y="94258"/>
                </a:lnTo>
                <a:lnTo>
                  <a:pt x="247396" y="91572"/>
                </a:lnTo>
                <a:lnTo>
                  <a:pt x="248203" y="88871"/>
                </a:lnTo>
                <a:lnTo>
                  <a:pt x="248917" y="86155"/>
                </a:lnTo>
                <a:lnTo>
                  <a:pt x="249554" y="83438"/>
                </a:lnTo>
                <a:lnTo>
                  <a:pt x="250112" y="80706"/>
                </a:lnTo>
                <a:lnTo>
                  <a:pt x="250563" y="77958"/>
                </a:lnTo>
                <a:lnTo>
                  <a:pt x="250935" y="75211"/>
                </a:lnTo>
                <a:lnTo>
                  <a:pt x="251215" y="72448"/>
                </a:lnTo>
                <a:lnTo>
                  <a:pt x="251385" y="69684"/>
                </a:lnTo>
                <a:lnTo>
                  <a:pt x="251479" y="66906"/>
                </a:lnTo>
                <a:lnTo>
                  <a:pt x="251463" y="64127"/>
                </a:lnTo>
                <a:lnTo>
                  <a:pt x="251339" y="61333"/>
                </a:lnTo>
                <a:lnTo>
                  <a:pt x="251230" y="59936"/>
                </a:lnTo>
                <a:lnTo>
                  <a:pt x="251199" y="59610"/>
                </a:lnTo>
                <a:lnTo>
                  <a:pt x="251184" y="59268"/>
                </a:lnTo>
                <a:lnTo>
                  <a:pt x="250966" y="57235"/>
                </a:lnTo>
                <a:lnTo>
                  <a:pt x="250361" y="53199"/>
                </a:lnTo>
                <a:lnTo>
                  <a:pt x="249507" y="49256"/>
                </a:lnTo>
                <a:lnTo>
                  <a:pt x="248436" y="45421"/>
                </a:lnTo>
                <a:lnTo>
                  <a:pt x="247132" y="41665"/>
                </a:lnTo>
                <a:lnTo>
                  <a:pt x="245626" y="38032"/>
                </a:lnTo>
                <a:lnTo>
                  <a:pt x="243919" y="34508"/>
                </a:lnTo>
                <a:lnTo>
                  <a:pt x="242009" y="31124"/>
                </a:lnTo>
                <a:lnTo>
                  <a:pt x="240969" y="29479"/>
                </a:lnTo>
                <a:lnTo>
                  <a:pt x="240209" y="28299"/>
                </a:lnTo>
                <a:lnTo>
                  <a:pt x="239401" y="27135"/>
                </a:lnTo>
                <a:lnTo>
                  <a:pt x="238594" y="26110"/>
                </a:lnTo>
                <a:lnTo>
                  <a:pt x="237244" y="24667"/>
                </a:lnTo>
                <a:lnTo>
                  <a:pt x="236281" y="23766"/>
                </a:lnTo>
                <a:lnTo>
                  <a:pt x="235784" y="23332"/>
                </a:lnTo>
                <a:lnTo>
                  <a:pt x="234837" y="22571"/>
                </a:lnTo>
                <a:lnTo>
                  <a:pt x="232882" y="21236"/>
                </a:lnTo>
                <a:lnTo>
                  <a:pt x="230832" y="20134"/>
                </a:lnTo>
                <a:lnTo>
                  <a:pt x="228690" y="19233"/>
                </a:lnTo>
                <a:lnTo>
                  <a:pt x="226517" y="18566"/>
                </a:lnTo>
                <a:lnTo>
                  <a:pt x="224297" y="18116"/>
                </a:lnTo>
                <a:lnTo>
                  <a:pt x="222046" y="17883"/>
                </a:lnTo>
                <a:lnTo>
                  <a:pt x="219795" y="17867"/>
                </a:lnTo>
                <a:lnTo>
                  <a:pt x="217544" y="18069"/>
                </a:lnTo>
                <a:lnTo>
                  <a:pt x="215325" y="18473"/>
                </a:lnTo>
                <a:lnTo>
                  <a:pt x="213167" y="19094"/>
                </a:lnTo>
                <a:lnTo>
                  <a:pt x="211056" y="19916"/>
                </a:lnTo>
                <a:lnTo>
                  <a:pt x="209007" y="20957"/>
                </a:lnTo>
                <a:lnTo>
                  <a:pt x="207082" y="22214"/>
                </a:lnTo>
                <a:lnTo>
                  <a:pt x="205250" y="23658"/>
                </a:lnTo>
                <a:lnTo>
                  <a:pt x="203542" y="25319"/>
                </a:lnTo>
                <a:lnTo>
                  <a:pt x="202751" y="26219"/>
                </a:lnTo>
                <a:lnTo>
                  <a:pt x="185504" y="46787"/>
                </a:lnTo>
                <a:lnTo>
                  <a:pt x="141775" y="98899"/>
                </a:lnTo>
                <a:lnTo>
                  <a:pt x="141232" y="99567"/>
                </a:lnTo>
                <a:lnTo>
                  <a:pt x="140285" y="100964"/>
                </a:lnTo>
                <a:lnTo>
                  <a:pt x="139508" y="102439"/>
                </a:lnTo>
                <a:lnTo>
                  <a:pt x="138903" y="103976"/>
                </a:lnTo>
                <a:lnTo>
                  <a:pt x="138468" y="105543"/>
                </a:lnTo>
                <a:lnTo>
                  <a:pt x="138189" y="107142"/>
                </a:lnTo>
                <a:lnTo>
                  <a:pt x="138065" y="108741"/>
                </a:lnTo>
                <a:lnTo>
                  <a:pt x="138111" y="110356"/>
                </a:lnTo>
                <a:lnTo>
                  <a:pt x="138329" y="111955"/>
                </a:lnTo>
                <a:lnTo>
                  <a:pt x="138701" y="113522"/>
                </a:lnTo>
                <a:lnTo>
                  <a:pt x="139229" y="115044"/>
                </a:lnTo>
                <a:lnTo>
                  <a:pt x="139912" y="116518"/>
                </a:lnTo>
                <a:lnTo>
                  <a:pt x="140750" y="117931"/>
                </a:lnTo>
                <a:lnTo>
                  <a:pt x="141759" y="119266"/>
                </a:lnTo>
                <a:lnTo>
                  <a:pt x="142908" y="120492"/>
                </a:lnTo>
                <a:lnTo>
                  <a:pt x="144212" y="121626"/>
                </a:lnTo>
                <a:lnTo>
                  <a:pt x="144926" y="122138"/>
                </a:lnTo>
                <a:lnTo>
                  <a:pt x="145438" y="122479"/>
                </a:lnTo>
                <a:lnTo>
                  <a:pt x="146494" y="123085"/>
                </a:lnTo>
                <a:lnTo>
                  <a:pt x="147581" y="123613"/>
                </a:lnTo>
                <a:lnTo>
                  <a:pt x="148698" y="124063"/>
                </a:lnTo>
                <a:lnTo>
                  <a:pt x="149863" y="124420"/>
                </a:lnTo>
                <a:lnTo>
                  <a:pt x="151042" y="124684"/>
                </a:lnTo>
                <a:lnTo>
                  <a:pt x="152238" y="124854"/>
                </a:lnTo>
                <a:lnTo>
                  <a:pt x="153448" y="124932"/>
                </a:lnTo>
                <a:lnTo>
                  <a:pt x="154069" y="124932"/>
                </a:lnTo>
                <a:lnTo>
                  <a:pt x="154939" y="124901"/>
                </a:lnTo>
                <a:lnTo>
                  <a:pt x="156662" y="124699"/>
                </a:lnTo>
                <a:lnTo>
                  <a:pt x="158338" y="124311"/>
                </a:lnTo>
                <a:lnTo>
                  <a:pt x="159937" y="123752"/>
                </a:lnTo>
                <a:lnTo>
                  <a:pt x="161459" y="123038"/>
                </a:lnTo>
                <a:lnTo>
                  <a:pt x="162902" y="122153"/>
                </a:lnTo>
                <a:lnTo>
                  <a:pt x="164253" y="121113"/>
                </a:lnTo>
                <a:lnTo>
                  <a:pt x="165495" y="119918"/>
                </a:lnTo>
                <a:lnTo>
                  <a:pt x="166053" y="119266"/>
                </a:lnTo>
                <a:lnTo>
                  <a:pt x="210357" y="66471"/>
                </a:lnTo>
                <a:lnTo>
                  <a:pt x="210668" y="66130"/>
                </a:lnTo>
                <a:lnTo>
                  <a:pt x="211366" y="65586"/>
                </a:lnTo>
                <a:lnTo>
                  <a:pt x="212142" y="65183"/>
                </a:lnTo>
                <a:lnTo>
                  <a:pt x="212965" y="64950"/>
                </a:lnTo>
                <a:lnTo>
                  <a:pt x="213819" y="64872"/>
                </a:lnTo>
                <a:lnTo>
                  <a:pt x="214673" y="64965"/>
                </a:lnTo>
                <a:lnTo>
                  <a:pt x="215495" y="65214"/>
                </a:lnTo>
                <a:lnTo>
                  <a:pt x="216272" y="65633"/>
                </a:lnTo>
                <a:lnTo>
                  <a:pt x="216644" y="65928"/>
                </a:lnTo>
                <a:lnTo>
                  <a:pt x="219252" y="68117"/>
                </a:lnTo>
                <a:lnTo>
                  <a:pt x="219578" y="68412"/>
                </a:lnTo>
                <a:lnTo>
                  <a:pt x="220137" y="69110"/>
                </a:lnTo>
                <a:lnTo>
                  <a:pt x="220525" y="69886"/>
                </a:lnTo>
                <a:lnTo>
                  <a:pt x="220773" y="70709"/>
                </a:lnTo>
                <a:lnTo>
                  <a:pt x="220835" y="71563"/>
                </a:lnTo>
                <a:lnTo>
                  <a:pt x="220758" y="72417"/>
                </a:lnTo>
                <a:lnTo>
                  <a:pt x="220494" y="73239"/>
                </a:lnTo>
                <a:lnTo>
                  <a:pt x="220075" y="74031"/>
                </a:lnTo>
                <a:lnTo>
                  <a:pt x="219795" y="74388"/>
                </a:lnTo>
                <a:lnTo>
                  <a:pt x="175492" y="127183"/>
                </a:lnTo>
                <a:lnTo>
                  <a:pt x="174560" y="128239"/>
                </a:lnTo>
                <a:lnTo>
                  <a:pt x="172573" y="130195"/>
                </a:lnTo>
                <a:lnTo>
                  <a:pt x="170431" y="131918"/>
                </a:lnTo>
                <a:lnTo>
                  <a:pt x="168134" y="133423"/>
                </a:lnTo>
                <a:lnTo>
                  <a:pt x="165696" y="134681"/>
                </a:lnTo>
                <a:lnTo>
                  <a:pt x="163151" y="135705"/>
                </a:lnTo>
                <a:lnTo>
                  <a:pt x="160512" y="136481"/>
                </a:lnTo>
                <a:lnTo>
                  <a:pt x="157764" y="136994"/>
                </a:lnTo>
                <a:lnTo>
                  <a:pt x="156367" y="137133"/>
                </a:lnTo>
                <a:lnTo>
                  <a:pt x="155109" y="137227"/>
                </a:lnTo>
                <a:lnTo>
                  <a:pt x="153868" y="137242"/>
                </a:lnTo>
                <a:lnTo>
                  <a:pt x="152626" y="137227"/>
                </a:lnTo>
                <a:lnTo>
                  <a:pt x="150189" y="137009"/>
                </a:lnTo>
                <a:lnTo>
                  <a:pt x="147782" y="136590"/>
                </a:lnTo>
                <a:lnTo>
                  <a:pt x="145438" y="135954"/>
                </a:lnTo>
                <a:lnTo>
                  <a:pt x="143141" y="135131"/>
                </a:lnTo>
                <a:lnTo>
                  <a:pt x="140937" y="134091"/>
                </a:lnTo>
                <a:lnTo>
                  <a:pt x="138810" y="132865"/>
                </a:lnTo>
                <a:lnTo>
                  <a:pt x="136776" y="131436"/>
                </a:lnTo>
                <a:lnTo>
                  <a:pt x="135814" y="130645"/>
                </a:lnTo>
                <a:lnTo>
                  <a:pt x="135255" y="130179"/>
                </a:lnTo>
                <a:lnTo>
                  <a:pt x="134200" y="129201"/>
                </a:lnTo>
                <a:lnTo>
                  <a:pt x="132725" y="127649"/>
                </a:lnTo>
                <a:lnTo>
                  <a:pt x="130986" y="125460"/>
                </a:lnTo>
                <a:lnTo>
                  <a:pt x="129496" y="123131"/>
                </a:lnTo>
                <a:lnTo>
                  <a:pt x="128254" y="120679"/>
                </a:lnTo>
                <a:lnTo>
                  <a:pt x="127245" y="118148"/>
                </a:lnTo>
                <a:lnTo>
                  <a:pt x="126500" y="115540"/>
                </a:lnTo>
                <a:lnTo>
                  <a:pt x="126019" y="112870"/>
                </a:lnTo>
                <a:lnTo>
                  <a:pt x="125786" y="110185"/>
                </a:lnTo>
                <a:lnTo>
                  <a:pt x="125801" y="107468"/>
                </a:lnTo>
                <a:lnTo>
                  <a:pt x="126081" y="104783"/>
                </a:lnTo>
                <a:lnTo>
                  <a:pt x="126624" y="102113"/>
                </a:lnTo>
                <a:lnTo>
                  <a:pt x="127431" y="99489"/>
                </a:lnTo>
                <a:lnTo>
                  <a:pt x="128487" y="96928"/>
                </a:lnTo>
                <a:lnTo>
                  <a:pt x="129822" y="94460"/>
                </a:lnTo>
                <a:lnTo>
                  <a:pt x="131017" y="92690"/>
                </a:lnTo>
                <a:lnTo>
                  <a:pt x="131887" y="91541"/>
                </a:lnTo>
                <a:lnTo>
                  <a:pt x="132337" y="90967"/>
                </a:lnTo>
                <a:lnTo>
                  <a:pt x="157966" y="60432"/>
                </a:lnTo>
                <a:lnTo>
                  <a:pt x="193312" y="18302"/>
                </a:lnTo>
                <a:lnTo>
                  <a:pt x="193856" y="17681"/>
                </a:lnTo>
                <a:lnTo>
                  <a:pt x="194958" y="16470"/>
                </a:lnTo>
                <a:lnTo>
                  <a:pt x="196697" y="14778"/>
                </a:lnTo>
                <a:lnTo>
                  <a:pt x="199149" y="12745"/>
                </a:lnTo>
                <a:lnTo>
                  <a:pt x="201757" y="10960"/>
                </a:lnTo>
                <a:lnTo>
                  <a:pt x="204474" y="9423"/>
                </a:lnTo>
                <a:lnTo>
                  <a:pt x="207299" y="8134"/>
                </a:lnTo>
                <a:lnTo>
                  <a:pt x="210217" y="7110"/>
                </a:lnTo>
                <a:lnTo>
                  <a:pt x="213198" y="6334"/>
                </a:lnTo>
                <a:lnTo>
                  <a:pt x="214704" y="6054"/>
                </a:lnTo>
                <a:lnTo>
                  <a:pt x="213105" y="5309"/>
                </a:lnTo>
                <a:lnTo>
                  <a:pt x="209860" y="3958"/>
                </a:lnTo>
                <a:lnTo>
                  <a:pt x="206523" y="2810"/>
                </a:lnTo>
                <a:lnTo>
                  <a:pt x="203108" y="1832"/>
                </a:lnTo>
                <a:lnTo>
                  <a:pt x="199630" y="1056"/>
                </a:lnTo>
                <a:lnTo>
                  <a:pt x="196091" y="497"/>
                </a:lnTo>
                <a:lnTo>
                  <a:pt x="192505" y="140"/>
                </a:lnTo>
                <a:lnTo>
                  <a:pt x="188857" y="0"/>
                </a:lnTo>
                <a:lnTo>
                  <a:pt x="187010" y="16"/>
                </a:lnTo>
                <a:lnTo>
                  <a:pt x="185737" y="47"/>
                </a:lnTo>
                <a:lnTo>
                  <a:pt x="183222" y="202"/>
                </a:lnTo>
                <a:lnTo>
                  <a:pt x="180723" y="450"/>
                </a:lnTo>
                <a:lnTo>
                  <a:pt x="178255" y="776"/>
                </a:lnTo>
                <a:lnTo>
                  <a:pt x="175802" y="1195"/>
                </a:lnTo>
                <a:lnTo>
                  <a:pt x="173380" y="1708"/>
                </a:lnTo>
                <a:lnTo>
                  <a:pt x="171005" y="2313"/>
                </a:lnTo>
                <a:lnTo>
                  <a:pt x="168646" y="2996"/>
                </a:lnTo>
                <a:lnTo>
                  <a:pt x="166317" y="3757"/>
                </a:lnTo>
                <a:lnTo>
                  <a:pt x="164035" y="4610"/>
                </a:lnTo>
                <a:lnTo>
                  <a:pt x="161800" y="5542"/>
                </a:lnTo>
                <a:lnTo>
                  <a:pt x="159596" y="6551"/>
                </a:lnTo>
                <a:lnTo>
                  <a:pt x="157422" y="7638"/>
                </a:lnTo>
                <a:lnTo>
                  <a:pt x="155311" y="8786"/>
                </a:lnTo>
                <a:lnTo>
                  <a:pt x="153247" y="10028"/>
                </a:lnTo>
                <a:lnTo>
                  <a:pt x="151213" y="11332"/>
                </a:lnTo>
                <a:lnTo>
                  <a:pt x="149257" y="12714"/>
                </a:lnTo>
                <a:lnTo>
                  <a:pt x="147332" y="14157"/>
                </a:lnTo>
                <a:lnTo>
                  <a:pt x="145469" y="15679"/>
                </a:lnTo>
                <a:lnTo>
                  <a:pt x="143669" y="17262"/>
                </a:lnTo>
                <a:lnTo>
                  <a:pt x="141930" y="18907"/>
                </a:lnTo>
                <a:lnTo>
                  <a:pt x="140254" y="20615"/>
                </a:lnTo>
                <a:lnTo>
                  <a:pt x="138624" y="22385"/>
                </a:lnTo>
                <a:lnTo>
                  <a:pt x="137071" y="24216"/>
                </a:lnTo>
                <a:lnTo>
                  <a:pt x="135597" y="26095"/>
                </a:lnTo>
                <a:lnTo>
                  <a:pt x="134184" y="28035"/>
                </a:lnTo>
                <a:lnTo>
                  <a:pt x="132833" y="30038"/>
                </a:lnTo>
                <a:lnTo>
                  <a:pt x="131561" y="32102"/>
                </a:lnTo>
                <a:lnTo>
                  <a:pt x="130381" y="34198"/>
                </a:lnTo>
                <a:lnTo>
                  <a:pt x="129263" y="36356"/>
                </a:lnTo>
                <a:lnTo>
                  <a:pt x="128223" y="38560"/>
                </a:lnTo>
                <a:lnTo>
                  <a:pt x="127276" y="40826"/>
                </a:lnTo>
                <a:lnTo>
                  <a:pt x="126841" y="41960"/>
                </a:lnTo>
                <a:lnTo>
                  <a:pt x="126717" y="42270"/>
                </a:lnTo>
                <a:lnTo>
                  <a:pt x="126469" y="42720"/>
                </a:lnTo>
                <a:lnTo>
                  <a:pt x="126205" y="42969"/>
                </a:lnTo>
                <a:lnTo>
                  <a:pt x="125910" y="43062"/>
                </a:lnTo>
                <a:lnTo>
                  <a:pt x="125739" y="43077"/>
                </a:lnTo>
                <a:lnTo>
                  <a:pt x="125569" y="43062"/>
                </a:lnTo>
                <a:lnTo>
                  <a:pt x="125274" y="42969"/>
                </a:lnTo>
                <a:lnTo>
                  <a:pt x="125010" y="42720"/>
                </a:lnTo>
                <a:lnTo>
                  <a:pt x="124761" y="42270"/>
                </a:lnTo>
                <a:lnTo>
                  <a:pt x="124637" y="41960"/>
                </a:lnTo>
                <a:lnTo>
                  <a:pt x="124202" y="40826"/>
                </a:lnTo>
                <a:lnTo>
                  <a:pt x="123256" y="38560"/>
                </a:lnTo>
                <a:lnTo>
                  <a:pt x="122215" y="36356"/>
                </a:lnTo>
                <a:lnTo>
                  <a:pt x="121098" y="34198"/>
                </a:lnTo>
                <a:lnTo>
                  <a:pt x="119918" y="32102"/>
                </a:lnTo>
                <a:lnTo>
                  <a:pt x="118645" y="30038"/>
                </a:lnTo>
                <a:lnTo>
                  <a:pt x="117295" y="28035"/>
                </a:lnTo>
                <a:lnTo>
                  <a:pt x="115882" y="26095"/>
                </a:lnTo>
                <a:lnTo>
                  <a:pt x="114407" y="24216"/>
                </a:lnTo>
                <a:lnTo>
                  <a:pt x="112855" y="22385"/>
                </a:lnTo>
                <a:lnTo>
                  <a:pt x="111225" y="20615"/>
                </a:lnTo>
                <a:lnTo>
                  <a:pt x="109548" y="18907"/>
                </a:lnTo>
                <a:lnTo>
                  <a:pt x="107810" y="17262"/>
                </a:lnTo>
                <a:lnTo>
                  <a:pt x="106009" y="15679"/>
                </a:lnTo>
                <a:lnTo>
                  <a:pt x="104146" y="14157"/>
                </a:lnTo>
                <a:lnTo>
                  <a:pt x="102221" y="12714"/>
                </a:lnTo>
                <a:lnTo>
                  <a:pt x="100265" y="11332"/>
                </a:lnTo>
                <a:lnTo>
                  <a:pt x="98232" y="10028"/>
                </a:lnTo>
                <a:lnTo>
                  <a:pt x="96167" y="8786"/>
                </a:lnTo>
                <a:lnTo>
                  <a:pt x="94056" y="7638"/>
                </a:lnTo>
                <a:lnTo>
                  <a:pt x="91883" y="6551"/>
                </a:lnTo>
                <a:lnTo>
                  <a:pt x="89678" y="5542"/>
                </a:lnTo>
                <a:lnTo>
                  <a:pt x="87443" y="4610"/>
                </a:lnTo>
                <a:lnTo>
                  <a:pt x="85161" y="3757"/>
                </a:lnTo>
                <a:lnTo>
                  <a:pt x="82833" y="2996"/>
                </a:lnTo>
                <a:lnTo>
                  <a:pt x="80473" y="2313"/>
                </a:lnTo>
                <a:lnTo>
                  <a:pt x="78098" y="1708"/>
                </a:lnTo>
                <a:lnTo>
                  <a:pt x="75676" y="1195"/>
                </a:lnTo>
                <a:lnTo>
                  <a:pt x="73224" y="776"/>
                </a:lnTo>
                <a:lnTo>
                  <a:pt x="70756" y="450"/>
                </a:lnTo>
                <a:lnTo>
                  <a:pt x="68256" y="202"/>
                </a:lnTo>
                <a:lnTo>
                  <a:pt x="65741" y="47"/>
                </a:lnTo>
                <a:lnTo>
                  <a:pt x="64469" y="16"/>
                </a:lnTo>
                <a:lnTo>
                  <a:pt x="62932" y="0"/>
                </a:lnTo>
                <a:close/>
              </a:path>
            </a:pathLst>
          </a:custGeom>
          <a:solidFill>
            <a:srgbClr val="F7224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5341524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2C Eyebrow, Title, Subtitle, Content, Half white">
  <p:cSld name="B2C Eyebrow, Title, Subtitle, Content, Half white">
    <p:bg>
      <p:bgPr>
        <a:solidFill>
          <a:schemeClr val="lt1"/>
        </a:solidFill>
        <a:effectLst/>
      </p:bgPr>
    </p:bg>
    <p:spTree>
      <p:nvGrpSpPr>
        <p:cNvPr id="1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Google Shape;230;p13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231" name="Google Shape;231;p13"/>
          <p:cNvSpPr txBox="1">
            <a:spLocks noGrp="1"/>
          </p:cNvSpPr>
          <p:nvPr>
            <p:ph type="sldNum" idx="12"/>
          </p:nvPr>
        </p:nvSpPr>
        <p:spPr>
          <a:xfrm>
            <a:off x="11044810" y="6091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2" name="Google Shape;232;p13"/>
          <p:cNvSpPr txBox="1">
            <a:spLocks noGrp="1"/>
          </p:cNvSpPr>
          <p:nvPr>
            <p:ph type="title"/>
          </p:nvPr>
        </p:nvSpPr>
        <p:spPr>
          <a:xfrm>
            <a:off x="415600" y="1226067"/>
            <a:ext cx="11360700" cy="393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00"/>
              <a:buFont typeface="Lato"/>
              <a:buNone/>
              <a:defRPr sz="19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233" name="Google Shape;233;p13"/>
          <p:cNvSpPr txBox="1">
            <a:spLocks noGrp="1"/>
          </p:cNvSpPr>
          <p:nvPr>
            <p:ph type="body" idx="1"/>
          </p:nvPr>
        </p:nvSpPr>
        <p:spPr>
          <a:xfrm>
            <a:off x="415600" y="1834900"/>
            <a:ext cx="11360700" cy="41331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30200" rtl="0">
              <a:spcBef>
                <a:spcPts val="0"/>
              </a:spcBef>
              <a:spcAft>
                <a:spcPts val="0"/>
              </a:spcAft>
              <a:buSzPts val="1600"/>
              <a:buChar char="•"/>
              <a:defRPr sz="1600"/>
            </a:lvl1pPr>
            <a:lvl2pPr marL="914400" lvl="1" indent="-323850" rtl="0">
              <a:spcBef>
                <a:spcPts val="1300"/>
              </a:spcBef>
              <a:spcAft>
                <a:spcPts val="0"/>
              </a:spcAft>
              <a:buSzPts val="1500"/>
              <a:buChar char="○"/>
              <a:defRPr sz="1500"/>
            </a:lvl2pPr>
            <a:lvl3pPr marL="1371600" lvl="2" indent="-311150" rtl="0">
              <a:spcBef>
                <a:spcPts val="1300"/>
              </a:spcBef>
              <a:spcAft>
                <a:spcPts val="0"/>
              </a:spcAft>
              <a:buSzPts val="1300"/>
              <a:buChar char="•"/>
              <a:defRPr sz="1300"/>
            </a:lvl3pPr>
            <a:lvl4pPr marL="1828800" lvl="3" indent="-304800" rtl="0">
              <a:spcBef>
                <a:spcPts val="1300"/>
              </a:spcBef>
              <a:spcAft>
                <a:spcPts val="0"/>
              </a:spcAft>
              <a:buSzPts val="1200"/>
              <a:buChar char="◦"/>
              <a:defRPr sz="1200"/>
            </a:lvl4pPr>
            <a:lvl5pPr marL="2286000" lvl="4" indent="-298450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/>
            </a:lvl5pPr>
            <a:lvl6pPr marL="2743200" lvl="5" indent="-298450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/>
            </a:lvl6pPr>
            <a:lvl7pPr marL="3200400" lvl="6" indent="-298450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/>
            </a:lvl7pPr>
            <a:lvl8pPr marL="3657600" lvl="7" indent="-298450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 rtl="0">
              <a:spcBef>
                <a:spcPts val="1300"/>
              </a:spcBef>
              <a:spcAft>
                <a:spcPts val="1300"/>
              </a:spcAft>
              <a:buSzPts val="1100"/>
              <a:buChar char="•"/>
              <a:defRPr/>
            </a:lvl9pPr>
          </a:lstStyle>
          <a:p>
            <a:endParaRPr/>
          </a:p>
        </p:txBody>
      </p:sp>
      <p:sp>
        <p:nvSpPr>
          <p:cNvPr id="234" name="Google Shape;234;p13"/>
          <p:cNvSpPr/>
          <p:nvPr/>
        </p:nvSpPr>
        <p:spPr>
          <a:xfrm rot="10800000">
            <a:off x="3833" y="67"/>
            <a:ext cx="11147700" cy="10329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5" name="Google Shape;235;p13"/>
          <p:cNvSpPr/>
          <p:nvPr/>
        </p:nvSpPr>
        <p:spPr>
          <a:xfrm>
            <a:off x="-23600" y="0"/>
            <a:ext cx="1266300" cy="10329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6" name="Google Shape;236;p13"/>
          <p:cNvSpPr txBox="1">
            <a:spLocks noGrp="1"/>
          </p:cNvSpPr>
          <p:nvPr>
            <p:ph type="title" idx="2"/>
          </p:nvPr>
        </p:nvSpPr>
        <p:spPr>
          <a:xfrm>
            <a:off x="415600" y="398067"/>
            <a:ext cx="101241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1pPr>
            <a:lvl2pPr lvl="1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2pPr>
            <a:lvl3pPr lvl="2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3pPr>
            <a:lvl4pPr lvl="3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4pPr>
            <a:lvl5pPr lvl="4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5pPr>
            <a:lvl6pPr lvl="5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6pPr>
            <a:lvl7pPr lvl="6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7pPr>
            <a:lvl8pPr lvl="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8pPr>
            <a:lvl9pPr lvl="8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237" name="Google Shape;237;p13"/>
          <p:cNvSpPr/>
          <p:nvPr/>
        </p:nvSpPr>
        <p:spPr>
          <a:xfrm>
            <a:off x="11525533" y="364133"/>
            <a:ext cx="365273" cy="304371"/>
          </a:xfrm>
          <a:custGeom>
            <a:avLst/>
            <a:gdLst/>
            <a:ahLst/>
            <a:cxnLst/>
            <a:rect l="l" t="t" r="r" b="b"/>
            <a:pathLst>
              <a:path w="251479" h="209550" extrusionOk="0">
                <a:moveTo>
                  <a:pt x="62932" y="0"/>
                </a:moveTo>
                <a:lnTo>
                  <a:pt x="59858" y="78"/>
                </a:lnTo>
                <a:lnTo>
                  <a:pt x="56847" y="326"/>
                </a:lnTo>
                <a:lnTo>
                  <a:pt x="53851" y="714"/>
                </a:lnTo>
                <a:lnTo>
                  <a:pt x="50901" y="1257"/>
                </a:lnTo>
                <a:lnTo>
                  <a:pt x="47998" y="1925"/>
                </a:lnTo>
                <a:lnTo>
                  <a:pt x="45142" y="2748"/>
                </a:lnTo>
                <a:lnTo>
                  <a:pt x="42348" y="3695"/>
                </a:lnTo>
                <a:lnTo>
                  <a:pt x="39600" y="4781"/>
                </a:lnTo>
                <a:lnTo>
                  <a:pt x="36915" y="5992"/>
                </a:lnTo>
                <a:lnTo>
                  <a:pt x="34291" y="7327"/>
                </a:lnTo>
                <a:lnTo>
                  <a:pt x="31730" y="8786"/>
                </a:lnTo>
                <a:lnTo>
                  <a:pt x="29246" y="10354"/>
                </a:lnTo>
                <a:lnTo>
                  <a:pt x="26840" y="12031"/>
                </a:lnTo>
                <a:lnTo>
                  <a:pt x="24511" y="13831"/>
                </a:lnTo>
                <a:lnTo>
                  <a:pt x="22261" y="15741"/>
                </a:lnTo>
                <a:lnTo>
                  <a:pt x="20087" y="17743"/>
                </a:lnTo>
                <a:lnTo>
                  <a:pt x="18023" y="19839"/>
                </a:lnTo>
                <a:lnTo>
                  <a:pt x="16036" y="22043"/>
                </a:lnTo>
                <a:lnTo>
                  <a:pt x="14157" y="24325"/>
                </a:lnTo>
                <a:lnTo>
                  <a:pt x="12372" y="26716"/>
                </a:lnTo>
                <a:lnTo>
                  <a:pt x="10696" y="29168"/>
                </a:lnTo>
                <a:lnTo>
                  <a:pt x="9112" y="31714"/>
                </a:lnTo>
                <a:lnTo>
                  <a:pt x="7653" y="34338"/>
                </a:lnTo>
                <a:lnTo>
                  <a:pt x="6318" y="37039"/>
                </a:lnTo>
                <a:lnTo>
                  <a:pt x="5092" y="39802"/>
                </a:lnTo>
                <a:lnTo>
                  <a:pt x="3990" y="42643"/>
                </a:lnTo>
                <a:lnTo>
                  <a:pt x="3012" y="45546"/>
                </a:lnTo>
                <a:lnTo>
                  <a:pt x="2173" y="48495"/>
                </a:lnTo>
                <a:lnTo>
                  <a:pt x="1459" y="51507"/>
                </a:lnTo>
                <a:lnTo>
                  <a:pt x="885" y="54580"/>
                </a:lnTo>
                <a:lnTo>
                  <a:pt x="450" y="57700"/>
                </a:lnTo>
                <a:lnTo>
                  <a:pt x="310" y="59268"/>
                </a:lnTo>
                <a:lnTo>
                  <a:pt x="186" y="60665"/>
                </a:lnTo>
                <a:lnTo>
                  <a:pt x="31" y="63475"/>
                </a:lnTo>
                <a:lnTo>
                  <a:pt x="0" y="66269"/>
                </a:lnTo>
                <a:lnTo>
                  <a:pt x="62" y="69063"/>
                </a:lnTo>
                <a:lnTo>
                  <a:pt x="217" y="71842"/>
                </a:lnTo>
                <a:lnTo>
                  <a:pt x="466" y="74605"/>
                </a:lnTo>
                <a:lnTo>
                  <a:pt x="823" y="77368"/>
                </a:lnTo>
                <a:lnTo>
                  <a:pt x="1257" y="80132"/>
                </a:lnTo>
                <a:lnTo>
                  <a:pt x="1801" y="82864"/>
                </a:lnTo>
                <a:lnTo>
                  <a:pt x="2422" y="85611"/>
                </a:lnTo>
                <a:lnTo>
                  <a:pt x="3120" y="88328"/>
                </a:lnTo>
                <a:lnTo>
                  <a:pt x="3912" y="91045"/>
                </a:lnTo>
                <a:lnTo>
                  <a:pt x="4781" y="93730"/>
                </a:lnTo>
                <a:lnTo>
                  <a:pt x="5728" y="96416"/>
                </a:lnTo>
                <a:lnTo>
                  <a:pt x="7280" y="100436"/>
                </a:lnTo>
                <a:lnTo>
                  <a:pt x="9609" y="105714"/>
                </a:lnTo>
                <a:lnTo>
                  <a:pt x="12201" y="110946"/>
                </a:lnTo>
                <a:lnTo>
                  <a:pt x="15058" y="116099"/>
                </a:lnTo>
                <a:lnTo>
                  <a:pt x="18147" y="121191"/>
                </a:lnTo>
                <a:lnTo>
                  <a:pt x="21438" y="126205"/>
                </a:lnTo>
                <a:lnTo>
                  <a:pt x="24931" y="131126"/>
                </a:lnTo>
                <a:lnTo>
                  <a:pt x="28594" y="135969"/>
                </a:lnTo>
                <a:lnTo>
                  <a:pt x="32413" y="140719"/>
                </a:lnTo>
                <a:lnTo>
                  <a:pt x="36371" y="145392"/>
                </a:lnTo>
                <a:lnTo>
                  <a:pt x="40454" y="149940"/>
                </a:lnTo>
                <a:lnTo>
                  <a:pt x="44630" y="154395"/>
                </a:lnTo>
                <a:lnTo>
                  <a:pt x="48883" y="158742"/>
                </a:lnTo>
                <a:lnTo>
                  <a:pt x="53199" y="162964"/>
                </a:lnTo>
                <a:lnTo>
                  <a:pt x="57545" y="167078"/>
                </a:lnTo>
                <a:lnTo>
                  <a:pt x="61938" y="171068"/>
                </a:lnTo>
                <a:lnTo>
                  <a:pt x="66316" y="174917"/>
                </a:lnTo>
                <a:lnTo>
                  <a:pt x="70678" y="178643"/>
                </a:lnTo>
                <a:lnTo>
                  <a:pt x="75024" y="182229"/>
                </a:lnTo>
                <a:lnTo>
                  <a:pt x="81420" y="187352"/>
                </a:lnTo>
                <a:lnTo>
                  <a:pt x="89663" y="193639"/>
                </a:lnTo>
                <a:lnTo>
                  <a:pt x="97425" y="199274"/>
                </a:lnTo>
                <a:lnTo>
                  <a:pt x="101057" y="201819"/>
                </a:lnTo>
                <a:lnTo>
                  <a:pt x="102454" y="202766"/>
                </a:lnTo>
                <a:lnTo>
                  <a:pt x="105342" y="204458"/>
                </a:lnTo>
                <a:lnTo>
                  <a:pt x="108338" y="205918"/>
                </a:lnTo>
                <a:lnTo>
                  <a:pt x="111396" y="207128"/>
                </a:lnTo>
                <a:lnTo>
                  <a:pt x="114516" y="208091"/>
                </a:lnTo>
                <a:lnTo>
                  <a:pt x="117683" y="208820"/>
                </a:lnTo>
                <a:lnTo>
                  <a:pt x="120896" y="209302"/>
                </a:lnTo>
                <a:lnTo>
                  <a:pt x="124125" y="209550"/>
                </a:lnTo>
                <a:lnTo>
                  <a:pt x="127354" y="209550"/>
                </a:lnTo>
                <a:lnTo>
                  <a:pt x="130583" y="209302"/>
                </a:lnTo>
                <a:lnTo>
                  <a:pt x="133796" y="208820"/>
                </a:lnTo>
                <a:lnTo>
                  <a:pt x="136963" y="208091"/>
                </a:lnTo>
                <a:lnTo>
                  <a:pt x="140098" y="207128"/>
                </a:lnTo>
                <a:lnTo>
                  <a:pt x="143156" y="205918"/>
                </a:lnTo>
                <a:lnTo>
                  <a:pt x="146137" y="204458"/>
                </a:lnTo>
                <a:lnTo>
                  <a:pt x="149024" y="202766"/>
                </a:lnTo>
                <a:lnTo>
                  <a:pt x="150421" y="201819"/>
                </a:lnTo>
                <a:lnTo>
                  <a:pt x="154038" y="199289"/>
                </a:lnTo>
                <a:lnTo>
                  <a:pt x="161769" y="193670"/>
                </a:lnTo>
                <a:lnTo>
                  <a:pt x="169981" y="187414"/>
                </a:lnTo>
                <a:lnTo>
                  <a:pt x="176361" y="182306"/>
                </a:lnTo>
                <a:lnTo>
                  <a:pt x="180676" y="178736"/>
                </a:lnTo>
                <a:lnTo>
                  <a:pt x="185023" y="175042"/>
                </a:lnTo>
                <a:lnTo>
                  <a:pt x="189385" y="171192"/>
                </a:lnTo>
                <a:lnTo>
                  <a:pt x="193763" y="167233"/>
                </a:lnTo>
                <a:lnTo>
                  <a:pt x="198094" y="163151"/>
                </a:lnTo>
                <a:lnTo>
                  <a:pt x="202394" y="158944"/>
                </a:lnTo>
                <a:lnTo>
                  <a:pt x="206647" y="154613"/>
                </a:lnTo>
                <a:lnTo>
                  <a:pt x="210807" y="150189"/>
                </a:lnTo>
                <a:lnTo>
                  <a:pt x="214874" y="145656"/>
                </a:lnTo>
                <a:lnTo>
                  <a:pt x="218817" y="141014"/>
                </a:lnTo>
                <a:lnTo>
                  <a:pt x="222636" y="136280"/>
                </a:lnTo>
                <a:lnTo>
                  <a:pt x="226300" y="131467"/>
                </a:lnTo>
                <a:lnTo>
                  <a:pt x="229792" y="126562"/>
                </a:lnTo>
                <a:lnTo>
                  <a:pt x="233083" y="121579"/>
                </a:lnTo>
                <a:lnTo>
                  <a:pt x="236173" y="116518"/>
                </a:lnTo>
                <a:lnTo>
                  <a:pt x="239044" y="111380"/>
                </a:lnTo>
                <a:lnTo>
                  <a:pt x="241652" y="106180"/>
                </a:lnTo>
                <a:lnTo>
                  <a:pt x="243996" y="100917"/>
                </a:lnTo>
                <a:lnTo>
                  <a:pt x="245564" y="96928"/>
                </a:lnTo>
                <a:lnTo>
                  <a:pt x="246527" y="94258"/>
                </a:lnTo>
                <a:lnTo>
                  <a:pt x="247396" y="91572"/>
                </a:lnTo>
                <a:lnTo>
                  <a:pt x="248203" y="88871"/>
                </a:lnTo>
                <a:lnTo>
                  <a:pt x="248917" y="86155"/>
                </a:lnTo>
                <a:lnTo>
                  <a:pt x="249554" y="83438"/>
                </a:lnTo>
                <a:lnTo>
                  <a:pt x="250112" y="80706"/>
                </a:lnTo>
                <a:lnTo>
                  <a:pt x="250563" y="77958"/>
                </a:lnTo>
                <a:lnTo>
                  <a:pt x="250935" y="75211"/>
                </a:lnTo>
                <a:lnTo>
                  <a:pt x="251215" y="72448"/>
                </a:lnTo>
                <a:lnTo>
                  <a:pt x="251385" y="69684"/>
                </a:lnTo>
                <a:lnTo>
                  <a:pt x="251479" y="66906"/>
                </a:lnTo>
                <a:lnTo>
                  <a:pt x="251463" y="64127"/>
                </a:lnTo>
                <a:lnTo>
                  <a:pt x="251339" y="61333"/>
                </a:lnTo>
                <a:lnTo>
                  <a:pt x="251230" y="59936"/>
                </a:lnTo>
                <a:lnTo>
                  <a:pt x="251199" y="59610"/>
                </a:lnTo>
                <a:lnTo>
                  <a:pt x="251184" y="59268"/>
                </a:lnTo>
                <a:lnTo>
                  <a:pt x="250966" y="57235"/>
                </a:lnTo>
                <a:lnTo>
                  <a:pt x="250361" y="53199"/>
                </a:lnTo>
                <a:lnTo>
                  <a:pt x="249507" y="49256"/>
                </a:lnTo>
                <a:lnTo>
                  <a:pt x="248436" y="45421"/>
                </a:lnTo>
                <a:lnTo>
                  <a:pt x="247132" y="41665"/>
                </a:lnTo>
                <a:lnTo>
                  <a:pt x="245626" y="38032"/>
                </a:lnTo>
                <a:lnTo>
                  <a:pt x="243919" y="34508"/>
                </a:lnTo>
                <a:lnTo>
                  <a:pt x="242009" y="31124"/>
                </a:lnTo>
                <a:lnTo>
                  <a:pt x="240969" y="29479"/>
                </a:lnTo>
                <a:lnTo>
                  <a:pt x="240209" y="28299"/>
                </a:lnTo>
                <a:lnTo>
                  <a:pt x="239401" y="27135"/>
                </a:lnTo>
                <a:lnTo>
                  <a:pt x="238594" y="26110"/>
                </a:lnTo>
                <a:lnTo>
                  <a:pt x="237244" y="24667"/>
                </a:lnTo>
                <a:lnTo>
                  <a:pt x="236281" y="23766"/>
                </a:lnTo>
                <a:lnTo>
                  <a:pt x="235784" y="23332"/>
                </a:lnTo>
                <a:lnTo>
                  <a:pt x="234837" y="22571"/>
                </a:lnTo>
                <a:lnTo>
                  <a:pt x="232882" y="21236"/>
                </a:lnTo>
                <a:lnTo>
                  <a:pt x="230832" y="20134"/>
                </a:lnTo>
                <a:lnTo>
                  <a:pt x="228690" y="19233"/>
                </a:lnTo>
                <a:lnTo>
                  <a:pt x="226517" y="18566"/>
                </a:lnTo>
                <a:lnTo>
                  <a:pt x="224297" y="18116"/>
                </a:lnTo>
                <a:lnTo>
                  <a:pt x="222046" y="17883"/>
                </a:lnTo>
                <a:lnTo>
                  <a:pt x="219795" y="17867"/>
                </a:lnTo>
                <a:lnTo>
                  <a:pt x="217544" y="18069"/>
                </a:lnTo>
                <a:lnTo>
                  <a:pt x="215325" y="18473"/>
                </a:lnTo>
                <a:lnTo>
                  <a:pt x="213167" y="19094"/>
                </a:lnTo>
                <a:lnTo>
                  <a:pt x="211056" y="19916"/>
                </a:lnTo>
                <a:lnTo>
                  <a:pt x="209007" y="20957"/>
                </a:lnTo>
                <a:lnTo>
                  <a:pt x="207082" y="22214"/>
                </a:lnTo>
                <a:lnTo>
                  <a:pt x="205250" y="23658"/>
                </a:lnTo>
                <a:lnTo>
                  <a:pt x="203542" y="25319"/>
                </a:lnTo>
                <a:lnTo>
                  <a:pt x="202751" y="26219"/>
                </a:lnTo>
                <a:lnTo>
                  <a:pt x="185504" y="46787"/>
                </a:lnTo>
                <a:lnTo>
                  <a:pt x="141775" y="98899"/>
                </a:lnTo>
                <a:lnTo>
                  <a:pt x="141232" y="99567"/>
                </a:lnTo>
                <a:lnTo>
                  <a:pt x="140285" y="100964"/>
                </a:lnTo>
                <a:lnTo>
                  <a:pt x="139508" y="102439"/>
                </a:lnTo>
                <a:lnTo>
                  <a:pt x="138903" y="103976"/>
                </a:lnTo>
                <a:lnTo>
                  <a:pt x="138468" y="105543"/>
                </a:lnTo>
                <a:lnTo>
                  <a:pt x="138189" y="107142"/>
                </a:lnTo>
                <a:lnTo>
                  <a:pt x="138065" y="108741"/>
                </a:lnTo>
                <a:lnTo>
                  <a:pt x="138111" y="110356"/>
                </a:lnTo>
                <a:lnTo>
                  <a:pt x="138329" y="111955"/>
                </a:lnTo>
                <a:lnTo>
                  <a:pt x="138701" y="113522"/>
                </a:lnTo>
                <a:lnTo>
                  <a:pt x="139229" y="115044"/>
                </a:lnTo>
                <a:lnTo>
                  <a:pt x="139912" y="116518"/>
                </a:lnTo>
                <a:lnTo>
                  <a:pt x="140750" y="117931"/>
                </a:lnTo>
                <a:lnTo>
                  <a:pt x="141759" y="119266"/>
                </a:lnTo>
                <a:lnTo>
                  <a:pt x="142908" y="120492"/>
                </a:lnTo>
                <a:lnTo>
                  <a:pt x="144212" y="121626"/>
                </a:lnTo>
                <a:lnTo>
                  <a:pt x="144926" y="122138"/>
                </a:lnTo>
                <a:lnTo>
                  <a:pt x="145438" y="122479"/>
                </a:lnTo>
                <a:lnTo>
                  <a:pt x="146494" y="123085"/>
                </a:lnTo>
                <a:lnTo>
                  <a:pt x="147581" y="123613"/>
                </a:lnTo>
                <a:lnTo>
                  <a:pt x="148698" y="124063"/>
                </a:lnTo>
                <a:lnTo>
                  <a:pt x="149863" y="124420"/>
                </a:lnTo>
                <a:lnTo>
                  <a:pt x="151042" y="124684"/>
                </a:lnTo>
                <a:lnTo>
                  <a:pt x="152238" y="124854"/>
                </a:lnTo>
                <a:lnTo>
                  <a:pt x="153448" y="124932"/>
                </a:lnTo>
                <a:lnTo>
                  <a:pt x="154069" y="124932"/>
                </a:lnTo>
                <a:lnTo>
                  <a:pt x="154939" y="124901"/>
                </a:lnTo>
                <a:lnTo>
                  <a:pt x="156662" y="124699"/>
                </a:lnTo>
                <a:lnTo>
                  <a:pt x="158338" y="124311"/>
                </a:lnTo>
                <a:lnTo>
                  <a:pt x="159937" y="123752"/>
                </a:lnTo>
                <a:lnTo>
                  <a:pt x="161459" y="123038"/>
                </a:lnTo>
                <a:lnTo>
                  <a:pt x="162902" y="122153"/>
                </a:lnTo>
                <a:lnTo>
                  <a:pt x="164253" y="121113"/>
                </a:lnTo>
                <a:lnTo>
                  <a:pt x="165495" y="119918"/>
                </a:lnTo>
                <a:lnTo>
                  <a:pt x="166053" y="119266"/>
                </a:lnTo>
                <a:lnTo>
                  <a:pt x="210357" y="66471"/>
                </a:lnTo>
                <a:lnTo>
                  <a:pt x="210668" y="66130"/>
                </a:lnTo>
                <a:lnTo>
                  <a:pt x="211366" y="65586"/>
                </a:lnTo>
                <a:lnTo>
                  <a:pt x="212142" y="65183"/>
                </a:lnTo>
                <a:lnTo>
                  <a:pt x="212965" y="64950"/>
                </a:lnTo>
                <a:lnTo>
                  <a:pt x="213819" y="64872"/>
                </a:lnTo>
                <a:lnTo>
                  <a:pt x="214673" y="64965"/>
                </a:lnTo>
                <a:lnTo>
                  <a:pt x="215495" y="65214"/>
                </a:lnTo>
                <a:lnTo>
                  <a:pt x="216272" y="65633"/>
                </a:lnTo>
                <a:lnTo>
                  <a:pt x="216644" y="65928"/>
                </a:lnTo>
                <a:lnTo>
                  <a:pt x="219252" y="68117"/>
                </a:lnTo>
                <a:lnTo>
                  <a:pt x="219578" y="68412"/>
                </a:lnTo>
                <a:lnTo>
                  <a:pt x="220137" y="69110"/>
                </a:lnTo>
                <a:lnTo>
                  <a:pt x="220525" y="69886"/>
                </a:lnTo>
                <a:lnTo>
                  <a:pt x="220773" y="70709"/>
                </a:lnTo>
                <a:lnTo>
                  <a:pt x="220835" y="71563"/>
                </a:lnTo>
                <a:lnTo>
                  <a:pt x="220758" y="72417"/>
                </a:lnTo>
                <a:lnTo>
                  <a:pt x="220494" y="73239"/>
                </a:lnTo>
                <a:lnTo>
                  <a:pt x="220075" y="74031"/>
                </a:lnTo>
                <a:lnTo>
                  <a:pt x="219795" y="74388"/>
                </a:lnTo>
                <a:lnTo>
                  <a:pt x="175492" y="127183"/>
                </a:lnTo>
                <a:lnTo>
                  <a:pt x="174560" y="128239"/>
                </a:lnTo>
                <a:lnTo>
                  <a:pt x="172573" y="130195"/>
                </a:lnTo>
                <a:lnTo>
                  <a:pt x="170431" y="131918"/>
                </a:lnTo>
                <a:lnTo>
                  <a:pt x="168134" y="133423"/>
                </a:lnTo>
                <a:lnTo>
                  <a:pt x="165696" y="134681"/>
                </a:lnTo>
                <a:lnTo>
                  <a:pt x="163151" y="135705"/>
                </a:lnTo>
                <a:lnTo>
                  <a:pt x="160512" y="136481"/>
                </a:lnTo>
                <a:lnTo>
                  <a:pt x="157764" y="136994"/>
                </a:lnTo>
                <a:lnTo>
                  <a:pt x="156367" y="137133"/>
                </a:lnTo>
                <a:lnTo>
                  <a:pt x="155109" y="137227"/>
                </a:lnTo>
                <a:lnTo>
                  <a:pt x="153868" y="137242"/>
                </a:lnTo>
                <a:lnTo>
                  <a:pt x="152626" y="137227"/>
                </a:lnTo>
                <a:lnTo>
                  <a:pt x="150189" y="137009"/>
                </a:lnTo>
                <a:lnTo>
                  <a:pt x="147782" y="136590"/>
                </a:lnTo>
                <a:lnTo>
                  <a:pt x="145438" y="135954"/>
                </a:lnTo>
                <a:lnTo>
                  <a:pt x="143141" y="135131"/>
                </a:lnTo>
                <a:lnTo>
                  <a:pt x="140937" y="134091"/>
                </a:lnTo>
                <a:lnTo>
                  <a:pt x="138810" y="132865"/>
                </a:lnTo>
                <a:lnTo>
                  <a:pt x="136776" y="131436"/>
                </a:lnTo>
                <a:lnTo>
                  <a:pt x="135814" y="130645"/>
                </a:lnTo>
                <a:lnTo>
                  <a:pt x="135255" y="130179"/>
                </a:lnTo>
                <a:lnTo>
                  <a:pt x="134200" y="129201"/>
                </a:lnTo>
                <a:lnTo>
                  <a:pt x="132725" y="127649"/>
                </a:lnTo>
                <a:lnTo>
                  <a:pt x="130986" y="125460"/>
                </a:lnTo>
                <a:lnTo>
                  <a:pt x="129496" y="123131"/>
                </a:lnTo>
                <a:lnTo>
                  <a:pt x="128254" y="120679"/>
                </a:lnTo>
                <a:lnTo>
                  <a:pt x="127245" y="118148"/>
                </a:lnTo>
                <a:lnTo>
                  <a:pt x="126500" y="115540"/>
                </a:lnTo>
                <a:lnTo>
                  <a:pt x="126019" y="112870"/>
                </a:lnTo>
                <a:lnTo>
                  <a:pt x="125786" y="110185"/>
                </a:lnTo>
                <a:lnTo>
                  <a:pt x="125801" y="107468"/>
                </a:lnTo>
                <a:lnTo>
                  <a:pt x="126081" y="104783"/>
                </a:lnTo>
                <a:lnTo>
                  <a:pt x="126624" y="102113"/>
                </a:lnTo>
                <a:lnTo>
                  <a:pt x="127431" y="99489"/>
                </a:lnTo>
                <a:lnTo>
                  <a:pt x="128487" y="96928"/>
                </a:lnTo>
                <a:lnTo>
                  <a:pt x="129822" y="94460"/>
                </a:lnTo>
                <a:lnTo>
                  <a:pt x="131017" y="92690"/>
                </a:lnTo>
                <a:lnTo>
                  <a:pt x="131887" y="91541"/>
                </a:lnTo>
                <a:lnTo>
                  <a:pt x="132337" y="90967"/>
                </a:lnTo>
                <a:lnTo>
                  <a:pt x="157966" y="60432"/>
                </a:lnTo>
                <a:lnTo>
                  <a:pt x="193312" y="18302"/>
                </a:lnTo>
                <a:lnTo>
                  <a:pt x="193856" y="17681"/>
                </a:lnTo>
                <a:lnTo>
                  <a:pt x="194958" y="16470"/>
                </a:lnTo>
                <a:lnTo>
                  <a:pt x="196697" y="14778"/>
                </a:lnTo>
                <a:lnTo>
                  <a:pt x="199149" y="12745"/>
                </a:lnTo>
                <a:lnTo>
                  <a:pt x="201757" y="10960"/>
                </a:lnTo>
                <a:lnTo>
                  <a:pt x="204474" y="9423"/>
                </a:lnTo>
                <a:lnTo>
                  <a:pt x="207299" y="8134"/>
                </a:lnTo>
                <a:lnTo>
                  <a:pt x="210217" y="7110"/>
                </a:lnTo>
                <a:lnTo>
                  <a:pt x="213198" y="6334"/>
                </a:lnTo>
                <a:lnTo>
                  <a:pt x="214704" y="6054"/>
                </a:lnTo>
                <a:lnTo>
                  <a:pt x="213105" y="5309"/>
                </a:lnTo>
                <a:lnTo>
                  <a:pt x="209860" y="3958"/>
                </a:lnTo>
                <a:lnTo>
                  <a:pt x="206523" y="2810"/>
                </a:lnTo>
                <a:lnTo>
                  <a:pt x="203108" y="1832"/>
                </a:lnTo>
                <a:lnTo>
                  <a:pt x="199630" y="1056"/>
                </a:lnTo>
                <a:lnTo>
                  <a:pt x="196091" y="497"/>
                </a:lnTo>
                <a:lnTo>
                  <a:pt x="192505" y="140"/>
                </a:lnTo>
                <a:lnTo>
                  <a:pt x="188857" y="0"/>
                </a:lnTo>
                <a:lnTo>
                  <a:pt x="187010" y="16"/>
                </a:lnTo>
                <a:lnTo>
                  <a:pt x="185737" y="47"/>
                </a:lnTo>
                <a:lnTo>
                  <a:pt x="183222" y="202"/>
                </a:lnTo>
                <a:lnTo>
                  <a:pt x="180723" y="450"/>
                </a:lnTo>
                <a:lnTo>
                  <a:pt x="178255" y="776"/>
                </a:lnTo>
                <a:lnTo>
                  <a:pt x="175802" y="1195"/>
                </a:lnTo>
                <a:lnTo>
                  <a:pt x="173380" y="1708"/>
                </a:lnTo>
                <a:lnTo>
                  <a:pt x="171005" y="2313"/>
                </a:lnTo>
                <a:lnTo>
                  <a:pt x="168646" y="2996"/>
                </a:lnTo>
                <a:lnTo>
                  <a:pt x="166317" y="3757"/>
                </a:lnTo>
                <a:lnTo>
                  <a:pt x="164035" y="4610"/>
                </a:lnTo>
                <a:lnTo>
                  <a:pt x="161800" y="5542"/>
                </a:lnTo>
                <a:lnTo>
                  <a:pt x="159596" y="6551"/>
                </a:lnTo>
                <a:lnTo>
                  <a:pt x="157422" y="7638"/>
                </a:lnTo>
                <a:lnTo>
                  <a:pt x="155311" y="8786"/>
                </a:lnTo>
                <a:lnTo>
                  <a:pt x="153247" y="10028"/>
                </a:lnTo>
                <a:lnTo>
                  <a:pt x="151213" y="11332"/>
                </a:lnTo>
                <a:lnTo>
                  <a:pt x="149257" y="12714"/>
                </a:lnTo>
                <a:lnTo>
                  <a:pt x="147332" y="14157"/>
                </a:lnTo>
                <a:lnTo>
                  <a:pt x="145469" y="15679"/>
                </a:lnTo>
                <a:lnTo>
                  <a:pt x="143669" y="17262"/>
                </a:lnTo>
                <a:lnTo>
                  <a:pt x="141930" y="18907"/>
                </a:lnTo>
                <a:lnTo>
                  <a:pt x="140254" y="20615"/>
                </a:lnTo>
                <a:lnTo>
                  <a:pt x="138624" y="22385"/>
                </a:lnTo>
                <a:lnTo>
                  <a:pt x="137071" y="24216"/>
                </a:lnTo>
                <a:lnTo>
                  <a:pt x="135597" y="26095"/>
                </a:lnTo>
                <a:lnTo>
                  <a:pt x="134184" y="28035"/>
                </a:lnTo>
                <a:lnTo>
                  <a:pt x="132833" y="30038"/>
                </a:lnTo>
                <a:lnTo>
                  <a:pt x="131561" y="32102"/>
                </a:lnTo>
                <a:lnTo>
                  <a:pt x="130381" y="34198"/>
                </a:lnTo>
                <a:lnTo>
                  <a:pt x="129263" y="36356"/>
                </a:lnTo>
                <a:lnTo>
                  <a:pt x="128223" y="38560"/>
                </a:lnTo>
                <a:lnTo>
                  <a:pt x="127276" y="40826"/>
                </a:lnTo>
                <a:lnTo>
                  <a:pt x="126841" y="41960"/>
                </a:lnTo>
                <a:lnTo>
                  <a:pt x="126717" y="42270"/>
                </a:lnTo>
                <a:lnTo>
                  <a:pt x="126469" y="42720"/>
                </a:lnTo>
                <a:lnTo>
                  <a:pt x="126205" y="42969"/>
                </a:lnTo>
                <a:lnTo>
                  <a:pt x="125910" y="43062"/>
                </a:lnTo>
                <a:lnTo>
                  <a:pt x="125739" y="43077"/>
                </a:lnTo>
                <a:lnTo>
                  <a:pt x="125569" y="43062"/>
                </a:lnTo>
                <a:lnTo>
                  <a:pt x="125274" y="42969"/>
                </a:lnTo>
                <a:lnTo>
                  <a:pt x="125010" y="42720"/>
                </a:lnTo>
                <a:lnTo>
                  <a:pt x="124761" y="42270"/>
                </a:lnTo>
                <a:lnTo>
                  <a:pt x="124637" y="41960"/>
                </a:lnTo>
                <a:lnTo>
                  <a:pt x="124202" y="40826"/>
                </a:lnTo>
                <a:lnTo>
                  <a:pt x="123256" y="38560"/>
                </a:lnTo>
                <a:lnTo>
                  <a:pt x="122215" y="36356"/>
                </a:lnTo>
                <a:lnTo>
                  <a:pt x="121098" y="34198"/>
                </a:lnTo>
                <a:lnTo>
                  <a:pt x="119918" y="32102"/>
                </a:lnTo>
                <a:lnTo>
                  <a:pt x="118645" y="30038"/>
                </a:lnTo>
                <a:lnTo>
                  <a:pt x="117295" y="28035"/>
                </a:lnTo>
                <a:lnTo>
                  <a:pt x="115882" y="26095"/>
                </a:lnTo>
                <a:lnTo>
                  <a:pt x="114407" y="24216"/>
                </a:lnTo>
                <a:lnTo>
                  <a:pt x="112855" y="22385"/>
                </a:lnTo>
                <a:lnTo>
                  <a:pt x="111225" y="20615"/>
                </a:lnTo>
                <a:lnTo>
                  <a:pt x="109548" y="18907"/>
                </a:lnTo>
                <a:lnTo>
                  <a:pt x="107810" y="17262"/>
                </a:lnTo>
                <a:lnTo>
                  <a:pt x="106009" y="15679"/>
                </a:lnTo>
                <a:lnTo>
                  <a:pt x="104146" y="14157"/>
                </a:lnTo>
                <a:lnTo>
                  <a:pt x="102221" y="12714"/>
                </a:lnTo>
                <a:lnTo>
                  <a:pt x="100265" y="11332"/>
                </a:lnTo>
                <a:lnTo>
                  <a:pt x="98232" y="10028"/>
                </a:lnTo>
                <a:lnTo>
                  <a:pt x="96167" y="8786"/>
                </a:lnTo>
                <a:lnTo>
                  <a:pt x="94056" y="7638"/>
                </a:lnTo>
                <a:lnTo>
                  <a:pt x="91883" y="6551"/>
                </a:lnTo>
                <a:lnTo>
                  <a:pt x="89678" y="5542"/>
                </a:lnTo>
                <a:lnTo>
                  <a:pt x="87443" y="4610"/>
                </a:lnTo>
                <a:lnTo>
                  <a:pt x="85161" y="3757"/>
                </a:lnTo>
                <a:lnTo>
                  <a:pt x="82833" y="2996"/>
                </a:lnTo>
                <a:lnTo>
                  <a:pt x="80473" y="2313"/>
                </a:lnTo>
                <a:lnTo>
                  <a:pt x="78098" y="1708"/>
                </a:lnTo>
                <a:lnTo>
                  <a:pt x="75676" y="1195"/>
                </a:lnTo>
                <a:lnTo>
                  <a:pt x="73224" y="776"/>
                </a:lnTo>
                <a:lnTo>
                  <a:pt x="70756" y="450"/>
                </a:lnTo>
                <a:lnTo>
                  <a:pt x="68256" y="202"/>
                </a:lnTo>
                <a:lnTo>
                  <a:pt x="65741" y="47"/>
                </a:lnTo>
                <a:lnTo>
                  <a:pt x="64469" y="16"/>
                </a:lnTo>
                <a:lnTo>
                  <a:pt x="62932" y="0"/>
                </a:lnTo>
                <a:close/>
              </a:path>
            </a:pathLst>
          </a:custGeom>
          <a:solidFill>
            <a:srgbClr val="F7224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9906678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images">
  <p:cSld name="Title and two columns images">
    <p:bg>
      <p:bgPr>
        <a:solidFill>
          <a:schemeClr val="lt2"/>
        </a:solidFill>
        <a:effectLst/>
      </p:bgPr>
    </p:bg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p14"/>
          <p:cNvSpPr txBox="1">
            <a:spLocks noGrp="1"/>
          </p:cNvSpPr>
          <p:nvPr>
            <p:ph type="sldNum" idx="12"/>
          </p:nvPr>
        </p:nvSpPr>
        <p:spPr>
          <a:xfrm>
            <a:off x="11044810" y="6091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40" name="Google Shape;240;p14"/>
          <p:cNvSpPr>
            <a:spLocks noGrp="1"/>
          </p:cNvSpPr>
          <p:nvPr>
            <p:ph type="pic" idx="2"/>
          </p:nvPr>
        </p:nvSpPr>
        <p:spPr>
          <a:xfrm>
            <a:off x="6443133" y="1700767"/>
            <a:ext cx="5333100" cy="4133100"/>
          </a:xfrm>
          <a:prstGeom prst="rect">
            <a:avLst/>
          </a:prstGeom>
          <a:noFill/>
          <a:ln>
            <a:noFill/>
          </a:ln>
        </p:spPr>
      </p:sp>
      <p:sp>
        <p:nvSpPr>
          <p:cNvPr id="241" name="Google Shape;241;p14"/>
          <p:cNvSpPr>
            <a:spLocks noGrp="1"/>
          </p:cNvSpPr>
          <p:nvPr>
            <p:ph type="pic" idx="3"/>
          </p:nvPr>
        </p:nvSpPr>
        <p:spPr>
          <a:xfrm>
            <a:off x="415667" y="1700767"/>
            <a:ext cx="5333100" cy="4133100"/>
          </a:xfrm>
          <a:prstGeom prst="rect">
            <a:avLst/>
          </a:prstGeom>
          <a:noFill/>
          <a:ln>
            <a:noFill/>
          </a:ln>
        </p:spPr>
      </p:sp>
      <p:sp>
        <p:nvSpPr>
          <p:cNvPr id="242" name="Google Shape;242;p14"/>
          <p:cNvSpPr/>
          <p:nvPr/>
        </p:nvSpPr>
        <p:spPr>
          <a:xfrm rot="10800000">
            <a:off x="3833" y="67"/>
            <a:ext cx="11147700" cy="10329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3" name="Google Shape;243;p14"/>
          <p:cNvSpPr/>
          <p:nvPr/>
        </p:nvSpPr>
        <p:spPr>
          <a:xfrm>
            <a:off x="-23600" y="0"/>
            <a:ext cx="1266300" cy="10329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4" name="Google Shape;244;p14"/>
          <p:cNvSpPr txBox="1">
            <a:spLocks noGrp="1"/>
          </p:cNvSpPr>
          <p:nvPr>
            <p:ph type="title"/>
          </p:nvPr>
        </p:nvSpPr>
        <p:spPr>
          <a:xfrm>
            <a:off x="415600" y="398067"/>
            <a:ext cx="101241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1pPr>
            <a:lvl2pPr lvl="1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2pPr>
            <a:lvl3pPr lvl="2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3pPr>
            <a:lvl4pPr lvl="3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4pPr>
            <a:lvl5pPr lvl="4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5pPr>
            <a:lvl6pPr lvl="5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6pPr>
            <a:lvl7pPr lvl="6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7pPr>
            <a:lvl8pPr lvl="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8pPr>
            <a:lvl9pPr lvl="8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245" name="Google Shape;245;p14"/>
          <p:cNvSpPr txBox="1">
            <a:spLocks noGrp="1"/>
          </p:cNvSpPr>
          <p:nvPr>
            <p:ph type="title" idx="4"/>
          </p:nvPr>
        </p:nvSpPr>
        <p:spPr>
          <a:xfrm>
            <a:off x="415600" y="1226067"/>
            <a:ext cx="11360700" cy="393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00"/>
              <a:buFont typeface="Lato"/>
              <a:buNone/>
              <a:defRPr sz="19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246" name="Google Shape;246;p14"/>
          <p:cNvSpPr/>
          <p:nvPr/>
        </p:nvSpPr>
        <p:spPr>
          <a:xfrm>
            <a:off x="11525533" y="364133"/>
            <a:ext cx="365273" cy="304371"/>
          </a:xfrm>
          <a:custGeom>
            <a:avLst/>
            <a:gdLst/>
            <a:ahLst/>
            <a:cxnLst/>
            <a:rect l="l" t="t" r="r" b="b"/>
            <a:pathLst>
              <a:path w="251479" h="209550" extrusionOk="0">
                <a:moveTo>
                  <a:pt x="62932" y="0"/>
                </a:moveTo>
                <a:lnTo>
                  <a:pt x="59858" y="78"/>
                </a:lnTo>
                <a:lnTo>
                  <a:pt x="56847" y="326"/>
                </a:lnTo>
                <a:lnTo>
                  <a:pt x="53851" y="714"/>
                </a:lnTo>
                <a:lnTo>
                  <a:pt x="50901" y="1257"/>
                </a:lnTo>
                <a:lnTo>
                  <a:pt x="47998" y="1925"/>
                </a:lnTo>
                <a:lnTo>
                  <a:pt x="45142" y="2748"/>
                </a:lnTo>
                <a:lnTo>
                  <a:pt x="42348" y="3695"/>
                </a:lnTo>
                <a:lnTo>
                  <a:pt x="39600" y="4781"/>
                </a:lnTo>
                <a:lnTo>
                  <a:pt x="36915" y="5992"/>
                </a:lnTo>
                <a:lnTo>
                  <a:pt x="34291" y="7327"/>
                </a:lnTo>
                <a:lnTo>
                  <a:pt x="31730" y="8786"/>
                </a:lnTo>
                <a:lnTo>
                  <a:pt x="29246" y="10354"/>
                </a:lnTo>
                <a:lnTo>
                  <a:pt x="26840" y="12031"/>
                </a:lnTo>
                <a:lnTo>
                  <a:pt x="24511" y="13831"/>
                </a:lnTo>
                <a:lnTo>
                  <a:pt x="22261" y="15741"/>
                </a:lnTo>
                <a:lnTo>
                  <a:pt x="20087" y="17743"/>
                </a:lnTo>
                <a:lnTo>
                  <a:pt x="18023" y="19839"/>
                </a:lnTo>
                <a:lnTo>
                  <a:pt x="16036" y="22043"/>
                </a:lnTo>
                <a:lnTo>
                  <a:pt x="14157" y="24325"/>
                </a:lnTo>
                <a:lnTo>
                  <a:pt x="12372" y="26716"/>
                </a:lnTo>
                <a:lnTo>
                  <a:pt x="10696" y="29168"/>
                </a:lnTo>
                <a:lnTo>
                  <a:pt x="9112" y="31714"/>
                </a:lnTo>
                <a:lnTo>
                  <a:pt x="7653" y="34338"/>
                </a:lnTo>
                <a:lnTo>
                  <a:pt x="6318" y="37039"/>
                </a:lnTo>
                <a:lnTo>
                  <a:pt x="5092" y="39802"/>
                </a:lnTo>
                <a:lnTo>
                  <a:pt x="3990" y="42643"/>
                </a:lnTo>
                <a:lnTo>
                  <a:pt x="3012" y="45546"/>
                </a:lnTo>
                <a:lnTo>
                  <a:pt x="2173" y="48495"/>
                </a:lnTo>
                <a:lnTo>
                  <a:pt x="1459" y="51507"/>
                </a:lnTo>
                <a:lnTo>
                  <a:pt x="885" y="54580"/>
                </a:lnTo>
                <a:lnTo>
                  <a:pt x="450" y="57700"/>
                </a:lnTo>
                <a:lnTo>
                  <a:pt x="310" y="59268"/>
                </a:lnTo>
                <a:lnTo>
                  <a:pt x="186" y="60665"/>
                </a:lnTo>
                <a:lnTo>
                  <a:pt x="31" y="63475"/>
                </a:lnTo>
                <a:lnTo>
                  <a:pt x="0" y="66269"/>
                </a:lnTo>
                <a:lnTo>
                  <a:pt x="62" y="69063"/>
                </a:lnTo>
                <a:lnTo>
                  <a:pt x="217" y="71842"/>
                </a:lnTo>
                <a:lnTo>
                  <a:pt x="466" y="74605"/>
                </a:lnTo>
                <a:lnTo>
                  <a:pt x="823" y="77368"/>
                </a:lnTo>
                <a:lnTo>
                  <a:pt x="1257" y="80132"/>
                </a:lnTo>
                <a:lnTo>
                  <a:pt x="1801" y="82864"/>
                </a:lnTo>
                <a:lnTo>
                  <a:pt x="2422" y="85611"/>
                </a:lnTo>
                <a:lnTo>
                  <a:pt x="3120" y="88328"/>
                </a:lnTo>
                <a:lnTo>
                  <a:pt x="3912" y="91045"/>
                </a:lnTo>
                <a:lnTo>
                  <a:pt x="4781" y="93730"/>
                </a:lnTo>
                <a:lnTo>
                  <a:pt x="5728" y="96416"/>
                </a:lnTo>
                <a:lnTo>
                  <a:pt x="7280" y="100436"/>
                </a:lnTo>
                <a:lnTo>
                  <a:pt x="9609" y="105714"/>
                </a:lnTo>
                <a:lnTo>
                  <a:pt x="12201" y="110946"/>
                </a:lnTo>
                <a:lnTo>
                  <a:pt x="15058" y="116099"/>
                </a:lnTo>
                <a:lnTo>
                  <a:pt x="18147" y="121191"/>
                </a:lnTo>
                <a:lnTo>
                  <a:pt x="21438" y="126205"/>
                </a:lnTo>
                <a:lnTo>
                  <a:pt x="24931" y="131126"/>
                </a:lnTo>
                <a:lnTo>
                  <a:pt x="28594" y="135969"/>
                </a:lnTo>
                <a:lnTo>
                  <a:pt x="32413" y="140719"/>
                </a:lnTo>
                <a:lnTo>
                  <a:pt x="36371" y="145392"/>
                </a:lnTo>
                <a:lnTo>
                  <a:pt x="40454" y="149940"/>
                </a:lnTo>
                <a:lnTo>
                  <a:pt x="44630" y="154395"/>
                </a:lnTo>
                <a:lnTo>
                  <a:pt x="48883" y="158742"/>
                </a:lnTo>
                <a:lnTo>
                  <a:pt x="53199" y="162964"/>
                </a:lnTo>
                <a:lnTo>
                  <a:pt x="57545" y="167078"/>
                </a:lnTo>
                <a:lnTo>
                  <a:pt x="61938" y="171068"/>
                </a:lnTo>
                <a:lnTo>
                  <a:pt x="66316" y="174917"/>
                </a:lnTo>
                <a:lnTo>
                  <a:pt x="70678" y="178643"/>
                </a:lnTo>
                <a:lnTo>
                  <a:pt x="75024" y="182229"/>
                </a:lnTo>
                <a:lnTo>
                  <a:pt x="81420" y="187352"/>
                </a:lnTo>
                <a:lnTo>
                  <a:pt x="89663" y="193639"/>
                </a:lnTo>
                <a:lnTo>
                  <a:pt x="97425" y="199274"/>
                </a:lnTo>
                <a:lnTo>
                  <a:pt x="101057" y="201819"/>
                </a:lnTo>
                <a:lnTo>
                  <a:pt x="102454" y="202766"/>
                </a:lnTo>
                <a:lnTo>
                  <a:pt x="105342" y="204458"/>
                </a:lnTo>
                <a:lnTo>
                  <a:pt x="108338" y="205918"/>
                </a:lnTo>
                <a:lnTo>
                  <a:pt x="111396" y="207128"/>
                </a:lnTo>
                <a:lnTo>
                  <a:pt x="114516" y="208091"/>
                </a:lnTo>
                <a:lnTo>
                  <a:pt x="117683" y="208820"/>
                </a:lnTo>
                <a:lnTo>
                  <a:pt x="120896" y="209302"/>
                </a:lnTo>
                <a:lnTo>
                  <a:pt x="124125" y="209550"/>
                </a:lnTo>
                <a:lnTo>
                  <a:pt x="127354" y="209550"/>
                </a:lnTo>
                <a:lnTo>
                  <a:pt x="130583" y="209302"/>
                </a:lnTo>
                <a:lnTo>
                  <a:pt x="133796" y="208820"/>
                </a:lnTo>
                <a:lnTo>
                  <a:pt x="136963" y="208091"/>
                </a:lnTo>
                <a:lnTo>
                  <a:pt x="140098" y="207128"/>
                </a:lnTo>
                <a:lnTo>
                  <a:pt x="143156" y="205918"/>
                </a:lnTo>
                <a:lnTo>
                  <a:pt x="146137" y="204458"/>
                </a:lnTo>
                <a:lnTo>
                  <a:pt x="149024" y="202766"/>
                </a:lnTo>
                <a:lnTo>
                  <a:pt x="150421" y="201819"/>
                </a:lnTo>
                <a:lnTo>
                  <a:pt x="154038" y="199289"/>
                </a:lnTo>
                <a:lnTo>
                  <a:pt x="161769" y="193670"/>
                </a:lnTo>
                <a:lnTo>
                  <a:pt x="169981" y="187414"/>
                </a:lnTo>
                <a:lnTo>
                  <a:pt x="176361" y="182306"/>
                </a:lnTo>
                <a:lnTo>
                  <a:pt x="180676" y="178736"/>
                </a:lnTo>
                <a:lnTo>
                  <a:pt x="185023" y="175042"/>
                </a:lnTo>
                <a:lnTo>
                  <a:pt x="189385" y="171192"/>
                </a:lnTo>
                <a:lnTo>
                  <a:pt x="193763" y="167233"/>
                </a:lnTo>
                <a:lnTo>
                  <a:pt x="198094" y="163151"/>
                </a:lnTo>
                <a:lnTo>
                  <a:pt x="202394" y="158944"/>
                </a:lnTo>
                <a:lnTo>
                  <a:pt x="206647" y="154613"/>
                </a:lnTo>
                <a:lnTo>
                  <a:pt x="210807" y="150189"/>
                </a:lnTo>
                <a:lnTo>
                  <a:pt x="214874" y="145656"/>
                </a:lnTo>
                <a:lnTo>
                  <a:pt x="218817" y="141014"/>
                </a:lnTo>
                <a:lnTo>
                  <a:pt x="222636" y="136280"/>
                </a:lnTo>
                <a:lnTo>
                  <a:pt x="226300" y="131467"/>
                </a:lnTo>
                <a:lnTo>
                  <a:pt x="229792" y="126562"/>
                </a:lnTo>
                <a:lnTo>
                  <a:pt x="233083" y="121579"/>
                </a:lnTo>
                <a:lnTo>
                  <a:pt x="236173" y="116518"/>
                </a:lnTo>
                <a:lnTo>
                  <a:pt x="239044" y="111380"/>
                </a:lnTo>
                <a:lnTo>
                  <a:pt x="241652" y="106180"/>
                </a:lnTo>
                <a:lnTo>
                  <a:pt x="243996" y="100917"/>
                </a:lnTo>
                <a:lnTo>
                  <a:pt x="245564" y="96928"/>
                </a:lnTo>
                <a:lnTo>
                  <a:pt x="246527" y="94258"/>
                </a:lnTo>
                <a:lnTo>
                  <a:pt x="247396" y="91572"/>
                </a:lnTo>
                <a:lnTo>
                  <a:pt x="248203" y="88871"/>
                </a:lnTo>
                <a:lnTo>
                  <a:pt x="248917" y="86155"/>
                </a:lnTo>
                <a:lnTo>
                  <a:pt x="249554" y="83438"/>
                </a:lnTo>
                <a:lnTo>
                  <a:pt x="250112" y="80706"/>
                </a:lnTo>
                <a:lnTo>
                  <a:pt x="250563" y="77958"/>
                </a:lnTo>
                <a:lnTo>
                  <a:pt x="250935" y="75211"/>
                </a:lnTo>
                <a:lnTo>
                  <a:pt x="251215" y="72448"/>
                </a:lnTo>
                <a:lnTo>
                  <a:pt x="251385" y="69684"/>
                </a:lnTo>
                <a:lnTo>
                  <a:pt x="251479" y="66906"/>
                </a:lnTo>
                <a:lnTo>
                  <a:pt x="251463" y="64127"/>
                </a:lnTo>
                <a:lnTo>
                  <a:pt x="251339" y="61333"/>
                </a:lnTo>
                <a:lnTo>
                  <a:pt x="251230" y="59936"/>
                </a:lnTo>
                <a:lnTo>
                  <a:pt x="251199" y="59610"/>
                </a:lnTo>
                <a:lnTo>
                  <a:pt x="251184" y="59268"/>
                </a:lnTo>
                <a:lnTo>
                  <a:pt x="250966" y="57235"/>
                </a:lnTo>
                <a:lnTo>
                  <a:pt x="250361" y="53199"/>
                </a:lnTo>
                <a:lnTo>
                  <a:pt x="249507" y="49256"/>
                </a:lnTo>
                <a:lnTo>
                  <a:pt x="248436" y="45421"/>
                </a:lnTo>
                <a:lnTo>
                  <a:pt x="247132" y="41665"/>
                </a:lnTo>
                <a:lnTo>
                  <a:pt x="245626" y="38032"/>
                </a:lnTo>
                <a:lnTo>
                  <a:pt x="243919" y="34508"/>
                </a:lnTo>
                <a:lnTo>
                  <a:pt x="242009" y="31124"/>
                </a:lnTo>
                <a:lnTo>
                  <a:pt x="240969" y="29479"/>
                </a:lnTo>
                <a:lnTo>
                  <a:pt x="240209" y="28299"/>
                </a:lnTo>
                <a:lnTo>
                  <a:pt x="239401" y="27135"/>
                </a:lnTo>
                <a:lnTo>
                  <a:pt x="238594" y="26110"/>
                </a:lnTo>
                <a:lnTo>
                  <a:pt x="237244" y="24667"/>
                </a:lnTo>
                <a:lnTo>
                  <a:pt x="236281" y="23766"/>
                </a:lnTo>
                <a:lnTo>
                  <a:pt x="235784" y="23332"/>
                </a:lnTo>
                <a:lnTo>
                  <a:pt x="234837" y="22571"/>
                </a:lnTo>
                <a:lnTo>
                  <a:pt x="232882" y="21236"/>
                </a:lnTo>
                <a:lnTo>
                  <a:pt x="230832" y="20134"/>
                </a:lnTo>
                <a:lnTo>
                  <a:pt x="228690" y="19233"/>
                </a:lnTo>
                <a:lnTo>
                  <a:pt x="226517" y="18566"/>
                </a:lnTo>
                <a:lnTo>
                  <a:pt x="224297" y="18116"/>
                </a:lnTo>
                <a:lnTo>
                  <a:pt x="222046" y="17883"/>
                </a:lnTo>
                <a:lnTo>
                  <a:pt x="219795" y="17867"/>
                </a:lnTo>
                <a:lnTo>
                  <a:pt x="217544" y="18069"/>
                </a:lnTo>
                <a:lnTo>
                  <a:pt x="215325" y="18473"/>
                </a:lnTo>
                <a:lnTo>
                  <a:pt x="213167" y="19094"/>
                </a:lnTo>
                <a:lnTo>
                  <a:pt x="211056" y="19916"/>
                </a:lnTo>
                <a:lnTo>
                  <a:pt x="209007" y="20957"/>
                </a:lnTo>
                <a:lnTo>
                  <a:pt x="207082" y="22214"/>
                </a:lnTo>
                <a:lnTo>
                  <a:pt x="205250" y="23658"/>
                </a:lnTo>
                <a:lnTo>
                  <a:pt x="203542" y="25319"/>
                </a:lnTo>
                <a:lnTo>
                  <a:pt x="202751" y="26219"/>
                </a:lnTo>
                <a:lnTo>
                  <a:pt x="185504" y="46787"/>
                </a:lnTo>
                <a:lnTo>
                  <a:pt x="141775" y="98899"/>
                </a:lnTo>
                <a:lnTo>
                  <a:pt x="141232" y="99567"/>
                </a:lnTo>
                <a:lnTo>
                  <a:pt x="140285" y="100964"/>
                </a:lnTo>
                <a:lnTo>
                  <a:pt x="139508" y="102439"/>
                </a:lnTo>
                <a:lnTo>
                  <a:pt x="138903" y="103976"/>
                </a:lnTo>
                <a:lnTo>
                  <a:pt x="138468" y="105543"/>
                </a:lnTo>
                <a:lnTo>
                  <a:pt x="138189" y="107142"/>
                </a:lnTo>
                <a:lnTo>
                  <a:pt x="138065" y="108741"/>
                </a:lnTo>
                <a:lnTo>
                  <a:pt x="138111" y="110356"/>
                </a:lnTo>
                <a:lnTo>
                  <a:pt x="138329" y="111955"/>
                </a:lnTo>
                <a:lnTo>
                  <a:pt x="138701" y="113522"/>
                </a:lnTo>
                <a:lnTo>
                  <a:pt x="139229" y="115044"/>
                </a:lnTo>
                <a:lnTo>
                  <a:pt x="139912" y="116518"/>
                </a:lnTo>
                <a:lnTo>
                  <a:pt x="140750" y="117931"/>
                </a:lnTo>
                <a:lnTo>
                  <a:pt x="141759" y="119266"/>
                </a:lnTo>
                <a:lnTo>
                  <a:pt x="142908" y="120492"/>
                </a:lnTo>
                <a:lnTo>
                  <a:pt x="144212" y="121626"/>
                </a:lnTo>
                <a:lnTo>
                  <a:pt x="144926" y="122138"/>
                </a:lnTo>
                <a:lnTo>
                  <a:pt x="145438" y="122479"/>
                </a:lnTo>
                <a:lnTo>
                  <a:pt x="146494" y="123085"/>
                </a:lnTo>
                <a:lnTo>
                  <a:pt x="147581" y="123613"/>
                </a:lnTo>
                <a:lnTo>
                  <a:pt x="148698" y="124063"/>
                </a:lnTo>
                <a:lnTo>
                  <a:pt x="149863" y="124420"/>
                </a:lnTo>
                <a:lnTo>
                  <a:pt x="151042" y="124684"/>
                </a:lnTo>
                <a:lnTo>
                  <a:pt x="152238" y="124854"/>
                </a:lnTo>
                <a:lnTo>
                  <a:pt x="153448" y="124932"/>
                </a:lnTo>
                <a:lnTo>
                  <a:pt x="154069" y="124932"/>
                </a:lnTo>
                <a:lnTo>
                  <a:pt x="154939" y="124901"/>
                </a:lnTo>
                <a:lnTo>
                  <a:pt x="156662" y="124699"/>
                </a:lnTo>
                <a:lnTo>
                  <a:pt x="158338" y="124311"/>
                </a:lnTo>
                <a:lnTo>
                  <a:pt x="159937" y="123752"/>
                </a:lnTo>
                <a:lnTo>
                  <a:pt x="161459" y="123038"/>
                </a:lnTo>
                <a:lnTo>
                  <a:pt x="162902" y="122153"/>
                </a:lnTo>
                <a:lnTo>
                  <a:pt x="164253" y="121113"/>
                </a:lnTo>
                <a:lnTo>
                  <a:pt x="165495" y="119918"/>
                </a:lnTo>
                <a:lnTo>
                  <a:pt x="166053" y="119266"/>
                </a:lnTo>
                <a:lnTo>
                  <a:pt x="210357" y="66471"/>
                </a:lnTo>
                <a:lnTo>
                  <a:pt x="210668" y="66130"/>
                </a:lnTo>
                <a:lnTo>
                  <a:pt x="211366" y="65586"/>
                </a:lnTo>
                <a:lnTo>
                  <a:pt x="212142" y="65183"/>
                </a:lnTo>
                <a:lnTo>
                  <a:pt x="212965" y="64950"/>
                </a:lnTo>
                <a:lnTo>
                  <a:pt x="213819" y="64872"/>
                </a:lnTo>
                <a:lnTo>
                  <a:pt x="214673" y="64965"/>
                </a:lnTo>
                <a:lnTo>
                  <a:pt x="215495" y="65214"/>
                </a:lnTo>
                <a:lnTo>
                  <a:pt x="216272" y="65633"/>
                </a:lnTo>
                <a:lnTo>
                  <a:pt x="216644" y="65928"/>
                </a:lnTo>
                <a:lnTo>
                  <a:pt x="219252" y="68117"/>
                </a:lnTo>
                <a:lnTo>
                  <a:pt x="219578" y="68412"/>
                </a:lnTo>
                <a:lnTo>
                  <a:pt x="220137" y="69110"/>
                </a:lnTo>
                <a:lnTo>
                  <a:pt x="220525" y="69886"/>
                </a:lnTo>
                <a:lnTo>
                  <a:pt x="220773" y="70709"/>
                </a:lnTo>
                <a:lnTo>
                  <a:pt x="220835" y="71563"/>
                </a:lnTo>
                <a:lnTo>
                  <a:pt x="220758" y="72417"/>
                </a:lnTo>
                <a:lnTo>
                  <a:pt x="220494" y="73239"/>
                </a:lnTo>
                <a:lnTo>
                  <a:pt x="220075" y="74031"/>
                </a:lnTo>
                <a:lnTo>
                  <a:pt x="219795" y="74388"/>
                </a:lnTo>
                <a:lnTo>
                  <a:pt x="175492" y="127183"/>
                </a:lnTo>
                <a:lnTo>
                  <a:pt x="174560" y="128239"/>
                </a:lnTo>
                <a:lnTo>
                  <a:pt x="172573" y="130195"/>
                </a:lnTo>
                <a:lnTo>
                  <a:pt x="170431" y="131918"/>
                </a:lnTo>
                <a:lnTo>
                  <a:pt x="168134" y="133423"/>
                </a:lnTo>
                <a:lnTo>
                  <a:pt x="165696" y="134681"/>
                </a:lnTo>
                <a:lnTo>
                  <a:pt x="163151" y="135705"/>
                </a:lnTo>
                <a:lnTo>
                  <a:pt x="160512" y="136481"/>
                </a:lnTo>
                <a:lnTo>
                  <a:pt x="157764" y="136994"/>
                </a:lnTo>
                <a:lnTo>
                  <a:pt x="156367" y="137133"/>
                </a:lnTo>
                <a:lnTo>
                  <a:pt x="155109" y="137227"/>
                </a:lnTo>
                <a:lnTo>
                  <a:pt x="153868" y="137242"/>
                </a:lnTo>
                <a:lnTo>
                  <a:pt x="152626" y="137227"/>
                </a:lnTo>
                <a:lnTo>
                  <a:pt x="150189" y="137009"/>
                </a:lnTo>
                <a:lnTo>
                  <a:pt x="147782" y="136590"/>
                </a:lnTo>
                <a:lnTo>
                  <a:pt x="145438" y="135954"/>
                </a:lnTo>
                <a:lnTo>
                  <a:pt x="143141" y="135131"/>
                </a:lnTo>
                <a:lnTo>
                  <a:pt x="140937" y="134091"/>
                </a:lnTo>
                <a:lnTo>
                  <a:pt x="138810" y="132865"/>
                </a:lnTo>
                <a:lnTo>
                  <a:pt x="136776" y="131436"/>
                </a:lnTo>
                <a:lnTo>
                  <a:pt x="135814" y="130645"/>
                </a:lnTo>
                <a:lnTo>
                  <a:pt x="135255" y="130179"/>
                </a:lnTo>
                <a:lnTo>
                  <a:pt x="134200" y="129201"/>
                </a:lnTo>
                <a:lnTo>
                  <a:pt x="132725" y="127649"/>
                </a:lnTo>
                <a:lnTo>
                  <a:pt x="130986" y="125460"/>
                </a:lnTo>
                <a:lnTo>
                  <a:pt x="129496" y="123131"/>
                </a:lnTo>
                <a:lnTo>
                  <a:pt x="128254" y="120679"/>
                </a:lnTo>
                <a:lnTo>
                  <a:pt x="127245" y="118148"/>
                </a:lnTo>
                <a:lnTo>
                  <a:pt x="126500" y="115540"/>
                </a:lnTo>
                <a:lnTo>
                  <a:pt x="126019" y="112870"/>
                </a:lnTo>
                <a:lnTo>
                  <a:pt x="125786" y="110185"/>
                </a:lnTo>
                <a:lnTo>
                  <a:pt x="125801" y="107468"/>
                </a:lnTo>
                <a:lnTo>
                  <a:pt x="126081" y="104783"/>
                </a:lnTo>
                <a:lnTo>
                  <a:pt x="126624" y="102113"/>
                </a:lnTo>
                <a:lnTo>
                  <a:pt x="127431" y="99489"/>
                </a:lnTo>
                <a:lnTo>
                  <a:pt x="128487" y="96928"/>
                </a:lnTo>
                <a:lnTo>
                  <a:pt x="129822" y="94460"/>
                </a:lnTo>
                <a:lnTo>
                  <a:pt x="131017" y="92690"/>
                </a:lnTo>
                <a:lnTo>
                  <a:pt x="131887" y="91541"/>
                </a:lnTo>
                <a:lnTo>
                  <a:pt x="132337" y="90967"/>
                </a:lnTo>
                <a:lnTo>
                  <a:pt x="157966" y="60432"/>
                </a:lnTo>
                <a:lnTo>
                  <a:pt x="193312" y="18302"/>
                </a:lnTo>
                <a:lnTo>
                  <a:pt x="193856" y="17681"/>
                </a:lnTo>
                <a:lnTo>
                  <a:pt x="194958" y="16470"/>
                </a:lnTo>
                <a:lnTo>
                  <a:pt x="196697" y="14778"/>
                </a:lnTo>
                <a:lnTo>
                  <a:pt x="199149" y="12745"/>
                </a:lnTo>
                <a:lnTo>
                  <a:pt x="201757" y="10960"/>
                </a:lnTo>
                <a:lnTo>
                  <a:pt x="204474" y="9423"/>
                </a:lnTo>
                <a:lnTo>
                  <a:pt x="207299" y="8134"/>
                </a:lnTo>
                <a:lnTo>
                  <a:pt x="210217" y="7110"/>
                </a:lnTo>
                <a:lnTo>
                  <a:pt x="213198" y="6334"/>
                </a:lnTo>
                <a:lnTo>
                  <a:pt x="214704" y="6054"/>
                </a:lnTo>
                <a:lnTo>
                  <a:pt x="213105" y="5309"/>
                </a:lnTo>
                <a:lnTo>
                  <a:pt x="209860" y="3958"/>
                </a:lnTo>
                <a:lnTo>
                  <a:pt x="206523" y="2810"/>
                </a:lnTo>
                <a:lnTo>
                  <a:pt x="203108" y="1832"/>
                </a:lnTo>
                <a:lnTo>
                  <a:pt x="199630" y="1056"/>
                </a:lnTo>
                <a:lnTo>
                  <a:pt x="196091" y="497"/>
                </a:lnTo>
                <a:lnTo>
                  <a:pt x="192505" y="140"/>
                </a:lnTo>
                <a:lnTo>
                  <a:pt x="188857" y="0"/>
                </a:lnTo>
                <a:lnTo>
                  <a:pt x="187010" y="16"/>
                </a:lnTo>
                <a:lnTo>
                  <a:pt x="185737" y="47"/>
                </a:lnTo>
                <a:lnTo>
                  <a:pt x="183222" y="202"/>
                </a:lnTo>
                <a:lnTo>
                  <a:pt x="180723" y="450"/>
                </a:lnTo>
                <a:lnTo>
                  <a:pt x="178255" y="776"/>
                </a:lnTo>
                <a:lnTo>
                  <a:pt x="175802" y="1195"/>
                </a:lnTo>
                <a:lnTo>
                  <a:pt x="173380" y="1708"/>
                </a:lnTo>
                <a:lnTo>
                  <a:pt x="171005" y="2313"/>
                </a:lnTo>
                <a:lnTo>
                  <a:pt x="168646" y="2996"/>
                </a:lnTo>
                <a:lnTo>
                  <a:pt x="166317" y="3757"/>
                </a:lnTo>
                <a:lnTo>
                  <a:pt x="164035" y="4610"/>
                </a:lnTo>
                <a:lnTo>
                  <a:pt x="161800" y="5542"/>
                </a:lnTo>
                <a:lnTo>
                  <a:pt x="159596" y="6551"/>
                </a:lnTo>
                <a:lnTo>
                  <a:pt x="157422" y="7638"/>
                </a:lnTo>
                <a:lnTo>
                  <a:pt x="155311" y="8786"/>
                </a:lnTo>
                <a:lnTo>
                  <a:pt x="153247" y="10028"/>
                </a:lnTo>
                <a:lnTo>
                  <a:pt x="151213" y="11332"/>
                </a:lnTo>
                <a:lnTo>
                  <a:pt x="149257" y="12714"/>
                </a:lnTo>
                <a:lnTo>
                  <a:pt x="147332" y="14157"/>
                </a:lnTo>
                <a:lnTo>
                  <a:pt x="145469" y="15679"/>
                </a:lnTo>
                <a:lnTo>
                  <a:pt x="143669" y="17262"/>
                </a:lnTo>
                <a:lnTo>
                  <a:pt x="141930" y="18907"/>
                </a:lnTo>
                <a:lnTo>
                  <a:pt x="140254" y="20615"/>
                </a:lnTo>
                <a:lnTo>
                  <a:pt x="138624" y="22385"/>
                </a:lnTo>
                <a:lnTo>
                  <a:pt x="137071" y="24216"/>
                </a:lnTo>
                <a:lnTo>
                  <a:pt x="135597" y="26095"/>
                </a:lnTo>
                <a:lnTo>
                  <a:pt x="134184" y="28035"/>
                </a:lnTo>
                <a:lnTo>
                  <a:pt x="132833" y="30038"/>
                </a:lnTo>
                <a:lnTo>
                  <a:pt x="131561" y="32102"/>
                </a:lnTo>
                <a:lnTo>
                  <a:pt x="130381" y="34198"/>
                </a:lnTo>
                <a:lnTo>
                  <a:pt x="129263" y="36356"/>
                </a:lnTo>
                <a:lnTo>
                  <a:pt x="128223" y="38560"/>
                </a:lnTo>
                <a:lnTo>
                  <a:pt x="127276" y="40826"/>
                </a:lnTo>
                <a:lnTo>
                  <a:pt x="126841" y="41960"/>
                </a:lnTo>
                <a:lnTo>
                  <a:pt x="126717" y="42270"/>
                </a:lnTo>
                <a:lnTo>
                  <a:pt x="126469" y="42720"/>
                </a:lnTo>
                <a:lnTo>
                  <a:pt x="126205" y="42969"/>
                </a:lnTo>
                <a:lnTo>
                  <a:pt x="125910" y="43062"/>
                </a:lnTo>
                <a:lnTo>
                  <a:pt x="125739" y="43077"/>
                </a:lnTo>
                <a:lnTo>
                  <a:pt x="125569" y="43062"/>
                </a:lnTo>
                <a:lnTo>
                  <a:pt x="125274" y="42969"/>
                </a:lnTo>
                <a:lnTo>
                  <a:pt x="125010" y="42720"/>
                </a:lnTo>
                <a:lnTo>
                  <a:pt x="124761" y="42270"/>
                </a:lnTo>
                <a:lnTo>
                  <a:pt x="124637" y="41960"/>
                </a:lnTo>
                <a:lnTo>
                  <a:pt x="124202" y="40826"/>
                </a:lnTo>
                <a:lnTo>
                  <a:pt x="123256" y="38560"/>
                </a:lnTo>
                <a:lnTo>
                  <a:pt x="122215" y="36356"/>
                </a:lnTo>
                <a:lnTo>
                  <a:pt x="121098" y="34198"/>
                </a:lnTo>
                <a:lnTo>
                  <a:pt x="119918" y="32102"/>
                </a:lnTo>
                <a:lnTo>
                  <a:pt x="118645" y="30038"/>
                </a:lnTo>
                <a:lnTo>
                  <a:pt x="117295" y="28035"/>
                </a:lnTo>
                <a:lnTo>
                  <a:pt x="115882" y="26095"/>
                </a:lnTo>
                <a:lnTo>
                  <a:pt x="114407" y="24216"/>
                </a:lnTo>
                <a:lnTo>
                  <a:pt x="112855" y="22385"/>
                </a:lnTo>
                <a:lnTo>
                  <a:pt x="111225" y="20615"/>
                </a:lnTo>
                <a:lnTo>
                  <a:pt x="109548" y="18907"/>
                </a:lnTo>
                <a:lnTo>
                  <a:pt x="107810" y="17262"/>
                </a:lnTo>
                <a:lnTo>
                  <a:pt x="106009" y="15679"/>
                </a:lnTo>
                <a:lnTo>
                  <a:pt x="104146" y="14157"/>
                </a:lnTo>
                <a:lnTo>
                  <a:pt x="102221" y="12714"/>
                </a:lnTo>
                <a:lnTo>
                  <a:pt x="100265" y="11332"/>
                </a:lnTo>
                <a:lnTo>
                  <a:pt x="98232" y="10028"/>
                </a:lnTo>
                <a:lnTo>
                  <a:pt x="96167" y="8786"/>
                </a:lnTo>
                <a:lnTo>
                  <a:pt x="94056" y="7638"/>
                </a:lnTo>
                <a:lnTo>
                  <a:pt x="91883" y="6551"/>
                </a:lnTo>
                <a:lnTo>
                  <a:pt x="89678" y="5542"/>
                </a:lnTo>
                <a:lnTo>
                  <a:pt x="87443" y="4610"/>
                </a:lnTo>
                <a:lnTo>
                  <a:pt x="85161" y="3757"/>
                </a:lnTo>
                <a:lnTo>
                  <a:pt x="82833" y="2996"/>
                </a:lnTo>
                <a:lnTo>
                  <a:pt x="80473" y="2313"/>
                </a:lnTo>
                <a:lnTo>
                  <a:pt x="78098" y="1708"/>
                </a:lnTo>
                <a:lnTo>
                  <a:pt x="75676" y="1195"/>
                </a:lnTo>
                <a:lnTo>
                  <a:pt x="73224" y="776"/>
                </a:lnTo>
                <a:lnTo>
                  <a:pt x="70756" y="450"/>
                </a:lnTo>
                <a:lnTo>
                  <a:pt x="68256" y="202"/>
                </a:lnTo>
                <a:lnTo>
                  <a:pt x="65741" y="47"/>
                </a:lnTo>
                <a:lnTo>
                  <a:pt x="64469" y="16"/>
                </a:lnTo>
                <a:lnTo>
                  <a:pt x="62932" y="0"/>
                </a:lnTo>
                <a:close/>
              </a:path>
            </a:pathLst>
          </a:custGeom>
          <a:solidFill>
            <a:srgbClr val="F7224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330274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A7B17"/>
          </p15:clr>
        </p15:guide>
        <p15:guide id="2" pos="3840">
          <p15:clr>
            <a:srgbClr val="FA7B17"/>
          </p15:clr>
        </p15:guide>
        <p15:guide id="3" pos="3621">
          <p15:clr>
            <a:srgbClr val="FA7B17"/>
          </p15:clr>
        </p15:guide>
        <p15:guide id="4" pos="4059">
          <p15:clr>
            <a:srgbClr val="FA7B17"/>
          </p15:clr>
        </p15:guide>
        <p15:guide id="5" pos="262">
          <p15:clr>
            <a:srgbClr val="FA7B17"/>
          </p15:clr>
        </p15:guide>
        <p15:guide id="6" pos="7418">
          <p15:clr>
            <a:srgbClr val="FA7B17"/>
          </p15:clr>
        </p15:guide>
        <p15:guide id="7" orient="horz" pos="929">
          <p15:clr>
            <a:srgbClr val="FA7B17"/>
          </p15:clr>
        </p15:guide>
        <p15:guide id="8" orient="horz" pos="1071">
          <p15:clr>
            <a:srgbClr val="FA7B17"/>
          </p15:clr>
        </p15:guide>
        <p15:guide id="9" orient="horz" pos="1234">
          <p15:clr>
            <a:srgbClr val="FA7B17"/>
          </p15:clr>
        </p15:guide>
        <p15:guide id="10" orient="horz" pos="3837">
          <p15:clr>
            <a:srgbClr val="FA7B17"/>
          </p15:clr>
        </p15:guide>
        <p15:guide id="11" orient="horz" pos="313">
          <p15:clr>
            <a:srgbClr val="FA7B17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images 2">
  <p:cSld name="Title and two columns images 2">
    <p:bg>
      <p:bgPr>
        <a:solidFill>
          <a:schemeClr val="lt1"/>
        </a:solidFill>
        <a:effectLst/>
      </p:bgPr>
    </p:bg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p15"/>
          <p:cNvSpPr txBox="1">
            <a:spLocks noGrp="1"/>
          </p:cNvSpPr>
          <p:nvPr>
            <p:ph type="sldNum" idx="12"/>
          </p:nvPr>
        </p:nvSpPr>
        <p:spPr>
          <a:xfrm>
            <a:off x="11044810" y="6091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49" name="Google Shape;249;p15"/>
          <p:cNvSpPr>
            <a:spLocks noGrp="1"/>
          </p:cNvSpPr>
          <p:nvPr>
            <p:ph type="pic" idx="2"/>
          </p:nvPr>
        </p:nvSpPr>
        <p:spPr>
          <a:xfrm>
            <a:off x="6443133" y="1700767"/>
            <a:ext cx="5333100" cy="4133100"/>
          </a:xfrm>
          <a:prstGeom prst="rect">
            <a:avLst/>
          </a:prstGeom>
          <a:noFill/>
          <a:ln>
            <a:noFill/>
          </a:ln>
        </p:spPr>
      </p:sp>
      <p:sp>
        <p:nvSpPr>
          <p:cNvPr id="250" name="Google Shape;250;p15"/>
          <p:cNvSpPr>
            <a:spLocks noGrp="1"/>
          </p:cNvSpPr>
          <p:nvPr>
            <p:ph type="pic" idx="3"/>
          </p:nvPr>
        </p:nvSpPr>
        <p:spPr>
          <a:xfrm>
            <a:off x="415667" y="1700767"/>
            <a:ext cx="5333100" cy="4133100"/>
          </a:xfrm>
          <a:prstGeom prst="rect">
            <a:avLst/>
          </a:prstGeom>
          <a:noFill/>
          <a:ln>
            <a:noFill/>
          </a:ln>
        </p:spPr>
      </p:sp>
      <p:sp>
        <p:nvSpPr>
          <p:cNvPr id="251" name="Google Shape;251;p15"/>
          <p:cNvSpPr/>
          <p:nvPr/>
        </p:nvSpPr>
        <p:spPr>
          <a:xfrm rot="10800000">
            <a:off x="3833" y="67"/>
            <a:ext cx="11147700" cy="10329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2" name="Google Shape;252;p15"/>
          <p:cNvSpPr/>
          <p:nvPr/>
        </p:nvSpPr>
        <p:spPr>
          <a:xfrm>
            <a:off x="-23600" y="0"/>
            <a:ext cx="1266300" cy="10329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3" name="Google Shape;253;p15"/>
          <p:cNvSpPr txBox="1">
            <a:spLocks noGrp="1"/>
          </p:cNvSpPr>
          <p:nvPr>
            <p:ph type="title"/>
          </p:nvPr>
        </p:nvSpPr>
        <p:spPr>
          <a:xfrm>
            <a:off x="415600" y="398067"/>
            <a:ext cx="101241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1pPr>
            <a:lvl2pPr lvl="1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2pPr>
            <a:lvl3pPr lvl="2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3pPr>
            <a:lvl4pPr lvl="3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4pPr>
            <a:lvl5pPr lvl="4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5pPr>
            <a:lvl6pPr lvl="5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6pPr>
            <a:lvl7pPr lvl="6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7pPr>
            <a:lvl8pPr lvl="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8pPr>
            <a:lvl9pPr lvl="8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254" name="Google Shape;254;p15"/>
          <p:cNvSpPr txBox="1">
            <a:spLocks noGrp="1"/>
          </p:cNvSpPr>
          <p:nvPr>
            <p:ph type="title" idx="4"/>
          </p:nvPr>
        </p:nvSpPr>
        <p:spPr>
          <a:xfrm>
            <a:off x="415600" y="1226067"/>
            <a:ext cx="11360700" cy="393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00"/>
              <a:buFont typeface="Lato"/>
              <a:buNone/>
              <a:defRPr sz="19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255" name="Google Shape;255;p15"/>
          <p:cNvSpPr/>
          <p:nvPr/>
        </p:nvSpPr>
        <p:spPr>
          <a:xfrm>
            <a:off x="11525533" y="364133"/>
            <a:ext cx="365273" cy="304371"/>
          </a:xfrm>
          <a:custGeom>
            <a:avLst/>
            <a:gdLst/>
            <a:ahLst/>
            <a:cxnLst/>
            <a:rect l="l" t="t" r="r" b="b"/>
            <a:pathLst>
              <a:path w="251479" h="209550" extrusionOk="0">
                <a:moveTo>
                  <a:pt x="62932" y="0"/>
                </a:moveTo>
                <a:lnTo>
                  <a:pt x="59858" y="78"/>
                </a:lnTo>
                <a:lnTo>
                  <a:pt x="56847" y="326"/>
                </a:lnTo>
                <a:lnTo>
                  <a:pt x="53851" y="714"/>
                </a:lnTo>
                <a:lnTo>
                  <a:pt x="50901" y="1257"/>
                </a:lnTo>
                <a:lnTo>
                  <a:pt x="47998" y="1925"/>
                </a:lnTo>
                <a:lnTo>
                  <a:pt x="45142" y="2748"/>
                </a:lnTo>
                <a:lnTo>
                  <a:pt x="42348" y="3695"/>
                </a:lnTo>
                <a:lnTo>
                  <a:pt x="39600" y="4781"/>
                </a:lnTo>
                <a:lnTo>
                  <a:pt x="36915" y="5992"/>
                </a:lnTo>
                <a:lnTo>
                  <a:pt x="34291" y="7327"/>
                </a:lnTo>
                <a:lnTo>
                  <a:pt x="31730" y="8786"/>
                </a:lnTo>
                <a:lnTo>
                  <a:pt x="29246" y="10354"/>
                </a:lnTo>
                <a:lnTo>
                  <a:pt x="26840" y="12031"/>
                </a:lnTo>
                <a:lnTo>
                  <a:pt x="24511" y="13831"/>
                </a:lnTo>
                <a:lnTo>
                  <a:pt x="22261" y="15741"/>
                </a:lnTo>
                <a:lnTo>
                  <a:pt x="20087" y="17743"/>
                </a:lnTo>
                <a:lnTo>
                  <a:pt x="18023" y="19839"/>
                </a:lnTo>
                <a:lnTo>
                  <a:pt x="16036" y="22043"/>
                </a:lnTo>
                <a:lnTo>
                  <a:pt x="14157" y="24325"/>
                </a:lnTo>
                <a:lnTo>
                  <a:pt x="12372" y="26716"/>
                </a:lnTo>
                <a:lnTo>
                  <a:pt x="10696" y="29168"/>
                </a:lnTo>
                <a:lnTo>
                  <a:pt x="9112" y="31714"/>
                </a:lnTo>
                <a:lnTo>
                  <a:pt x="7653" y="34338"/>
                </a:lnTo>
                <a:lnTo>
                  <a:pt x="6318" y="37039"/>
                </a:lnTo>
                <a:lnTo>
                  <a:pt x="5092" y="39802"/>
                </a:lnTo>
                <a:lnTo>
                  <a:pt x="3990" y="42643"/>
                </a:lnTo>
                <a:lnTo>
                  <a:pt x="3012" y="45546"/>
                </a:lnTo>
                <a:lnTo>
                  <a:pt x="2173" y="48495"/>
                </a:lnTo>
                <a:lnTo>
                  <a:pt x="1459" y="51507"/>
                </a:lnTo>
                <a:lnTo>
                  <a:pt x="885" y="54580"/>
                </a:lnTo>
                <a:lnTo>
                  <a:pt x="450" y="57700"/>
                </a:lnTo>
                <a:lnTo>
                  <a:pt x="310" y="59268"/>
                </a:lnTo>
                <a:lnTo>
                  <a:pt x="186" y="60665"/>
                </a:lnTo>
                <a:lnTo>
                  <a:pt x="31" y="63475"/>
                </a:lnTo>
                <a:lnTo>
                  <a:pt x="0" y="66269"/>
                </a:lnTo>
                <a:lnTo>
                  <a:pt x="62" y="69063"/>
                </a:lnTo>
                <a:lnTo>
                  <a:pt x="217" y="71842"/>
                </a:lnTo>
                <a:lnTo>
                  <a:pt x="466" y="74605"/>
                </a:lnTo>
                <a:lnTo>
                  <a:pt x="823" y="77368"/>
                </a:lnTo>
                <a:lnTo>
                  <a:pt x="1257" y="80132"/>
                </a:lnTo>
                <a:lnTo>
                  <a:pt x="1801" y="82864"/>
                </a:lnTo>
                <a:lnTo>
                  <a:pt x="2422" y="85611"/>
                </a:lnTo>
                <a:lnTo>
                  <a:pt x="3120" y="88328"/>
                </a:lnTo>
                <a:lnTo>
                  <a:pt x="3912" y="91045"/>
                </a:lnTo>
                <a:lnTo>
                  <a:pt x="4781" y="93730"/>
                </a:lnTo>
                <a:lnTo>
                  <a:pt x="5728" y="96416"/>
                </a:lnTo>
                <a:lnTo>
                  <a:pt x="7280" y="100436"/>
                </a:lnTo>
                <a:lnTo>
                  <a:pt x="9609" y="105714"/>
                </a:lnTo>
                <a:lnTo>
                  <a:pt x="12201" y="110946"/>
                </a:lnTo>
                <a:lnTo>
                  <a:pt x="15058" y="116099"/>
                </a:lnTo>
                <a:lnTo>
                  <a:pt x="18147" y="121191"/>
                </a:lnTo>
                <a:lnTo>
                  <a:pt x="21438" y="126205"/>
                </a:lnTo>
                <a:lnTo>
                  <a:pt x="24931" y="131126"/>
                </a:lnTo>
                <a:lnTo>
                  <a:pt x="28594" y="135969"/>
                </a:lnTo>
                <a:lnTo>
                  <a:pt x="32413" y="140719"/>
                </a:lnTo>
                <a:lnTo>
                  <a:pt x="36371" y="145392"/>
                </a:lnTo>
                <a:lnTo>
                  <a:pt x="40454" y="149940"/>
                </a:lnTo>
                <a:lnTo>
                  <a:pt x="44630" y="154395"/>
                </a:lnTo>
                <a:lnTo>
                  <a:pt x="48883" y="158742"/>
                </a:lnTo>
                <a:lnTo>
                  <a:pt x="53199" y="162964"/>
                </a:lnTo>
                <a:lnTo>
                  <a:pt x="57545" y="167078"/>
                </a:lnTo>
                <a:lnTo>
                  <a:pt x="61938" y="171068"/>
                </a:lnTo>
                <a:lnTo>
                  <a:pt x="66316" y="174917"/>
                </a:lnTo>
                <a:lnTo>
                  <a:pt x="70678" y="178643"/>
                </a:lnTo>
                <a:lnTo>
                  <a:pt x="75024" y="182229"/>
                </a:lnTo>
                <a:lnTo>
                  <a:pt x="81420" y="187352"/>
                </a:lnTo>
                <a:lnTo>
                  <a:pt x="89663" y="193639"/>
                </a:lnTo>
                <a:lnTo>
                  <a:pt x="97425" y="199274"/>
                </a:lnTo>
                <a:lnTo>
                  <a:pt x="101057" y="201819"/>
                </a:lnTo>
                <a:lnTo>
                  <a:pt x="102454" y="202766"/>
                </a:lnTo>
                <a:lnTo>
                  <a:pt x="105342" y="204458"/>
                </a:lnTo>
                <a:lnTo>
                  <a:pt x="108338" y="205918"/>
                </a:lnTo>
                <a:lnTo>
                  <a:pt x="111396" y="207128"/>
                </a:lnTo>
                <a:lnTo>
                  <a:pt x="114516" y="208091"/>
                </a:lnTo>
                <a:lnTo>
                  <a:pt x="117683" y="208820"/>
                </a:lnTo>
                <a:lnTo>
                  <a:pt x="120896" y="209302"/>
                </a:lnTo>
                <a:lnTo>
                  <a:pt x="124125" y="209550"/>
                </a:lnTo>
                <a:lnTo>
                  <a:pt x="127354" y="209550"/>
                </a:lnTo>
                <a:lnTo>
                  <a:pt x="130583" y="209302"/>
                </a:lnTo>
                <a:lnTo>
                  <a:pt x="133796" y="208820"/>
                </a:lnTo>
                <a:lnTo>
                  <a:pt x="136963" y="208091"/>
                </a:lnTo>
                <a:lnTo>
                  <a:pt x="140098" y="207128"/>
                </a:lnTo>
                <a:lnTo>
                  <a:pt x="143156" y="205918"/>
                </a:lnTo>
                <a:lnTo>
                  <a:pt x="146137" y="204458"/>
                </a:lnTo>
                <a:lnTo>
                  <a:pt x="149024" y="202766"/>
                </a:lnTo>
                <a:lnTo>
                  <a:pt x="150421" y="201819"/>
                </a:lnTo>
                <a:lnTo>
                  <a:pt x="154038" y="199289"/>
                </a:lnTo>
                <a:lnTo>
                  <a:pt x="161769" y="193670"/>
                </a:lnTo>
                <a:lnTo>
                  <a:pt x="169981" y="187414"/>
                </a:lnTo>
                <a:lnTo>
                  <a:pt x="176361" y="182306"/>
                </a:lnTo>
                <a:lnTo>
                  <a:pt x="180676" y="178736"/>
                </a:lnTo>
                <a:lnTo>
                  <a:pt x="185023" y="175042"/>
                </a:lnTo>
                <a:lnTo>
                  <a:pt x="189385" y="171192"/>
                </a:lnTo>
                <a:lnTo>
                  <a:pt x="193763" y="167233"/>
                </a:lnTo>
                <a:lnTo>
                  <a:pt x="198094" y="163151"/>
                </a:lnTo>
                <a:lnTo>
                  <a:pt x="202394" y="158944"/>
                </a:lnTo>
                <a:lnTo>
                  <a:pt x="206647" y="154613"/>
                </a:lnTo>
                <a:lnTo>
                  <a:pt x="210807" y="150189"/>
                </a:lnTo>
                <a:lnTo>
                  <a:pt x="214874" y="145656"/>
                </a:lnTo>
                <a:lnTo>
                  <a:pt x="218817" y="141014"/>
                </a:lnTo>
                <a:lnTo>
                  <a:pt x="222636" y="136280"/>
                </a:lnTo>
                <a:lnTo>
                  <a:pt x="226300" y="131467"/>
                </a:lnTo>
                <a:lnTo>
                  <a:pt x="229792" y="126562"/>
                </a:lnTo>
                <a:lnTo>
                  <a:pt x="233083" y="121579"/>
                </a:lnTo>
                <a:lnTo>
                  <a:pt x="236173" y="116518"/>
                </a:lnTo>
                <a:lnTo>
                  <a:pt x="239044" y="111380"/>
                </a:lnTo>
                <a:lnTo>
                  <a:pt x="241652" y="106180"/>
                </a:lnTo>
                <a:lnTo>
                  <a:pt x="243996" y="100917"/>
                </a:lnTo>
                <a:lnTo>
                  <a:pt x="245564" y="96928"/>
                </a:lnTo>
                <a:lnTo>
                  <a:pt x="246527" y="94258"/>
                </a:lnTo>
                <a:lnTo>
                  <a:pt x="247396" y="91572"/>
                </a:lnTo>
                <a:lnTo>
                  <a:pt x="248203" y="88871"/>
                </a:lnTo>
                <a:lnTo>
                  <a:pt x="248917" y="86155"/>
                </a:lnTo>
                <a:lnTo>
                  <a:pt x="249554" y="83438"/>
                </a:lnTo>
                <a:lnTo>
                  <a:pt x="250112" y="80706"/>
                </a:lnTo>
                <a:lnTo>
                  <a:pt x="250563" y="77958"/>
                </a:lnTo>
                <a:lnTo>
                  <a:pt x="250935" y="75211"/>
                </a:lnTo>
                <a:lnTo>
                  <a:pt x="251215" y="72448"/>
                </a:lnTo>
                <a:lnTo>
                  <a:pt x="251385" y="69684"/>
                </a:lnTo>
                <a:lnTo>
                  <a:pt x="251479" y="66906"/>
                </a:lnTo>
                <a:lnTo>
                  <a:pt x="251463" y="64127"/>
                </a:lnTo>
                <a:lnTo>
                  <a:pt x="251339" y="61333"/>
                </a:lnTo>
                <a:lnTo>
                  <a:pt x="251230" y="59936"/>
                </a:lnTo>
                <a:lnTo>
                  <a:pt x="251199" y="59610"/>
                </a:lnTo>
                <a:lnTo>
                  <a:pt x="251184" y="59268"/>
                </a:lnTo>
                <a:lnTo>
                  <a:pt x="250966" y="57235"/>
                </a:lnTo>
                <a:lnTo>
                  <a:pt x="250361" y="53199"/>
                </a:lnTo>
                <a:lnTo>
                  <a:pt x="249507" y="49256"/>
                </a:lnTo>
                <a:lnTo>
                  <a:pt x="248436" y="45421"/>
                </a:lnTo>
                <a:lnTo>
                  <a:pt x="247132" y="41665"/>
                </a:lnTo>
                <a:lnTo>
                  <a:pt x="245626" y="38032"/>
                </a:lnTo>
                <a:lnTo>
                  <a:pt x="243919" y="34508"/>
                </a:lnTo>
                <a:lnTo>
                  <a:pt x="242009" y="31124"/>
                </a:lnTo>
                <a:lnTo>
                  <a:pt x="240969" y="29479"/>
                </a:lnTo>
                <a:lnTo>
                  <a:pt x="240209" y="28299"/>
                </a:lnTo>
                <a:lnTo>
                  <a:pt x="239401" y="27135"/>
                </a:lnTo>
                <a:lnTo>
                  <a:pt x="238594" y="26110"/>
                </a:lnTo>
                <a:lnTo>
                  <a:pt x="237244" y="24667"/>
                </a:lnTo>
                <a:lnTo>
                  <a:pt x="236281" y="23766"/>
                </a:lnTo>
                <a:lnTo>
                  <a:pt x="235784" y="23332"/>
                </a:lnTo>
                <a:lnTo>
                  <a:pt x="234837" y="22571"/>
                </a:lnTo>
                <a:lnTo>
                  <a:pt x="232882" y="21236"/>
                </a:lnTo>
                <a:lnTo>
                  <a:pt x="230832" y="20134"/>
                </a:lnTo>
                <a:lnTo>
                  <a:pt x="228690" y="19233"/>
                </a:lnTo>
                <a:lnTo>
                  <a:pt x="226517" y="18566"/>
                </a:lnTo>
                <a:lnTo>
                  <a:pt x="224297" y="18116"/>
                </a:lnTo>
                <a:lnTo>
                  <a:pt x="222046" y="17883"/>
                </a:lnTo>
                <a:lnTo>
                  <a:pt x="219795" y="17867"/>
                </a:lnTo>
                <a:lnTo>
                  <a:pt x="217544" y="18069"/>
                </a:lnTo>
                <a:lnTo>
                  <a:pt x="215325" y="18473"/>
                </a:lnTo>
                <a:lnTo>
                  <a:pt x="213167" y="19094"/>
                </a:lnTo>
                <a:lnTo>
                  <a:pt x="211056" y="19916"/>
                </a:lnTo>
                <a:lnTo>
                  <a:pt x="209007" y="20957"/>
                </a:lnTo>
                <a:lnTo>
                  <a:pt x="207082" y="22214"/>
                </a:lnTo>
                <a:lnTo>
                  <a:pt x="205250" y="23658"/>
                </a:lnTo>
                <a:lnTo>
                  <a:pt x="203542" y="25319"/>
                </a:lnTo>
                <a:lnTo>
                  <a:pt x="202751" y="26219"/>
                </a:lnTo>
                <a:lnTo>
                  <a:pt x="185504" y="46787"/>
                </a:lnTo>
                <a:lnTo>
                  <a:pt x="141775" y="98899"/>
                </a:lnTo>
                <a:lnTo>
                  <a:pt x="141232" y="99567"/>
                </a:lnTo>
                <a:lnTo>
                  <a:pt x="140285" y="100964"/>
                </a:lnTo>
                <a:lnTo>
                  <a:pt x="139508" y="102439"/>
                </a:lnTo>
                <a:lnTo>
                  <a:pt x="138903" y="103976"/>
                </a:lnTo>
                <a:lnTo>
                  <a:pt x="138468" y="105543"/>
                </a:lnTo>
                <a:lnTo>
                  <a:pt x="138189" y="107142"/>
                </a:lnTo>
                <a:lnTo>
                  <a:pt x="138065" y="108741"/>
                </a:lnTo>
                <a:lnTo>
                  <a:pt x="138111" y="110356"/>
                </a:lnTo>
                <a:lnTo>
                  <a:pt x="138329" y="111955"/>
                </a:lnTo>
                <a:lnTo>
                  <a:pt x="138701" y="113522"/>
                </a:lnTo>
                <a:lnTo>
                  <a:pt x="139229" y="115044"/>
                </a:lnTo>
                <a:lnTo>
                  <a:pt x="139912" y="116518"/>
                </a:lnTo>
                <a:lnTo>
                  <a:pt x="140750" y="117931"/>
                </a:lnTo>
                <a:lnTo>
                  <a:pt x="141759" y="119266"/>
                </a:lnTo>
                <a:lnTo>
                  <a:pt x="142908" y="120492"/>
                </a:lnTo>
                <a:lnTo>
                  <a:pt x="144212" y="121626"/>
                </a:lnTo>
                <a:lnTo>
                  <a:pt x="144926" y="122138"/>
                </a:lnTo>
                <a:lnTo>
                  <a:pt x="145438" y="122479"/>
                </a:lnTo>
                <a:lnTo>
                  <a:pt x="146494" y="123085"/>
                </a:lnTo>
                <a:lnTo>
                  <a:pt x="147581" y="123613"/>
                </a:lnTo>
                <a:lnTo>
                  <a:pt x="148698" y="124063"/>
                </a:lnTo>
                <a:lnTo>
                  <a:pt x="149863" y="124420"/>
                </a:lnTo>
                <a:lnTo>
                  <a:pt x="151042" y="124684"/>
                </a:lnTo>
                <a:lnTo>
                  <a:pt x="152238" y="124854"/>
                </a:lnTo>
                <a:lnTo>
                  <a:pt x="153448" y="124932"/>
                </a:lnTo>
                <a:lnTo>
                  <a:pt x="154069" y="124932"/>
                </a:lnTo>
                <a:lnTo>
                  <a:pt x="154939" y="124901"/>
                </a:lnTo>
                <a:lnTo>
                  <a:pt x="156662" y="124699"/>
                </a:lnTo>
                <a:lnTo>
                  <a:pt x="158338" y="124311"/>
                </a:lnTo>
                <a:lnTo>
                  <a:pt x="159937" y="123752"/>
                </a:lnTo>
                <a:lnTo>
                  <a:pt x="161459" y="123038"/>
                </a:lnTo>
                <a:lnTo>
                  <a:pt x="162902" y="122153"/>
                </a:lnTo>
                <a:lnTo>
                  <a:pt x="164253" y="121113"/>
                </a:lnTo>
                <a:lnTo>
                  <a:pt x="165495" y="119918"/>
                </a:lnTo>
                <a:lnTo>
                  <a:pt x="166053" y="119266"/>
                </a:lnTo>
                <a:lnTo>
                  <a:pt x="210357" y="66471"/>
                </a:lnTo>
                <a:lnTo>
                  <a:pt x="210668" y="66130"/>
                </a:lnTo>
                <a:lnTo>
                  <a:pt x="211366" y="65586"/>
                </a:lnTo>
                <a:lnTo>
                  <a:pt x="212142" y="65183"/>
                </a:lnTo>
                <a:lnTo>
                  <a:pt x="212965" y="64950"/>
                </a:lnTo>
                <a:lnTo>
                  <a:pt x="213819" y="64872"/>
                </a:lnTo>
                <a:lnTo>
                  <a:pt x="214673" y="64965"/>
                </a:lnTo>
                <a:lnTo>
                  <a:pt x="215495" y="65214"/>
                </a:lnTo>
                <a:lnTo>
                  <a:pt x="216272" y="65633"/>
                </a:lnTo>
                <a:lnTo>
                  <a:pt x="216644" y="65928"/>
                </a:lnTo>
                <a:lnTo>
                  <a:pt x="219252" y="68117"/>
                </a:lnTo>
                <a:lnTo>
                  <a:pt x="219578" y="68412"/>
                </a:lnTo>
                <a:lnTo>
                  <a:pt x="220137" y="69110"/>
                </a:lnTo>
                <a:lnTo>
                  <a:pt x="220525" y="69886"/>
                </a:lnTo>
                <a:lnTo>
                  <a:pt x="220773" y="70709"/>
                </a:lnTo>
                <a:lnTo>
                  <a:pt x="220835" y="71563"/>
                </a:lnTo>
                <a:lnTo>
                  <a:pt x="220758" y="72417"/>
                </a:lnTo>
                <a:lnTo>
                  <a:pt x="220494" y="73239"/>
                </a:lnTo>
                <a:lnTo>
                  <a:pt x="220075" y="74031"/>
                </a:lnTo>
                <a:lnTo>
                  <a:pt x="219795" y="74388"/>
                </a:lnTo>
                <a:lnTo>
                  <a:pt x="175492" y="127183"/>
                </a:lnTo>
                <a:lnTo>
                  <a:pt x="174560" y="128239"/>
                </a:lnTo>
                <a:lnTo>
                  <a:pt x="172573" y="130195"/>
                </a:lnTo>
                <a:lnTo>
                  <a:pt x="170431" y="131918"/>
                </a:lnTo>
                <a:lnTo>
                  <a:pt x="168134" y="133423"/>
                </a:lnTo>
                <a:lnTo>
                  <a:pt x="165696" y="134681"/>
                </a:lnTo>
                <a:lnTo>
                  <a:pt x="163151" y="135705"/>
                </a:lnTo>
                <a:lnTo>
                  <a:pt x="160512" y="136481"/>
                </a:lnTo>
                <a:lnTo>
                  <a:pt x="157764" y="136994"/>
                </a:lnTo>
                <a:lnTo>
                  <a:pt x="156367" y="137133"/>
                </a:lnTo>
                <a:lnTo>
                  <a:pt x="155109" y="137227"/>
                </a:lnTo>
                <a:lnTo>
                  <a:pt x="153868" y="137242"/>
                </a:lnTo>
                <a:lnTo>
                  <a:pt x="152626" y="137227"/>
                </a:lnTo>
                <a:lnTo>
                  <a:pt x="150189" y="137009"/>
                </a:lnTo>
                <a:lnTo>
                  <a:pt x="147782" y="136590"/>
                </a:lnTo>
                <a:lnTo>
                  <a:pt x="145438" y="135954"/>
                </a:lnTo>
                <a:lnTo>
                  <a:pt x="143141" y="135131"/>
                </a:lnTo>
                <a:lnTo>
                  <a:pt x="140937" y="134091"/>
                </a:lnTo>
                <a:lnTo>
                  <a:pt x="138810" y="132865"/>
                </a:lnTo>
                <a:lnTo>
                  <a:pt x="136776" y="131436"/>
                </a:lnTo>
                <a:lnTo>
                  <a:pt x="135814" y="130645"/>
                </a:lnTo>
                <a:lnTo>
                  <a:pt x="135255" y="130179"/>
                </a:lnTo>
                <a:lnTo>
                  <a:pt x="134200" y="129201"/>
                </a:lnTo>
                <a:lnTo>
                  <a:pt x="132725" y="127649"/>
                </a:lnTo>
                <a:lnTo>
                  <a:pt x="130986" y="125460"/>
                </a:lnTo>
                <a:lnTo>
                  <a:pt x="129496" y="123131"/>
                </a:lnTo>
                <a:lnTo>
                  <a:pt x="128254" y="120679"/>
                </a:lnTo>
                <a:lnTo>
                  <a:pt x="127245" y="118148"/>
                </a:lnTo>
                <a:lnTo>
                  <a:pt x="126500" y="115540"/>
                </a:lnTo>
                <a:lnTo>
                  <a:pt x="126019" y="112870"/>
                </a:lnTo>
                <a:lnTo>
                  <a:pt x="125786" y="110185"/>
                </a:lnTo>
                <a:lnTo>
                  <a:pt x="125801" y="107468"/>
                </a:lnTo>
                <a:lnTo>
                  <a:pt x="126081" y="104783"/>
                </a:lnTo>
                <a:lnTo>
                  <a:pt x="126624" y="102113"/>
                </a:lnTo>
                <a:lnTo>
                  <a:pt x="127431" y="99489"/>
                </a:lnTo>
                <a:lnTo>
                  <a:pt x="128487" y="96928"/>
                </a:lnTo>
                <a:lnTo>
                  <a:pt x="129822" y="94460"/>
                </a:lnTo>
                <a:lnTo>
                  <a:pt x="131017" y="92690"/>
                </a:lnTo>
                <a:lnTo>
                  <a:pt x="131887" y="91541"/>
                </a:lnTo>
                <a:lnTo>
                  <a:pt x="132337" y="90967"/>
                </a:lnTo>
                <a:lnTo>
                  <a:pt x="157966" y="60432"/>
                </a:lnTo>
                <a:lnTo>
                  <a:pt x="193312" y="18302"/>
                </a:lnTo>
                <a:lnTo>
                  <a:pt x="193856" y="17681"/>
                </a:lnTo>
                <a:lnTo>
                  <a:pt x="194958" y="16470"/>
                </a:lnTo>
                <a:lnTo>
                  <a:pt x="196697" y="14778"/>
                </a:lnTo>
                <a:lnTo>
                  <a:pt x="199149" y="12745"/>
                </a:lnTo>
                <a:lnTo>
                  <a:pt x="201757" y="10960"/>
                </a:lnTo>
                <a:lnTo>
                  <a:pt x="204474" y="9423"/>
                </a:lnTo>
                <a:lnTo>
                  <a:pt x="207299" y="8134"/>
                </a:lnTo>
                <a:lnTo>
                  <a:pt x="210217" y="7110"/>
                </a:lnTo>
                <a:lnTo>
                  <a:pt x="213198" y="6334"/>
                </a:lnTo>
                <a:lnTo>
                  <a:pt x="214704" y="6054"/>
                </a:lnTo>
                <a:lnTo>
                  <a:pt x="213105" y="5309"/>
                </a:lnTo>
                <a:lnTo>
                  <a:pt x="209860" y="3958"/>
                </a:lnTo>
                <a:lnTo>
                  <a:pt x="206523" y="2810"/>
                </a:lnTo>
                <a:lnTo>
                  <a:pt x="203108" y="1832"/>
                </a:lnTo>
                <a:lnTo>
                  <a:pt x="199630" y="1056"/>
                </a:lnTo>
                <a:lnTo>
                  <a:pt x="196091" y="497"/>
                </a:lnTo>
                <a:lnTo>
                  <a:pt x="192505" y="140"/>
                </a:lnTo>
                <a:lnTo>
                  <a:pt x="188857" y="0"/>
                </a:lnTo>
                <a:lnTo>
                  <a:pt x="187010" y="16"/>
                </a:lnTo>
                <a:lnTo>
                  <a:pt x="185737" y="47"/>
                </a:lnTo>
                <a:lnTo>
                  <a:pt x="183222" y="202"/>
                </a:lnTo>
                <a:lnTo>
                  <a:pt x="180723" y="450"/>
                </a:lnTo>
                <a:lnTo>
                  <a:pt x="178255" y="776"/>
                </a:lnTo>
                <a:lnTo>
                  <a:pt x="175802" y="1195"/>
                </a:lnTo>
                <a:lnTo>
                  <a:pt x="173380" y="1708"/>
                </a:lnTo>
                <a:lnTo>
                  <a:pt x="171005" y="2313"/>
                </a:lnTo>
                <a:lnTo>
                  <a:pt x="168646" y="2996"/>
                </a:lnTo>
                <a:lnTo>
                  <a:pt x="166317" y="3757"/>
                </a:lnTo>
                <a:lnTo>
                  <a:pt x="164035" y="4610"/>
                </a:lnTo>
                <a:lnTo>
                  <a:pt x="161800" y="5542"/>
                </a:lnTo>
                <a:lnTo>
                  <a:pt x="159596" y="6551"/>
                </a:lnTo>
                <a:lnTo>
                  <a:pt x="157422" y="7638"/>
                </a:lnTo>
                <a:lnTo>
                  <a:pt x="155311" y="8786"/>
                </a:lnTo>
                <a:lnTo>
                  <a:pt x="153247" y="10028"/>
                </a:lnTo>
                <a:lnTo>
                  <a:pt x="151213" y="11332"/>
                </a:lnTo>
                <a:lnTo>
                  <a:pt x="149257" y="12714"/>
                </a:lnTo>
                <a:lnTo>
                  <a:pt x="147332" y="14157"/>
                </a:lnTo>
                <a:lnTo>
                  <a:pt x="145469" y="15679"/>
                </a:lnTo>
                <a:lnTo>
                  <a:pt x="143669" y="17262"/>
                </a:lnTo>
                <a:lnTo>
                  <a:pt x="141930" y="18907"/>
                </a:lnTo>
                <a:lnTo>
                  <a:pt x="140254" y="20615"/>
                </a:lnTo>
                <a:lnTo>
                  <a:pt x="138624" y="22385"/>
                </a:lnTo>
                <a:lnTo>
                  <a:pt x="137071" y="24216"/>
                </a:lnTo>
                <a:lnTo>
                  <a:pt x="135597" y="26095"/>
                </a:lnTo>
                <a:lnTo>
                  <a:pt x="134184" y="28035"/>
                </a:lnTo>
                <a:lnTo>
                  <a:pt x="132833" y="30038"/>
                </a:lnTo>
                <a:lnTo>
                  <a:pt x="131561" y="32102"/>
                </a:lnTo>
                <a:lnTo>
                  <a:pt x="130381" y="34198"/>
                </a:lnTo>
                <a:lnTo>
                  <a:pt x="129263" y="36356"/>
                </a:lnTo>
                <a:lnTo>
                  <a:pt x="128223" y="38560"/>
                </a:lnTo>
                <a:lnTo>
                  <a:pt x="127276" y="40826"/>
                </a:lnTo>
                <a:lnTo>
                  <a:pt x="126841" y="41960"/>
                </a:lnTo>
                <a:lnTo>
                  <a:pt x="126717" y="42270"/>
                </a:lnTo>
                <a:lnTo>
                  <a:pt x="126469" y="42720"/>
                </a:lnTo>
                <a:lnTo>
                  <a:pt x="126205" y="42969"/>
                </a:lnTo>
                <a:lnTo>
                  <a:pt x="125910" y="43062"/>
                </a:lnTo>
                <a:lnTo>
                  <a:pt x="125739" y="43077"/>
                </a:lnTo>
                <a:lnTo>
                  <a:pt x="125569" y="43062"/>
                </a:lnTo>
                <a:lnTo>
                  <a:pt x="125274" y="42969"/>
                </a:lnTo>
                <a:lnTo>
                  <a:pt x="125010" y="42720"/>
                </a:lnTo>
                <a:lnTo>
                  <a:pt x="124761" y="42270"/>
                </a:lnTo>
                <a:lnTo>
                  <a:pt x="124637" y="41960"/>
                </a:lnTo>
                <a:lnTo>
                  <a:pt x="124202" y="40826"/>
                </a:lnTo>
                <a:lnTo>
                  <a:pt x="123256" y="38560"/>
                </a:lnTo>
                <a:lnTo>
                  <a:pt x="122215" y="36356"/>
                </a:lnTo>
                <a:lnTo>
                  <a:pt x="121098" y="34198"/>
                </a:lnTo>
                <a:lnTo>
                  <a:pt x="119918" y="32102"/>
                </a:lnTo>
                <a:lnTo>
                  <a:pt x="118645" y="30038"/>
                </a:lnTo>
                <a:lnTo>
                  <a:pt x="117295" y="28035"/>
                </a:lnTo>
                <a:lnTo>
                  <a:pt x="115882" y="26095"/>
                </a:lnTo>
                <a:lnTo>
                  <a:pt x="114407" y="24216"/>
                </a:lnTo>
                <a:lnTo>
                  <a:pt x="112855" y="22385"/>
                </a:lnTo>
                <a:lnTo>
                  <a:pt x="111225" y="20615"/>
                </a:lnTo>
                <a:lnTo>
                  <a:pt x="109548" y="18907"/>
                </a:lnTo>
                <a:lnTo>
                  <a:pt x="107810" y="17262"/>
                </a:lnTo>
                <a:lnTo>
                  <a:pt x="106009" y="15679"/>
                </a:lnTo>
                <a:lnTo>
                  <a:pt x="104146" y="14157"/>
                </a:lnTo>
                <a:lnTo>
                  <a:pt x="102221" y="12714"/>
                </a:lnTo>
                <a:lnTo>
                  <a:pt x="100265" y="11332"/>
                </a:lnTo>
                <a:lnTo>
                  <a:pt x="98232" y="10028"/>
                </a:lnTo>
                <a:lnTo>
                  <a:pt x="96167" y="8786"/>
                </a:lnTo>
                <a:lnTo>
                  <a:pt x="94056" y="7638"/>
                </a:lnTo>
                <a:lnTo>
                  <a:pt x="91883" y="6551"/>
                </a:lnTo>
                <a:lnTo>
                  <a:pt x="89678" y="5542"/>
                </a:lnTo>
                <a:lnTo>
                  <a:pt x="87443" y="4610"/>
                </a:lnTo>
                <a:lnTo>
                  <a:pt x="85161" y="3757"/>
                </a:lnTo>
                <a:lnTo>
                  <a:pt x="82833" y="2996"/>
                </a:lnTo>
                <a:lnTo>
                  <a:pt x="80473" y="2313"/>
                </a:lnTo>
                <a:lnTo>
                  <a:pt x="78098" y="1708"/>
                </a:lnTo>
                <a:lnTo>
                  <a:pt x="75676" y="1195"/>
                </a:lnTo>
                <a:lnTo>
                  <a:pt x="73224" y="776"/>
                </a:lnTo>
                <a:lnTo>
                  <a:pt x="70756" y="450"/>
                </a:lnTo>
                <a:lnTo>
                  <a:pt x="68256" y="202"/>
                </a:lnTo>
                <a:lnTo>
                  <a:pt x="65741" y="47"/>
                </a:lnTo>
                <a:lnTo>
                  <a:pt x="64469" y="16"/>
                </a:lnTo>
                <a:lnTo>
                  <a:pt x="62932" y="0"/>
                </a:lnTo>
                <a:close/>
              </a:path>
            </a:pathLst>
          </a:custGeom>
          <a:solidFill>
            <a:srgbClr val="F7224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31030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A7B17"/>
          </p15:clr>
        </p15:guide>
        <p15:guide id="2" pos="3840">
          <p15:clr>
            <a:srgbClr val="FA7B17"/>
          </p15:clr>
        </p15:guide>
        <p15:guide id="3" pos="3621">
          <p15:clr>
            <a:srgbClr val="FA7B17"/>
          </p15:clr>
        </p15:guide>
        <p15:guide id="4" pos="4059">
          <p15:clr>
            <a:srgbClr val="FA7B17"/>
          </p15:clr>
        </p15:guide>
        <p15:guide id="5" pos="262">
          <p15:clr>
            <a:srgbClr val="FA7B17"/>
          </p15:clr>
        </p15:guide>
        <p15:guide id="6" pos="7418">
          <p15:clr>
            <a:srgbClr val="FA7B17"/>
          </p15:clr>
        </p15:guide>
        <p15:guide id="7" orient="horz" pos="929">
          <p15:clr>
            <a:srgbClr val="FA7B17"/>
          </p15:clr>
        </p15:guide>
        <p15:guide id="8" orient="horz" pos="1071">
          <p15:clr>
            <a:srgbClr val="FA7B17"/>
          </p15:clr>
        </p15:guide>
        <p15:guide id="9" orient="horz" pos="1234">
          <p15:clr>
            <a:srgbClr val="FA7B17"/>
          </p15:clr>
        </p15:guide>
        <p15:guide id="10" orient="horz" pos="3837">
          <p15:clr>
            <a:srgbClr val="FA7B17"/>
          </p15:clr>
        </p15:guide>
        <p15:guide id="11" orient="horz" pos="313">
          <p15:clr>
            <a:srgbClr val="FA7B17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 images 1 2">
  <p:cSld name="Title and three columns images 1 2">
    <p:bg>
      <p:bgPr>
        <a:solidFill>
          <a:schemeClr val="lt1"/>
        </a:solidFill>
        <a:effectLst/>
      </p:bgPr>
    </p:bg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Google Shape;257;p16"/>
          <p:cNvSpPr>
            <a:spLocks noGrp="1"/>
          </p:cNvSpPr>
          <p:nvPr>
            <p:ph type="pic" idx="2"/>
          </p:nvPr>
        </p:nvSpPr>
        <p:spPr>
          <a:xfrm>
            <a:off x="415667" y="1700767"/>
            <a:ext cx="3728400" cy="4394700"/>
          </a:xfrm>
          <a:prstGeom prst="rect">
            <a:avLst/>
          </a:prstGeom>
          <a:noFill/>
          <a:ln>
            <a:noFill/>
          </a:ln>
        </p:spPr>
      </p:sp>
      <p:sp>
        <p:nvSpPr>
          <p:cNvPr id="258" name="Google Shape;258;p16"/>
          <p:cNvSpPr txBox="1">
            <a:spLocks noGrp="1"/>
          </p:cNvSpPr>
          <p:nvPr>
            <p:ph type="sldNum" idx="12"/>
          </p:nvPr>
        </p:nvSpPr>
        <p:spPr>
          <a:xfrm>
            <a:off x="11044810" y="6091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59" name="Google Shape;259;p16"/>
          <p:cNvSpPr>
            <a:spLocks noGrp="1"/>
          </p:cNvSpPr>
          <p:nvPr>
            <p:ph type="pic" idx="3"/>
          </p:nvPr>
        </p:nvSpPr>
        <p:spPr>
          <a:xfrm>
            <a:off x="8047997" y="1700767"/>
            <a:ext cx="3728400" cy="4394700"/>
          </a:xfrm>
          <a:prstGeom prst="rect">
            <a:avLst/>
          </a:prstGeom>
          <a:noFill/>
          <a:ln>
            <a:noFill/>
          </a:ln>
        </p:spPr>
      </p:sp>
      <p:sp>
        <p:nvSpPr>
          <p:cNvPr id="260" name="Google Shape;260;p16"/>
          <p:cNvSpPr>
            <a:spLocks noGrp="1"/>
          </p:cNvSpPr>
          <p:nvPr>
            <p:ph type="pic" idx="4"/>
          </p:nvPr>
        </p:nvSpPr>
        <p:spPr>
          <a:xfrm>
            <a:off x="4231849" y="1700767"/>
            <a:ext cx="3728400" cy="4394700"/>
          </a:xfrm>
          <a:prstGeom prst="rect">
            <a:avLst/>
          </a:prstGeom>
          <a:noFill/>
          <a:ln>
            <a:noFill/>
          </a:ln>
        </p:spPr>
      </p:sp>
      <p:sp>
        <p:nvSpPr>
          <p:cNvPr id="261" name="Google Shape;261;p16"/>
          <p:cNvSpPr/>
          <p:nvPr/>
        </p:nvSpPr>
        <p:spPr>
          <a:xfrm rot="10800000">
            <a:off x="3833" y="67"/>
            <a:ext cx="11147700" cy="10329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2" name="Google Shape;262;p16"/>
          <p:cNvSpPr/>
          <p:nvPr/>
        </p:nvSpPr>
        <p:spPr>
          <a:xfrm>
            <a:off x="-23600" y="0"/>
            <a:ext cx="1266300" cy="10329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3" name="Google Shape;263;p16"/>
          <p:cNvSpPr txBox="1">
            <a:spLocks noGrp="1"/>
          </p:cNvSpPr>
          <p:nvPr>
            <p:ph type="title"/>
          </p:nvPr>
        </p:nvSpPr>
        <p:spPr>
          <a:xfrm>
            <a:off x="415600" y="398067"/>
            <a:ext cx="101241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1pPr>
            <a:lvl2pPr lvl="1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2pPr>
            <a:lvl3pPr lvl="2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3pPr>
            <a:lvl4pPr lvl="3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4pPr>
            <a:lvl5pPr lvl="4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5pPr>
            <a:lvl6pPr lvl="5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6pPr>
            <a:lvl7pPr lvl="6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7pPr>
            <a:lvl8pPr lvl="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8pPr>
            <a:lvl9pPr lvl="8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264" name="Google Shape;264;p16"/>
          <p:cNvSpPr txBox="1">
            <a:spLocks noGrp="1"/>
          </p:cNvSpPr>
          <p:nvPr>
            <p:ph type="title" idx="5"/>
          </p:nvPr>
        </p:nvSpPr>
        <p:spPr>
          <a:xfrm>
            <a:off x="415600" y="1226067"/>
            <a:ext cx="11360700" cy="393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00"/>
              <a:buFont typeface="Lato"/>
              <a:buNone/>
              <a:defRPr sz="19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265" name="Google Shape;265;p16"/>
          <p:cNvSpPr/>
          <p:nvPr/>
        </p:nvSpPr>
        <p:spPr>
          <a:xfrm>
            <a:off x="11525533" y="364133"/>
            <a:ext cx="365273" cy="304371"/>
          </a:xfrm>
          <a:custGeom>
            <a:avLst/>
            <a:gdLst/>
            <a:ahLst/>
            <a:cxnLst/>
            <a:rect l="l" t="t" r="r" b="b"/>
            <a:pathLst>
              <a:path w="251479" h="209550" extrusionOk="0">
                <a:moveTo>
                  <a:pt x="62932" y="0"/>
                </a:moveTo>
                <a:lnTo>
                  <a:pt x="59858" y="78"/>
                </a:lnTo>
                <a:lnTo>
                  <a:pt x="56847" y="326"/>
                </a:lnTo>
                <a:lnTo>
                  <a:pt x="53851" y="714"/>
                </a:lnTo>
                <a:lnTo>
                  <a:pt x="50901" y="1257"/>
                </a:lnTo>
                <a:lnTo>
                  <a:pt x="47998" y="1925"/>
                </a:lnTo>
                <a:lnTo>
                  <a:pt x="45142" y="2748"/>
                </a:lnTo>
                <a:lnTo>
                  <a:pt x="42348" y="3695"/>
                </a:lnTo>
                <a:lnTo>
                  <a:pt x="39600" y="4781"/>
                </a:lnTo>
                <a:lnTo>
                  <a:pt x="36915" y="5992"/>
                </a:lnTo>
                <a:lnTo>
                  <a:pt x="34291" y="7327"/>
                </a:lnTo>
                <a:lnTo>
                  <a:pt x="31730" y="8786"/>
                </a:lnTo>
                <a:lnTo>
                  <a:pt x="29246" y="10354"/>
                </a:lnTo>
                <a:lnTo>
                  <a:pt x="26840" y="12031"/>
                </a:lnTo>
                <a:lnTo>
                  <a:pt x="24511" y="13831"/>
                </a:lnTo>
                <a:lnTo>
                  <a:pt x="22261" y="15741"/>
                </a:lnTo>
                <a:lnTo>
                  <a:pt x="20087" y="17743"/>
                </a:lnTo>
                <a:lnTo>
                  <a:pt x="18023" y="19839"/>
                </a:lnTo>
                <a:lnTo>
                  <a:pt x="16036" y="22043"/>
                </a:lnTo>
                <a:lnTo>
                  <a:pt x="14157" y="24325"/>
                </a:lnTo>
                <a:lnTo>
                  <a:pt x="12372" y="26716"/>
                </a:lnTo>
                <a:lnTo>
                  <a:pt x="10696" y="29168"/>
                </a:lnTo>
                <a:lnTo>
                  <a:pt x="9112" y="31714"/>
                </a:lnTo>
                <a:lnTo>
                  <a:pt x="7653" y="34338"/>
                </a:lnTo>
                <a:lnTo>
                  <a:pt x="6318" y="37039"/>
                </a:lnTo>
                <a:lnTo>
                  <a:pt x="5092" y="39802"/>
                </a:lnTo>
                <a:lnTo>
                  <a:pt x="3990" y="42643"/>
                </a:lnTo>
                <a:lnTo>
                  <a:pt x="3012" y="45546"/>
                </a:lnTo>
                <a:lnTo>
                  <a:pt x="2173" y="48495"/>
                </a:lnTo>
                <a:lnTo>
                  <a:pt x="1459" y="51507"/>
                </a:lnTo>
                <a:lnTo>
                  <a:pt x="885" y="54580"/>
                </a:lnTo>
                <a:lnTo>
                  <a:pt x="450" y="57700"/>
                </a:lnTo>
                <a:lnTo>
                  <a:pt x="310" y="59268"/>
                </a:lnTo>
                <a:lnTo>
                  <a:pt x="186" y="60665"/>
                </a:lnTo>
                <a:lnTo>
                  <a:pt x="31" y="63475"/>
                </a:lnTo>
                <a:lnTo>
                  <a:pt x="0" y="66269"/>
                </a:lnTo>
                <a:lnTo>
                  <a:pt x="62" y="69063"/>
                </a:lnTo>
                <a:lnTo>
                  <a:pt x="217" y="71842"/>
                </a:lnTo>
                <a:lnTo>
                  <a:pt x="466" y="74605"/>
                </a:lnTo>
                <a:lnTo>
                  <a:pt x="823" y="77368"/>
                </a:lnTo>
                <a:lnTo>
                  <a:pt x="1257" y="80132"/>
                </a:lnTo>
                <a:lnTo>
                  <a:pt x="1801" y="82864"/>
                </a:lnTo>
                <a:lnTo>
                  <a:pt x="2422" y="85611"/>
                </a:lnTo>
                <a:lnTo>
                  <a:pt x="3120" y="88328"/>
                </a:lnTo>
                <a:lnTo>
                  <a:pt x="3912" y="91045"/>
                </a:lnTo>
                <a:lnTo>
                  <a:pt x="4781" y="93730"/>
                </a:lnTo>
                <a:lnTo>
                  <a:pt x="5728" y="96416"/>
                </a:lnTo>
                <a:lnTo>
                  <a:pt x="7280" y="100436"/>
                </a:lnTo>
                <a:lnTo>
                  <a:pt x="9609" y="105714"/>
                </a:lnTo>
                <a:lnTo>
                  <a:pt x="12201" y="110946"/>
                </a:lnTo>
                <a:lnTo>
                  <a:pt x="15058" y="116099"/>
                </a:lnTo>
                <a:lnTo>
                  <a:pt x="18147" y="121191"/>
                </a:lnTo>
                <a:lnTo>
                  <a:pt x="21438" y="126205"/>
                </a:lnTo>
                <a:lnTo>
                  <a:pt x="24931" y="131126"/>
                </a:lnTo>
                <a:lnTo>
                  <a:pt x="28594" y="135969"/>
                </a:lnTo>
                <a:lnTo>
                  <a:pt x="32413" y="140719"/>
                </a:lnTo>
                <a:lnTo>
                  <a:pt x="36371" y="145392"/>
                </a:lnTo>
                <a:lnTo>
                  <a:pt x="40454" y="149940"/>
                </a:lnTo>
                <a:lnTo>
                  <a:pt x="44630" y="154395"/>
                </a:lnTo>
                <a:lnTo>
                  <a:pt x="48883" y="158742"/>
                </a:lnTo>
                <a:lnTo>
                  <a:pt x="53199" y="162964"/>
                </a:lnTo>
                <a:lnTo>
                  <a:pt x="57545" y="167078"/>
                </a:lnTo>
                <a:lnTo>
                  <a:pt x="61938" y="171068"/>
                </a:lnTo>
                <a:lnTo>
                  <a:pt x="66316" y="174917"/>
                </a:lnTo>
                <a:lnTo>
                  <a:pt x="70678" y="178643"/>
                </a:lnTo>
                <a:lnTo>
                  <a:pt x="75024" y="182229"/>
                </a:lnTo>
                <a:lnTo>
                  <a:pt x="81420" y="187352"/>
                </a:lnTo>
                <a:lnTo>
                  <a:pt x="89663" y="193639"/>
                </a:lnTo>
                <a:lnTo>
                  <a:pt x="97425" y="199274"/>
                </a:lnTo>
                <a:lnTo>
                  <a:pt x="101057" y="201819"/>
                </a:lnTo>
                <a:lnTo>
                  <a:pt x="102454" y="202766"/>
                </a:lnTo>
                <a:lnTo>
                  <a:pt x="105342" y="204458"/>
                </a:lnTo>
                <a:lnTo>
                  <a:pt x="108338" y="205918"/>
                </a:lnTo>
                <a:lnTo>
                  <a:pt x="111396" y="207128"/>
                </a:lnTo>
                <a:lnTo>
                  <a:pt x="114516" y="208091"/>
                </a:lnTo>
                <a:lnTo>
                  <a:pt x="117683" y="208820"/>
                </a:lnTo>
                <a:lnTo>
                  <a:pt x="120896" y="209302"/>
                </a:lnTo>
                <a:lnTo>
                  <a:pt x="124125" y="209550"/>
                </a:lnTo>
                <a:lnTo>
                  <a:pt x="127354" y="209550"/>
                </a:lnTo>
                <a:lnTo>
                  <a:pt x="130583" y="209302"/>
                </a:lnTo>
                <a:lnTo>
                  <a:pt x="133796" y="208820"/>
                </a:lnTo>
                <a:lnTo>
                  <a:pt x="136963" y="208091"/>
                </a:lnTo>
                <a:lnTo>
                  <a:pt x="140098" y="207128"/>
                </a:lnTo>
                <a:lnTo>
                  <a:pt x="143156" y="205918"/>
                </a:lnTo>
                <a:lnTo>
                  <a:pt x="146137" y="204458"/>
                </a:lnTo>
                <a:lnTo>
                  <a:pt x="149024" y="202766"/>
                </a:lnTo>
                <a:lnTo>
                  <a:pt x="150421" y="201819"/>
                </a:lnTo>
                <a:lnTo>
                  <a:pt x="154038" y="199289"/>
                </a:lnTo>
                <a:lnTo>
                  <a:pt x="161769" y="193670"/>
                </a:lnTo>
                <a:lnTo>
                  <a:pt x="169981" y="187414"/>
                </a:lnTo>
                <a:lnTo>
                  <a:pt x="176361" y="182306"/>
                </a:lnTo>
                <a:lnTo>
                  <a:pt x="180676" y="178736"/>
                </a:lnTo>
                <a:lnTo>
                  <a:pt x="185023" y="175042"/>
                </a:lnTo>
                <a:lnTo>
                  <a:pt x="189385" y="171192"/>
                </a:lnTo>
                <a:lnTo>
                  <a:pt x="193763" y="167233"/>
                </a:lnTo>
                <a:lnTo>
                  <a:pt x="198094" y="163151"/>
                </a:lnTo>
                <a:lnTo>
                  <a:pt x="202394" y="158944"/>
                </a:lnTo>
                <a:lnTo>
                  <a:pt x="206647" y="154613"/>
                </a:lnTo>
                <a:lnTo>
                  <a:pt x="210807" y="150189"/>
                </a:lnTo>
                <a:lnTo>
                  <a:pt x="214874" y="145656"/>
                </a:lnTo>
                <a:lnTo>
                  <a:pt x="218817" y="141014"/>
                </a:lnTo>
                <a:lnTo>
                  <a:pt x="222636" y="136280"/>
                </a:lnTo>
                <a:lnTo>
                  <a:pt x="226300" y="131467"/>
                </a:lnTo>
                <a:lnTo>
                  <a:pt x="229792" y="126562"/>
                </a:lnTo>
                <a:lnTo>
                  <a:pt x="233083" y="121579"/>
                </a:lnTo>
                <a:lnTo>
                  <a:pt x="236173" y="116518"/>
                </a:lnTo>
                <a:lnTo>
                  <a:pt x="239044" y="111380"/>
                </a:lnTo>
                <a:lnTo>
                  <a:pt x="241652" y="106180"/>
                </a:lnTo>
                <a:lnTo>
                  <a:pt x="243996" y="100917"/>
                </a:lnTo>
                <a:lnTo>
                  <a:pt x="245564" y="96928"/>
                </a:lnTo>
                <a:lnTo>
                  <a:pt x="246527" y="94258"/>
                </a:lnTo>
                <a:lnTo>
                  <a:pt x="247396" y="91572"/>
                </a:lnTo>
                <a:lnTo>
                  <a:pt x="248203" y="88871"/>
                </a:lnTo>
                <a:lnTo>
                  <a:pt x="248917" y="86155"/>
                </a:lnTo>
                <a:lnTo>
                  <a:pt x="249554" y="83438"/>
                </a:lnTo>
                <a:lnTo>
                  <a:pt x="250112" y="80706"/>
                </a:lnTo>
                <a:lnTo>
                  <a:pt x="250563" y="77958"/>
                </a:lnTo>
                <a:lnTo>
                  <a:pt x="250935" y="75211"/>
                </a:lnTo>
                <a:lnTo>
                  <a:pt x="251215" y="72448"/>
                </a:lnTo>
                <a:lnTo>
                  <a:pt x="251385" y="69684"/>
                </a:lnTo>
                <a:lnTo>
                  <a:pt x="251479" y="66906"/>
                </a:lnTo>
                <a:lnTo>
                  <a:pt x="251463" y="64127"/>
                </a:lnTo>
                <a:lnTo>
                  <a:pt x="251339" y="61333"/>
                </a:lnTo>
                <a:lnTo>
                  <a:pt x="251230" y="59936"/>
                </a:lnTo>
                <a:lnTo>
                  <a:pt x="251199" y="59610"/>
                </a:lnTo>
                <a:lnTo>
                  <a:pt x="251184" y="59268"/>
                </a:lnTo>
                <a:lnTo>
                  <a:pt x="250966" y="57235"/>
                </a:lnTo>
                <a:lnTo>
                  <a:pt x="250361" y="53199"/>
                </a:lnTo>
                <a:lnTo>
                  <a:pt x="249507" y="49256"/>
                </a:lnTo>
                <a:lnTo>
                  <a:pt x="248436" y="45421"/>
                </a:lnTo>
                <a:lnTo>
                  <a:pt x="247132" y="41665"/>
                </a:lnTo>
                <a:lnTo>
                  <a:pt x="245626" y="38032"/>
                </a:lnTo>
                <a:lnTo>
                  <a:pt x="243919" y="34508"/>
                </a:lnTo>
                <a:lnTo>
                  <a:pt x="242009" y="31124"/>
                </a:lnTo>
                <a:lnTo>
                  <a:pt x="240969" y="29479"/>
                </a:lnTo>
                <a:lnTo>
                  <a:pt x="240209" y="28299"/>
                </a:lnTo>
                <a:lnTo>
                  <a:pt x="239401" y="27135"/>
                </a:lnTo>
                <a:lnTo>
                  <a:pt x="238594" y="26110"/>
                </a:lnTo>
                <a:lnTo>
                  <a:pt x="237244" y="24667"/>
                </a:lnTo>
                <a:lnTo>
                  <a:pt x="236281" y="23766"/>
                </a:lnTo>
                <a:lnTo>
                  <a:pt x="235784" y="23332"/>
                </a:lnTo>
                <a:lnTo>
                  <a:pt x="234837" y="22571"/>
                </a:lnTo>
                <a:lnTo>
                  <a:pt x="232882" y="21236"/>
                </a:lnTo>
                <a:lnTo>
                  <a:pt x="230832" y="20134"/>
                </a:lnTo>
                <a:lnTo>
                  <a:pt x="228690" y="19233"/>
                </a:lnTo>
                <a:lnTo>
                  <a:pt x="226517" y="18566"/>
                </a:lnTo>
                <a:lnTo>
                  <a:pt x="224297" y="18116"/>
                </a:lnTo>
                <a:lnTo>
                  <a:pt x="222046" y="17883"/>
                </a:lnTo>
                <a:lnTo>
                  <a:pt x="219795" y="17867"/>
                </a:lnTo>
                <a:lnTo>
                  <a:pt x="217544" y="18069"/>
                </a:lnTo>
                <a:lnTo>
                  <a:pt x="215325" y="18473"/>
                </a:lnTo>
                <a:lnTo>
                  <a:pt x="213167" y="19094"/>
                </a:lnTo>
                <a:lnTo>
                  <a:pt x="211056" y="19916"/>
                </a:lnTo>
                <a:lnTo>
                  <a:pt x="209007" y="20957"/>
                </a:lnTo>
                <a:lnTo>
                  <a:pt x="207082" y="22214"/>
                </a:lnTo>
                <a:lnTo>
                  <a:pt x="205250" y="23658"/>
                </a:lnTo>
                <a:lnTo>
                  <a:pt x="203542" y="25319"/>
                </a:lnTo>
                <a:lnTo>
                  <a:pt x="202751" y="26219"/>
                </a:lnTo>
                <a:lnTo>
                  <a:pt x="185504" y="46787"/>
                </a:lnTo>
                <a:lnTo>
                  <a:pt x="141775" y="98899"/>
                </a:lnTo>
                <a:lnTo>
                  <a:pt x="141232" y="99567"/>
                </a:lnTo>
                <a:lnTo>
                  <a:pt x="140285" y="100964"/>
                </a:lnTo>
                <a:lnTo>
                  <a:pt x="139508" y="102439"/>
                </a:lnTo>
                <a:lnTo>
                  <a:pt x="138903" y="103976"/>
                </a:lnTo>
                <a:lnTo>
                  <a:pt x="138468" y="105543"/>
                </a:lnTo>
                <a:lnTo>
                  <a:pt x="138189" y="107142"/>
                </a:lnTo>
                <a:lnTo>
                  <a:pt x="138065" y="108741"/>
                </a:lnTo>
                <a:lnTo>
                  <a:pt x="138111" y="110356"/>
                </a:lnTo>
                <a:lnTo>
                  <a:pt x="138329" y="111955"/>
                </a:lnTo>
                <a:lnTo>
                  <a:pt x="138701" y="113522"/>
                </a:lnTo>
                <a:lnTo>
                  <a:pt x="139229" y="115044"/>
                </a:lnTo>
                <a:lnTo>
                  <a:pt x="139912" y="116518"/>
                </a:lnTo>
                <a:lnTo>
                  <a:pt x="140750" y="117931"/>
                </a:lnTo>
                <a:lnTo>
                  <a:pt x="141759" y="119266"/>
                </a:lnTo>
                <a:lnTo>
                  <a:pt x="142908" y="120492"/>
                </a:lnTo>
                <a:lnTo>
                  <a:pt x="144212" y="121626"/>
                </a:lnTo>
                <a:lnTo>
                  <a:pt x="144926" y="122138"/>
                </a:lnTo>
                <a:lnTo>
                  <a:pt x="145438" y="122479"/>
                </a:lnTo>
                <a:lnTo>
                  <a:pt x="146494" y="123085"/>
                </a:lnTo>
                <a:lnTo>
                  <a:pt x="147581" y="123613"/>
                </a:lnTo>
                <a:lnTo>
                  <a:pt x="148698" y="124063"/>
                </a:lnTo>
                <a:lnTo>
                  <a:pt x="149863" y="124420"/>
                </a:lnTo>
                <a:lnTo>
                  <a:pt x="151042" y="124684"/>
                </a:lnTo>
                <a:lnTo>
                  <a:pt x="152238" y="124854"/>
                </a:lnTo>
                <a:lnTo>
                  <a:pt x="153448" y="124932"/>
                </a:lnTo>
                <a:lnTo>
                  <a:pt x="154069" y="124932"/>
                </a:lnTo>
                <a:lnTo>
                  <a:pt x="154939" y="124901"/>
                </a:lnTo>
                <a:lnTo>
                  <a:pt x="156662" y="124699"/>
                </a:lnTo>
                <a:lnTo>
                  <a:pt x="158338" y="124311"/>
                </a:lnTo>
                <a:lnTo>
                  <a:pt x="159937" y="123752"/>
                </a:lnTo>
                <a:lnTo>
                  <a:pt x="161459" y="123038"/>
                </a:lnTo>
                <a:lnTo>
                  <a:pt x="162902" y="122153"/>
                </a:lnTo>
                <a:lnTo>
                  <a:pt x="164253" y="121113"/>
                </a:lnTo>
                <a:lnTo>
                  <a:pt x="165495" y="119918"/>
                </a:lnTo>
                <a:lnTo>
                  <a:pt x="166053" y="119266"/>
                </a:lnTo>
                <a:lnTo>
                  <a:pt x="210357" y="66471"/>
                </a:lnTo>
                <a:lnTo>
                  <a:pt x="210668" y="66130"/>
                </a:lnTo>
                <a:lnTo>
                  <a:pt x="211366" y="65586"/>
                </a:lnTo>
                <a:lnTo>
                  <a:pt x="212142" y="65183"/>
                </a:lnTo>
                <a:lnTo>
                  <a:pt x="212965" y="64950"/>
                </a:lnTo>
                <a:lnTo>
                  <a:pt x="213819" y="64872"/>
                </a:lnTo>
                <a:lnTo>
                  <a:pt x="214673" y="64965"/>
                </a:lnTo>
                <a:lnTo>
                  <a:pt x="215495" y="65214"/>
                </a:lnTo>
                <a:lnTo>
                  <a:pt x="216272" y="65633"/>
                </a:lnTo>
                <a:lnTo>
                  <a:pt x="216644" y="65928"/>
                </a:lnTo>
                <a:lnTo>
                  <a:pt x="219252" y="68117"/>
                </a:lnTo>
                <a:lnTo>
                  <a:pt x="219578" y="68412"/>
                </a:lnTo>
                <a:lnTo>
                  <a:pt x="220137" y="69110"/>
                </a:lnTo>
                <a:lnTo>
                  <a:pt x="220525" y="69886"/>
                </a:lnTo>
                <a:lnTo>
                  <a:pt x="220773" y="70709"/>
                </a:lnTo>
                <a:lnTo>
                  <a:pt x="220835" y="71563"/>
                </a:lnTo>
                <a:lnTo>
                  <a:pt x="220758" y="72417"/>
                </a:lnTo>
                <a:lnTo>
                  <a:pt x="220494" y="73239"/>
                </a:lnTo>
                <a:lnTo>
                  <a:pt x="220075" y="74031"/>
                </a:lnTo>
                <a:lnTo>
                  <a:pt x="219795" y="74388"/>
                </a:lnTo>
                <a:lnTo>
                  <a:pt x="175492" y="127183"/>
                </a:lnTo>
                <a:lnTo>
                  <a:pt x="174560" y="128239"/>
                </a:lnTo>
                <a:lnTo>
                  <a:pt x="172573" y="130195"/>
                </a:lnTo>
                <a:lnTo>
                  <a:pt x="170431" y="131918"/>
                </a:lnTo>
                <a:lnTo>
                  <a:pt x="168134" y="133423"/>
                </a:lnTo>
                <a:lnTo>
                  <a:pt x="165696" y="134681"/>
                </a:lnTo>
                <a:lnTo>
                  <a:pt x="163151" y="135705"/>
                </a:lnTo>
                <a:lnTo>
                  <a:pt x="160512" y="136481"/>
                </a:lnTo>
                <a:lnTo>
                  <a:pt x="157764" y="136994"/>
                </a:lnTo>
                <a:lnTo>
                  <a:pt x="156367" y="137133"/>
                </a:lnTo>
                <a:lnTo>
                  <a:pt x="155109" y="137227"/>
                </a:lnTo>
                <a:lnTo>
                  <a:pt x="153868" y="137242"/>
                </a:lnTo>
                <a:lnTo>
                  <a:pt x="152626" y="137227"/>
                </a:lnTo>
                <a:lnTo>
                  <a:pt x="150189" y="137009"/>
                </a:lnTo>
                <a:lnTo>
                  <a:pt x="147782" y="136590"/>
                </a:lnTo>
                <a:lnTo>
                  <a:pt x="145438" y="135954"/>
                </a:lnTo>
                <a:lnTo>
                  <a:pt x="143141" y="135131"/>
                </a:lnTo>
                <a:lnTo>
                  <a:pt x="140937" y="134091"/>
                </a:lnTo>
                <a:lnTo>
                  <a:pt x="138810" y="132865"/>
                </a:lnTo>
                <a:lnTo>
                  <a:pt x="136776" y="131436"/>
                </a:lnTo>
                <a:lnTo>
                  <a:pt x="135814" y="130645"/>
                </a:lnTo>
                <a:lnTo>
                  <a:pt x="135255" y="130179"/>
                </a:lnTo>
                <a:lnTo>
                  <a:pt x="134200" y="129201"/>
                </a:lnTo>
                <a:lnTo>
                  <a:pt x="132725" y="127649"/>
                </a:lnTo>
                <a:lnTo>
                  <a:pt x="130986" y="125460"/>
                </a:lnTo>
                <a:lnTo>
                  <a:pt x="129496" y="123131"/>
                </a:lnTo>
                <a:lnTo>
                  <a:pt x="128254" y="120679"/>
                </a:lnTo>
                <a:lnTo>
                  <a:pt x="127245" y="118148"/>
                </a:lnTo>
                <a:lnTo>
                  <a:pt x="126500" y="115540"/>
                </a:lnTo>
                <a:lnTo>
                  <a:pt x="126019" y="112870"/>
                </a:lnTo>
                <a:lnTo>
                  <a:pt x="125786" y="110185"/>
                </a:lnTo>
                <a:lnTo>
                  <a:pt x="125801" y="107468"/>
                </a:lnTo>
                <a:lnTo>
                  <a:pt x="126081" y="104783"/>
                </a:lnTo>
                <a:lnTo>
                  <a:pt x="126624" y="102113"/>
                </a:lnTo>
                <a:lnTo>
                  <a:pt x="127431" y="99489"/>
                </a:lnTo>
                <a:lnTo>
                  <a:pt x="128487" y="96928"/>
                </a:lnTo>
                <a:lnTo>
                  <a:pt x="129822" y="94460"/>
                </a:lnTo>
                <a:lnTo>
                  <a:pt x="131017" y="92690"/>
                </a:lnTo>
                <a:lnTo>
                  <a:pt x="131887" y="91541"/>
                </a:lnTo>
                <a:lnTo>
                  <a:pt x="132337" y="90967"/>
                </a:lnTo>
                <a:lnTo>
                  <a:pt x="157966" y="60432"/>
                </a:lnTo>
                <a:lnTo>
                  <a:pt x="193312" y="18302"/>
                </a:lnTo>
                <a:lnTo>
                  <a:pt x="193856" y="17681"/>
                </a:lnTo>
                <a:lnTo>
                  <a:pt x="194958" y="16470"/>
                </a:lnTo>
                <a:lnTo>
                  <a:pt x="196697" y="14778"/>
                </a:lnTo>
                <a:lnTo>
                  <a:pt x="199149" y="12745"/>
                </a:lnTo>
                <a:lnTo>
                  <a:pt x="201757" y="10960"/>
                </a:lnTo>
                <a:lnTo>
                  <a:pt x="204474" y="9423"/>
                </a:lnTo>
                <a:lnTo>
                  <a:pt x="207299" y="8134"/>
                </a:lnTo>
                <a:lnTo>
                  <a:pt x="210217" y="7110"/>
                </a:lnTo>
                <a:lnTo>
                  <a:pt x="213198" y="6334"/>
                </a:lnTo>
                <a:lnTo>
                  <a:pt x="214704" y="6054"/>
                </a:lnTo>
                <a:lnTo>
                  <a:pt x="213105" y="5309"/>
                </a:lnTo>
                <a:lnTo>
                  <a:pt x="209860" y="3958"/>
                </a:lnTo>
                <a:lnTo>
                  <a:pt x="206523" y="2810"/>
                </a:lnTo>
                <a:lnTo>
                  <a:pt x="203108" y="1832"/>
                </a:lnTo>
                <a:lnTo>
                  <a:pt x="199630" y="1056"/>
                </a:lnTo>
                <a:lnTo>
                  <a:pt x="196091" y="497"/>
                </a:lnTo>
                <a:lnTo>
                  <a:pt x="192505" y="140"/>
                </a:lnTo>
                <a:lnTo>
                  <a:pt x="188857" y="0"/>
                </a:lnTo>
                <a:lnTo>
                  <a:pt x="187010" y="16"/>
                </a:lnTo>
                <a:lnTo>
                  <a:pt x="185737" y="47"/>
                </a:lnTo>
                <a:lnTo>
                  <a:pt x="183222" y="202"/>
                </a:lnTo>
                <a:lnTo>
                  <a:pt x="180723" y="450"/>
                </a:lnTo>
                <a:lnTo>
                  <a:pt x="178255" y="776"/>
                </a:lnTo>
                <a:lnTo>
                  <a:pt x="175802" y="1195"/>
                </a:lnTo>
                <a:lnTo>
                  <a:pt x="173380" y="1708"/>
                </a:lnTo>
                <a:lnTo>
                  <a:pt x="171005" y="2313"/>
                </a:lnTo>
                <a:lnTo>
                  <a:pt x="168646" y="2996"/>
                </a:lnTo>
                <a:lnTo>
                  <a:pt x="166317" y="3757"/>
                </a:lnTo>
                <a:lnTo>
                  <a:pt x="164035" y="4610"/>
                </a:lnTo>
                <a:lnTo>
                  <a:pt x="161800" y="5542"/>
                </a:lnTo>
                <a:lnTo>
                  <a:pt x="159596" y="6551"/>
                </a:lnTo>
                <a:lnTo>
                  <a:pt x="157422" y="7638"/>
                </a:lnTo>
                <a:lnTo>
                  <a:pt x="155311" y="8786"/>
                </a:lnTo>
                <a:lnTo>
                  <a:pt x="153247" y="10028"/>
                </a:lnTo>
                <a:lnTo>
                  <a:pt x="151213" y="11332"/>
                </a:lnTo>
                <a:lnTo>
                  <a:pt x="149257" y="12714"/>
                </a:lnTo>
                <a:lnTo>
                  <a:pt x="147332" y="14157"/>
                </a:lnTo>
                <a:lnTo>
                  <a:pt x="145469" y="15679"/>
                </a:lnTo>
                <a:lnTo>
                  <a:pt x="143669" y="17262"/>
                </a:lnTo>
                <a:lnTo>
                  <a:pt x="141930" y="18907"/>
                </a:lnTo>
                <a:lnTo>
                  <a:pt x="140254" y="20615"/>
                </a:lnTo>
                <a:lnTo>
                  <a:pt x="138624" y="22385"/>
                </a:lnTo>
                <a:lnTo>
                  <a:pt x="137071" y="24216"/>
                </a:lnTo>
                <a:lnTo>
                  <a:pt x="135597" y="26095"/>
                </a:lnTo>
                <a:lnTo>
                  <a:pt x="134184" y="28035"/>
                </a:lnTo>
                <a:lnTo>
                  <a:pt x="132833" y="30038"/>
                </a:lnTo>
                <a:lnTo>
                  <a:pt x="131561" y="32102"/>
                </a:lnTo>
                <a:lnTo>
                  <a:pt x="130381" y="34198"/>
                </a:lnTo>
                <a:lnTo>
                  <a:pt x="129263" y="36356"/>
                </a:lnTo>
                <a:lnTo>
                  <a:pt x="128223" y="38560"/>
                </a:lnTo>
                <a:lnTo>
                  <a:pt x="127276" y="40826"/>
                </a:lnTo>
                <a:lnTo>
                  <a:pt x="126841" y="41960"/>
                </a:lnTo>
                <a:lnTo>
                  <a:pt x="126717" y="42270"/>
                </a:lnTo>
                <a:lnTo>
                  <a:pt x="126469" y="42720"/>
                </a:lnTo>
                <a:lnTo>
                  <a:pt x="126205" y="42969"/>
                </a:lnTo>
                <a:lnTo>
                  <a:pt x="125910" y="43062"/>
                </a:lnTo>
                <a:lnTo>
                  <a:pt x="125739" y="43077"/>
                </a:lnTo>
                <a:lnTo>
                  <a:pt x="125569" y="43062"/>
                </a:lnTo>
                <a:lnTo>
                  <a:pt x="125274" y="42969"/>
                </a:lnTo>
                <a:lnTo>
                  <a:pt x="125010" y="42720"/>
                </a:lnTo>
                <a:lnTo>
                  <a:pt x="124761" y="42270"/>
                </a:lnTo>
                <a:lnTo>
                  <a:pt x="124637" y="41960"/>
                </a:lnTo>
                <a:lnTo>
                  <a:pt x="124202" y="40826"/>
                </a:lnTo>
                <a:lnTo>
                  <a:pt x="123256" y="38560"/>
                </a:lnTo>
                <a:lnTo>
                  <a:pt x="122215" y="36356"/>
                </a:lnTo>
                <a:lnTo>
                  <a:pt x="121098" y="34198"/>
                </a:lnTo>
                <a:lnTo>
                  <a:pt x="119918" y="32102"/>
                </a:lnTo>
                <a:lnTo>
                  <a:pt x="118645" y="30038"/>
                </a:lnTo>
                <a:lnTo>
                  <a:pt x="117295" y="28035"/>
                </a:lnTo>
                <a:lnTo>
                  <a:pt x="115882" y="26095"/>
                </a:lnTo>
                <a:lnTo>
                  <a:pt x="114407" y="24216"/>
                </a:lnTo>
                <a:lnTo>
                  <a:pt x="112855" y="22385"/>
                </a:lnTo>
                <a:lnTo>
                  <a:pt x="111225" y="20615"/>
                </a:lnTo>
                <a:lnTo>
                  <a:pt x="109548" y="18907"/>
                </a:lnTo>
                <a:lnTo>
                  <a:pt x="107810" y="17262"/>
                </a:lnTo>
                <a:lnTo>
                  <a:pt x="106009" y="15679"/>
                </a:lnTo>
                <a:lnTo>
                  <a:pt x="104146" y="14157"/>
                </a:lnTo>
                <a:lnTo>
                  <a:pt x="102221" y="12714"/>
                </a:lnTo>
                <a:lnTo>
                  <a:pt x="100265" y="11332"/>
                </a:lnTo>
                <a:lnTo>
                  <a:pt x="98232" y="10028"/>
                </a:lnTo>
                <a:lnTo>
                  <a:pt x="96167" y="8786"/>
                </a:lnTo>
                <a:lnTo>
                  <a:pt x="94056" y="7638"/>
                </a:lnTo>
                <a:lnTo>
                  <a:pt x="91883" y="6551"/>
                </a:lnTo>
                <a:lnTo>
                  <a:pt x="89678" y="5542"/>
                </a:lnTo>
                <a:lnTo>
                  <a:pt x="87443" y="4610"/>
                </a:lnTo>
                <a:lnTo>
                  <a:pt x="85161" y="3757"/>
                </a:lnTo>
                <a:lnTo>
                  <a:pt x="82833" y="2996"/>
                </a:lnTo>
                <a:lnTo>
                  <a:pt x="80473" y="2313"/>
                </a:lnTo>
                <a:lnTo>
                  <a:pt x="78098" y="1708"/>
                </a:lnTo>
                <a:lnTo>
                  <a:pt x="75676" y="1195"/>
                </a:lnTo>
                <a:lnTo>
                  <a:pt x="73224" y="776"/>
                </a:lnTo>
                <a:lnTo>
                  <a:pt x="70756" y="450"/>
                </a:lnTo>
                <a:lnTo>
                  <a:pt x="68256" y="202"/>
                </a:lnTo>
                <a:lnTo>
                  <a:pt x="65741" y="47"/>
                </a:lnTo>
                <a:lnTo>
                  <a:pt x="64469" y="16"/>
                </a:lnTo>
                <a:lnTo>
                  <a:pt x="62932" y="0"/>
                </a:lnTo>
                <a:close/>
              </a:path>
            </a:pathLst>
          </a:custGeom>
          <a:solidFill>
            <a:srgbClr val="F7224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191067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A7B17"/>
          </p15:clr>
        </p15:guide>
        <p15:guide id="2" pos="3840">
          <p15:clr>
            <a:srgbClr val="FA7B17"/>
          </p15:clr>
        </p15:guide>
        <p15:guide id="3" pos="3621">
          <p15:clr>
            <a:srgbClr val="FA7B17"/>
          </p15:clr>
        </p15:guide>
        <p15:guide id="4" pos="4059">
          <p15:clr>
            <a:srgbClr val="FA7B17"/>
          </p15:clr>
        </p15:guide>
        <p15:guide id="5" pos="262">
          <p15:clr>
            <a:srgbClr val="FA7B17"/>
          </p15:clr>
        </p15:guide>
        <p15:guide id="6" pos="7418">
          <p15:clr>
            <a:srgbClr val="FA7B17"/>
          </p15:clr>
        </p15:guide>
        <p15:guide id="7" orient="horz" pos="929">
          <p15:clr>
            <a:srgbClr val="FA7B17"/>
          </p15:clr>
        </p15:guide>
        <p15:guide id="8" orient="horz" pos="1071">
          <p15:clr>
            <a:srgbClr val="FA7B17"/>
          </p15:clr>
        </p15:guide>
        <p15:guide id="9" orient="horz" pos="1234">
          <p15:clr>
            <a:srgbClr val="FA7B17"/>
          </p15:clr>
        </p15:guide>
        <p15:guide id="10" orient="horz" pos="3837">
          <p15:clr>
            <a:srgbClr val="FA7B17"/>
          </p15:clr>
        </p15:guide>
        <p15:guide id="11" orient="horz" pos="313">
          <p15:clr>
            <a:srgbClr val="FA7B17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subjetcs">
  <p:cSld name="Title and three subjetcs">
    <p:bg>
      <p:bgPr>
        <a:solidFill>
          <a:schemeClr val="lt1"/>
        </a:solidFill>
        <a:effectLst/>
      </p:bgPr>
    </p:bg>
    <p:spTree>
      <p:nvGrpSpPr>
        <p:cNvPr id="1" name="Shape 2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7" name="Google Shape;267;p17"/>
          <p:cNvSpPr txBox="1">
            <a:spLocks noGrp="1"/>
          </p:cNvSpPr>
          <p:nvPr>
            <p:ph type="sldNum" idx="12"/>
          </p:nvPr>
        </p:nvSpPr>
        <p:spPr>
          <a:xfrm>
            <a:off x="11044810" y="6091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68" name="Google Shape;268;p17"/>
          <p:cNvSpPr txBox="1">
            <a:spLocks noGrp="1"/>
          </p:cNvSpPr>
          <p:nvPr>
            <p:ph type="title"/>
          </p:nvPr>
        </p:nvSpPr>
        <p:spPr>
          <a:xfrm>
            <a:off x="415600" y="1226067"/>
            <a:ext cx="11360700" cy="393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00"/>
              <a:buFont typeface="Lato"/>
              <a:buNone/>
              <a:defRPr sz="19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cxnSp>
        <p:nvCxnSpPr>
          <p:cNvPr id="269" name="Google Shape;269;p17"/>
          <p:cNvCxnSpPr/>
          <p:nvPr/>
        </p:nvCxnSpPr>
        <p:spPr>
          <a:xfrm>
            <a:off x="520333" y="1901983"/>
            <a:ext cx="0" cy="3570000"/>
          </a:xfrm>
          <a:prstGeom prst="straightConnector1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70" name="Google Shape;270;p17"/>
          <p:cNvCxnSpPr/>
          <p:nvPr/>
        </p:nvCxnSpPr>
        <p:spPr>
          <a:xfrm>
            <a:off x="4244867" y="1865183"/>
            <a:ext cx="0" cy="3651600"/>
          </a:xfrm>
          <a:prstGeom prst="straightConnector1">
            <a:avLst/>
          </a:prstGeom>
          <a:noFill/>
          <a:ln w="38100" cap="flat" cmpd="sng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71" name="Google Shape;271;p17"/>
          <p:cNvCxnSpPr/>
          <p:nvPr/>
        </p:nvCxnSpPr>
        <p:spPr>
          <a:xfrm>
            <a:off x="8172867" y="1828383"/>
            <a:ext cx="0" cy="3803700"/>
          </a:xfrm>
          <a:prstGeom prst="straightConnector1">
            <a:avLst/>
          </a:prstGeom>
          <a:noFill/>
          <a:ln w="38100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72" name="Google Shape;272;p17"/>
          <p:cNvSpPr>
            <a:spLocks noGrp="1"/>
          </p:cNvSpPr>
          <p:nvPr>
            <p:ph type="pic" idx="2"/>
          </p:nvPr>
        </p:nvSpPr>
        <p:spPr>
          <a:xfrm>
            <a:off x="781367" y="3948800"/>
            <a:ext cx="2717700" cy="1523100"/>
          </a:xfrm>
          <a:prstGeom prst="roundRect">
            <a:avLst>
              <a:gd name="adj" fmla="val 12833"/>
            </a:avLst>
          </a:prstGeom>
          <a:noFill/>
          <a:ln>
            <a:noFill/>
          </a:ln>
        </p:spPr>
      </p:sp>
      <p:sp>
        <p:nvSpPr>
          <p:cNvPr id="273" name="Google Shape;273;p17"/>
          <p:cNvSpPr>
            <a:spLocks noGrp="1"/>
          </p:cNvSpPr>
          <p:nvPr>
            <p:ph type="pic" idx="3"/>
          </p:nvPr>
        </p:nvSpPr>
        <p:spPr>
          <a:xfrm>
            <a:off x="4597600" y="3993600"/>
            <a:ext cx="2717700" cy="1523100"/>
          </a:xfrm>
          <a:prstGeom prst="roundRect">
            <a:avLst>
              <a:gd name="adj" fmla="val 12833"/>
            </a:avLst>
          </a:prstGeom>
          <a:noFill/>
          <a:ln>
            <a:noFill/>
          </a:ln>
        </p:spPr>
      </p:sp>
      <p:sp>
        <p:nvSpPr>
          <p:cNvPr id="274" name="Google Shape;274;p17"/>
          <p:cNvSpPr>
            <a:spLocks noGrp="1"/>
          </p:cNvSpPr>
          <p:nvPr>
            <p:ph type="pic" idx="4"/>
          </p:nvPr>
        </p:nvSpPr>
        <p:spPr>
          <a:xfrm>
            <a:off x="8534400" y="3971300"/>
            <a:ext cx="2717700" cy="1523100"/>
          </a:xfrm>
          <a:prstGeom prst="roundRect">
            <a:avLst>
              <a:gd name="adj" fmla="val 12833"/>
            </a:avLst>
          </a:prstGeom>
          <a:noFill/>
          <a:ln>
            <a:noFill/>
          </a:ln>
        </p:spPr>
      </p:sp>
      <p:sp>
        <p:nvSpPr>
          <p:cNvPr id="275" name="Google Shape;275;p17"/>
          <p:cNvSpPr txBox="1">
            <a:spLocks noGrp="1"/>
          </p:cNvSpPr>
          <p:nvPr>
            <p:ph type="subTitle" idx="1"/>
          </p:nvPr>
        </p:nvSpPr>
        <p:spPr>
          <a:xfrm>
            <a:off x="872800" y="2721800"/>
            <a:ext cx="3029100" cy="6525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00"/>
              <a:buNone/>
              <a:defRPr sz="1700"/>
            </a:lvl1pPr>
            <a:lvl2pPr lvl="1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/>
            </a:lvl2pPr>
            <a:lvl3pPr lvl="2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/>
            </a:lvl3pPr>
            <a:lvl4pPr lvl="3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/>
            </a:lvl4pPr>
            <a:lvl5pPr lvl="4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/>
            </a:lvl5pPr>
            <a:lvl6pPr lvl="5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/>
            </a:lvl6pPr>
            <a:lvl7pPr lvl="6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/>
            </a:lvl7pPr>
            <a:lvl8pPr lvl="7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/>
            </a:lvl8pPr>
            <a:lvl9pPr lvl="8" rtl="0">
              <a:lnSpc>
                <a:spcPct val="100000"/>
              </a:lnSpc>
              <a:spcBef>
                <a:spcPts val="1300"/>
              </a:spcBef>
              <a:spcAft>
                <a:spcPts val="1300"/>
              </a:spcAft>
              <a:buSzPts val="1700"/>
              <a:buNone/>
              <a:defRPr sz="1700"/>
            </a:lvl9pPr>
          </a:lstStyle>
          <a:p>
            <a:endParaRPr/>
          </a:p>
        </p:txBody>
      </p:sp>
      <p:sp>
        <p:nvSpPr>
          <p:cNvPr id="276" name="Google Shape;276;p17"/>
          <p:cNvSpPr txBox="1">
            <a:spLocks noGrp="1"/>
          </p:cNvSpPr>
          <p:nvPr>
            <p:ph type="subTitle" idx="5"/>
          </p:nvPr>
        </p:nvSpPr>
        <p:spPr>
          <a:xfrm>
            <a:off x="872800" y="2053867"/>
            <a:ext cx="3029100" cy="6525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00"/>
              <a:buNone/>
              <a:defRPr sz="1700" b="1"/>
            </a:lvl1pPr>
            <a:lvl2pPr lvl="1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 b="1"/>
            </a:lvl2pPr>
            <a:lvl3pPr lvl="2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 b="1"/>
            </a:lvl3pPr>
            <a:lvl4pPr lvl="3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 b="1"/>
            </a:lvl4pPr>
            <a:lvl5pPr lvl="4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 b="1"/>
            </a:lvl5pPr>
            <a:lvl6pPr lvl="5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 b="1"/>
            </a:lvl6pPr>
            <a:lvl7pPr lvl="6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 b="1"/>
            </a:lvl7pPr>
            <a:lvl8pPr lvl="7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 b="1"/>
            </a:lvl8pPr>
            <a:lvl9pPr lvl="8" rtl="0">
              <a:lnSpc>
                <a:spcPct val="100000"/>
              </a:lnSpc>
              <a:spcBef>
                <a:spcPts val="1300"/>
              </a:spcBef>
              <a:spcAft>
                <a:spcPts val="1300"/>
              </a:spcAft>
              <a:buSzPts val="1700"/>
              <a:buNone/>
              <a:defRPr sz="1700" b="1"/>
            </a:lvl9pPr>
          </a:lstStyle>
          <a:p>
            <a:endParaRPr/>
          </a:p>
        </p:txBody>
      </p:sp>
      <p:sp>
        <p:nvSpPr>
          <p:cNvPr id="277" name="Google Shape;277;p17"/>
          <p:cNvSpPr txBox="1">
            <a:spLocks noGrp="1"/>
          </p:cNvSpPr>
          <p:nvPr>
            <p:ph type="subTitle" idx="6"/>
          </p:nvPr>
        </p:nvSpPr>
        <p:spPr>
          <a:xfrm>
            <a:off x="4587733" y="2721800"/>
            <a:ext cx="3029100" cy="6525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00"/>
              <a:buNone/>
              <a:defRPr sz="1700"/>
            </a:lvl1pPr>
            <a:lvl2pPr lvl="1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/>
            </a:lvl2pPr>
            <a:lvl3pPr lvl="2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/>
            </a:lvl3pPr>
            <a:lvl4pPr lvl="3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/>
            </a:lvl4pPr>
            <a:lvl5pPr lvl="4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/>
            </a:lvl5pPr>
            <a:lvl6pPr lvl="5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/>
            </a:lvl6pPr>
            <a:lvl7pPr lvl="6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/>
            </a:lvl7pPr>
            <a:lvl8pPr lvl="7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/>
            </a:lvl8pPr>
            <a:lvl9pPr lvl="8" rtl="0">
              <a:lnSpc>
                <a:spcPct val="100000"/>
              </a:lnSpc>
              <a:spcBef>
                <a:spcPts val="1300"/>
              </a:spcBef>
              <a:spcAft>
                <a:spcPts val="1300"/>
              </a:spcAft>
              <a:buSzPts val="1700"/>
              <a:buNone/>
              <a:defRPr sz="1700"/>
            </a:lvl9pPr>
          </a:lstStyle>
          <a:p>
            <a:endParaRPr/>
          </a:p>
        </p:txBody>
      </p:sp>
      <p:sp>
        <p:nvSpPr>
          <p:cNvPr id="278" name="Google Shape;278;p17"/>
          <p:cNvSpPr txBox="1">
            <a:spLocks noGrp="1"/>
          </p:cNvSpPr>
          <p:nvPr>
            <p:ph type="subTitle" idx="7"/>
          </p:nvPr>
        </p:nvSpPr>
        <p:spPr>
          <a:xfrm>
            <a:off x="4587733" y="2053867"/>
            <a:ext cx="3029100" cy="6525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00"/>
              <a:buNone/>
              <a:defRPr sz="1700" b="1"/>
            </a:lvl1pPr>
            <a:lvl2pPr lvl="1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 b="1"/>
            </a:lvl2pPr>
            <a:lvl3pPr lvl="2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 b="1"/>
            </a:lvl3pPr>
            <a:lvl4pPr lvl="3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 b="1"/>
            </a:lvl4pPr>
            <a:lvl5pPr lvl="4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 b="1"/>
            </a:lvl5pPr>
            <a:lvl6pPr lvl="5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 b="1"/>
            </a:lvl6pPr>
            <a:lvl7pPr lvl="6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 b="1"/>
            </a:lvl7pPr>
            <a:lvl8pPr lvl="7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 b="1"/>
            </a:lvl8pPr>
            <a:lvl9pPr lvl="8" rtl="0">
              <a:lnSpc>
                <a:spcPct val="100000"/>
              </a:lnSpc>
              <a:spcBef>
                <a:spcPts val="1300"/>
              </a:spcBef>
              <a:spcAft>
                <a:spcPts val="1300"/>
              </a:spcAft>
              <a:buSzPts val="1700"/>
              <a:buNone/>
              <a:defRPr sz="1700" b="1"/>
            </a:lvl9pPr>
          </a:lstStyle>
          <a:p>
            <a:endParaRPr/>
          </a:p>
        </p:txBody>
      </p:sp>
      <p:sp>
        <p:nvSpPr>
          <p:cNvPr id="279" name="Google Shape;279;p17"/>
          <p:cNvSpPr txBox="1">
            <a:spLocks noGrp="1"/>
          </p:cNvSpPr>
          <p:nvPr>
            <p:ph type="subTitle" idx="8"/>
          </p:nvPr>
        </p:nvSpPr>
        <p:spPr>
          <a:xfrm>
            <a:off x="8534400" y="2721800"/>
            <a:ext cx="3029100" cy="6525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00"/>
              <a:buNone/>
              <a:defRPr sz="1700"/>
            </a:lvl1pPr>
            <a:lvl2pPr lvl="1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/>
            </a:lvl2pPr>
            <a:lvl3pPr lvl="2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/>
            </a:lvl3pPr>
            <a:lvl4pPr lvl="3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/>
            </a:lvl4pPr>
            <a:lvl5pPr lvl="4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/>
            </a:lvl5pPr>
            <a:lvl6pPr lvl="5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/>
            </a:lvl6pPr>
            <a:lvl7pPr lvl="6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/>
            </a:lvl7pPr>
            <a:lvl8pPr lvl="7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/>
            </a:lvl8pPr>
            <a:lvl9pPr lvl="8" rtl="0">
              <a:lnSpc>
                <a:spcPct val="100000"/>
              </a:lnSpc>
              <a:spcBef>
                <a:spcPts val="1300"/>
              </a:spcBef>
              <a:spcAft>
                <a:spcPts val="1300"/>
              </a:spcAft>
              <a:buSzPts val="1700"/>
              <a:buNone/>
              <a:defRPr sz="1700"/>
            </a:lvl9pPr>
          </a:lstStyle>
          <a:p>
            <a:endParaRPr/>
          </a:p>
        </p:txBody>
      </p:sp>
      <p:sp>
        <p:nvSpPr>
          <p:cNvPr id="280" name="Google Shape;280;p17"/>
          <p:cNvSpPr txBox="1">
            <a:spLocks noGrp="1"/>
          </p:cNvSpPr>
          <p:nvPr>
            <p:ph type="subTitle" idx="9"/>
          </p:nvPr>
        </p:nvSpPr>
        <p:spPr>
          <a:xfrm>
            <a:off x="8534400" y="2053867"/>
            <a:ext cx="3029100" cy="6525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700"/>
              <a:buNone/>
              <a:defRPr sz="1700" b="1"/>
            </a:lvl1pPr>
            <a:lvl2pPr lvl="1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 b="1"/>
            </a:lvl2pPr>
            <a:lvl3pPr lvl="2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 b="1"/>
            </a:lvl3pPr>
            <a:lvl4pPr lvl="3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 b="1"/>
            </a:lvl4pPr>
            <a:lvl5pPr lvl="4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 b="1"/>
            </a:lvl5pPr>
            <a:lvl6pPr lvl="5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 b="1"/>
            </a:lvl6pPr>
            <a:lvl7pPr lvl="6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 b="1"/>
            </a:lvl7pPr>
            <a:lvl8pPr lvl="7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 b="1"/>
            </a:lvl8pPr>
            <a:lvl9pPr lvl="8" rtl="0">
              <a:lnSpc>
                <a:spcPct val="100000"/>
              </a:lnSpc>
              <a:spcBef>
                <a:spcPts val="1300"/>
              </a:spcBef>
              <a:spcAft>
                <a:spcPts val="1300"/>
              </a:spcAft>
              <a:buSzPts val="1700"/>
              <a:buNone/>
              <a:defRPr sz="1700" b="1"/>
            </a:lvl9pPr>
          </a:lstStyle>
          <a:p>
            <a:endParaRPr/>
          </a:p>
        </p:txBody>
      </p:sp>
      <p:sp>
        <p:nvSpPr>
          <p:cNvPr id="281" name="Google Shape;281;p17"/>
          <p:cNvSpPr/>
          <p:nvPr/>
        </p:nvSpPr>
        <p:spPr>
          <a:xfrm rot="10800000">
            <a:off x="3833" y="67"/>
            <a:ext cx="11147700" cy="10329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2" name="Google Shape;282;p17"/>
          <p:cNvSpPr/>
          <p:nvPr/>
        </p:nvSpPr>
        <p:spPr>
          <a:xfrm>
            <a:off x="-23600" y="0"/>
            <a:ext cx="1266300" cy="10329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3" name="Google Shape;283;p17"/>
          <p:cNvSpPr txBox="1">
            <a:spLocks noGrp="1"/>
          </p:cNvSpPr>
          <p:nvPr>
            <p:ph type="title" idx="13"/>
          </p:nvPr>
        </p:nvSpPr>
        <p:spPr>
          <a:xfrm>
            <a:off x="415600" y="398067"/>
            <a:ext cx="101241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1pPr>
            <a:lvl2pPr lvl="1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2pPr>
            <a:lvl3pPr lvl="2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3pPr>
            <a:lvl4pPr lvl="3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4pPr>
            <a:lvl5pPr lvl="4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5pPr>
            <a:lvl6pPr lvl="5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6pPr>
            <a:lvl7pPr lvl="6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7pPr>
            <a:lvl8pPr lvl="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8pPr>
            <a:lvl9pPr lvl="8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284" name="Google Shape;284;p17"/>
          <p:cNvSpPr/>
          <p:nvPr/>
        </p:nvSpPr>
        <p:spPr>
          <a:xfrm>
            <a:off x="11525533" y="364133"/>
            <a:ext cx="365273" cy="304371"/>
          </a:xfrm>
          <a:custGeom>
            <a:avLst/>
            <a:gdLst/>
            <a:ahLst/>
            <a:cxnLst/>
            <a:rect l="l" t="t" r="r" b="b"/>
            <a:pathLst>
              <a:path w="251479" h="209550" extrusionOk="0">
                <a:moveTo>
                  <a:pt x="62932" y="0"/>
                </a:moveTo>
                <a:lnTo>
                  <a:pt x="59858" y="78"/>
                </a:lnTo>
                <a:lnTo>
                  <a:pt x="56847" y="326"/>
                </a:lnTo>
                <a:lnTo>
                  <a:pt x="53851" y="714"/>
                </a:lnTo>
                <a:lnTo>
                  <a:pt x="50901" y="1257"/>
                </a:lnTo>
                <a:lnTo>
                  <a:pt x="47998" y="1925"/>
                </a:lnTo>
                <a:lnTo>
                  <a:pt x="45142" y="2748"/>
                </a:lnTo>
                <a:lnTo>
                  <a:pt x="42348" y="3695"/>
                </a:lnTo>
                <a:lnTo>
                  <a:pt x="39600" y="4781"/>
                </a:lnTo>
                <a:lnTo>
                  <a:pt x="36915" y="5992"/>
                </a:lnTo>
                <a:lnTo>
                  <a:pt x="34291" y="7327"/>
                </a:lnTo>
                <a:lnTo>
                  <a:pt x="31730" y="8786"/>
                </a:lnTo>
                <a:lnTo>
                  <a:pt x="29246" y="10354"/>
                </a:lnTo>
                <a:lnTo>
                  <a:pt x="26840" y="12031"/>
                </a:lnTo>
                <a:lnTo>
                  <a:pt x="24511" y="13831"/>
                </a:lnTo>
                <a:lnTo>
                  <a:pt x="22261" y="15741"/>
                </a:lnTo>
                <a:lnTo>
                  <a:pt x="20087" y="17743"/>
                </a:lnTo>
                <a:lnTo>
                  <a:pt x="18023" y="19839"/>
                </a:lnTo>
                <a:lnTo>
                  <a:pt x="16036" y="22043"/>
                </a:lnTo>
                <a:lnTo>
                  <a:pt x="14157" y="24325"/>
                </a:lnTo>
                <a:lnTo>
                  <a:pt x="12372" y="26716"/>
                </a:lnTo>
                <a:lnTo>
                  <a:pt x="10696" y="29168"/>
                </a:lnTo>
                <a:lnTo>
                  <a:pt x="9112" y="31714"/>
                </a:lnTo>
                <a:lnTo>
                  <a:pt x="7653" y="34338"/>
                </a:lnTo>
                <a:lnTo>
                  <a:pt x="6318" y="37039"/>
                </a:lnTo>
                <a:lnTo>
                  <a:pt x="5092" y="39802"/>
                </a:lnTo>
                <a:lnTo>
                  <a:pt x="3990" y="42643"/>
                </a:lnTo>
                <a:lnTo>
                  <a:pt x="3012" y="45546"/>
                </a:lnTo>
                <a:lnTo>
                  <a:pt x="2173" y="48495"/>
                </a:lnTo>
                <a:lnTo>
                  <a:pt x="1459" y="51507"/>
                </a:lnTo>
                <a:lnTo>
                  <a:pt x="885" y="54580"/>
                </a:lnTo>
                <a:lnTo>
                  <a:pt x="450" y="57700"/>
                </a:lnTo>
                <a:lnTo>
                  <a:pt x="310" y="59268"/>
                </a:lnTo>
                <a:lnTo>
                  <a:pt x="186" y="60665"/>
                </a:lnTo>
                <a:lnTo>
                  <a:pt x="31" y="63475"/>
                </a:lnTo>
                <a:lnTo>
                  <a:pt x="0" y="66269"/>
                </a:lnTo>
                <a:lnTo>
                  <a:pt x="62" y="69063"/>
                </a:lnTo>
                <a:lnTo>
                  <a:pt x="217" y="71842"/>
                </a:lnTo>
                <a:lnTo>
                  <a:pt x="466" y="74605"/>
                </a:lnTo>
                <a:lnTo>
                  <a:pt x="823" y="77368"/>
                </a:lnTo>
                <a:lnTo>
                  <a:pt x="1257" y="80132"/>
                </a:lnTo>
                <a:lnTo>
                  <a:pt x="1801" y="82864"/>
                </a:lnTo>
                <a:lnTo>
                  <a:pt x="2422" y="85611"/>
                </a:lnTo>
                <a:lnTo>
                  <a:pt x="3120" y="88328"/>
                </a:lnTo>
                <a:lnTo>
                  <a:pt x="3912" y="91045"/>
                </a:lnTo>
                <a:lnTo>
                  <a:pt x="4781" y="93730"/>
                </a:lnTo>
                <a:lnTo>
                  <a:pt x="5728" y="96416"/>
                </a:lnTo>
                <a:lnTo>
                  <a:pt x="7280" y="100436"/>
                </a:lnTo>
                <a:lnTo>
                  <a:pt x="9609" y="105714"/>
                </a:lnTo>
                <a:lnTo>
                  <a:pt x="12201" y="110946"/>
                </a:lnTo>
                <a:lnTo>
                  <a:pt x="15058" y="116099"/>
                </a:lnTo>
                <a:lnTo>
                  <a:pt x="18147" y="121191"/>
                </a:lnTo>
                <a:lnTo>
                  <a:pt x="21438" y="126205"/>
                </a:lnTo>
                <a:lnTo>
                  <a:pt x="24931" y="131126"/>
                </a:lnTo>
                <a:lnTo>
                  <a:pt x="28594" y="135969"/>
                </a:lnTo>
                <a:lnTo>
                  <a:pt x="32413" y="140719"/>
                </a:lnTo>
                <a:lnTo>
                  <a:pt x="36371" y="145392"/>
                </a:lnTo>
                <a:lnTo>
                  <a:pt x="40454" y="149940"/>
                </a:lnTo>
                <a:lnTo>
                  <a:pt x="44630" y="154395"/>
                </a:lnTo>
                <a:lnTo>
                  <a:pt x="48883" y="158742"/>
                </a:lnTo>
                <a:lnTo>
                  <a:pt x="53199" y="162964"/>
                </a:lnTo>
                <a:lnTo>
                  <a:pt x="57545" y="167078"/>
                </a:lnTo>
                <a:lnTo>
                  <a:pt x="61938" y="171068"/>
                </a:lnTo>
                <a:lnTo>
                  <a:pt x="66316" y="174917"/>
                </a:lnTo>
                <a:lnTo>
                  <a:pt x="70678" y="178643"/>
                </a:lnTo>
                <a:lnTo>
                  <a:pt x="75024" y="182229"/>
                </a:lnTo>
                <a:lnTo>
                  <a:pt x="81420" y="187352"/>
                </a:lnTo>
                <a:lnTo>
                  <a:pt x="89663" y="193639"/>
                </a:lnTo>
                <a:lnTo>
                  <a:pt x="97425" y="199274"/>
                </a:lnTo>
                <a:lnTo>
                  <a:pt x="101057" y="201819"/>
                </a:lnTo>
                <a:lnTo>
                  <a:pt x="102454" y="202766"/>
                </a:lnTo>
                <a:lnTo>
                  <a:pt x="105342" y="204458"/>
                </a:lnTo>
                <a:lnTo>
                  <a:pt x="108338" y="205918"/>
                </a:lnTo>
                <a:lnTo>
                  <a:pt x="111396" y="207128"/>
                </a:lnTo>
                <a:lnTo>
                  <a:pt x="114516" y="208091"/>
                </a:lnTo>
                <a:lnTo>
                  <a:pt x="117683" y="208820"/>
                </a:lnTo>
                <a:lnTo>
                  <a:pt x="120896" y="209302"/>
                </a:lnTo>
                <a:lnTo>
                  <a:pt x="124125" y="209550"/>
                </a:lnTo>
                <a:lnTo>
                  <a:pt x="127354" y="209550"/>
                </a:lnTo>
                <a:lnTo>
                  <a:pt x="130583" y="209302"/>
                </a:lnTo>
                <a:lnTo>
                  <a:pt x="133796" y="208820"/>
                </a:lnTo>
                <a:lnTo>
                  <a:pt x="136963" y="208091"/>
                </a:lnTo>
                <a:lnTo>
                  <a:pt x="140098" y="207128"/>
                </a:lnTo>
                <a:lnTo>
                  <a:pt x="143156" y="205918"/>
                </a:lnTo>
                <a:lnTo>
                  <a:pt x="146137" y="204458"/>
                </a:lnTo>
                <a:lnTo>
                  <a:pt x="149024" y="202766"/>
                </a:lnTo>
                <a:lnTo>
                  <a:pt x="150421" y="201819"/>
                </a:lnTo>
                <a:lnTo>
                  <a:pt x="154038" y="199289"/>
                </a:lnTo>
                <a:lnTo>
                  <a:pt x="161769" y="193670"/>
                </a:lnTo>
                <a:lnTo>
                  <a:pt x="169981" y="187414"/>
                </a:lnTo>
                <a:lnTo>
                  <a:pt x="176361" y="182306"/>
                </a:lnTo>
                <a:lnTo>
                  <a:pt x="180676" y="178736"/>
                </a:lnTo>
                <a:lnTo>
                  <a:pt x="185023" y="175042"/>
                </a:lnTo>
                <a:lnTo>
                  <a:pt x="189385" y="171192"/>
                </a:lnTo>
                <a:lnTo>
                  <a:pt x="193763" y="167233"/>
                </a:lnTo>
                <a:lnTo>
                  <a:pt x="198094" y="163151"/>
                </a:lnTo>
                <a:lnTo>
                  <a:pt x="202394" y="158944"/>
                </a:lnTo>
                <a:lnTo>
                  <a:pt x="206647" y="154613"/>
                </a:lnTo>
                <a:lnTo>
                  <a:pt x="210807" y="150189"/>
                </a:lnTo>
                <a:lnTo>
                  <a:pt x="214874" y="145656"/>
                </a:lnTo>
                <a:lnTo>
                  <a:pt x="218817" y="141014"/>
                </a:lnTo>
                <a:lnTo>
                  <a:pt x="222636" y="136280"/>
                </a:lnTo>
                <a:lnTo>
                  <a:pt x="226300" y="131467"/>
                </a:lnTo>
                <a:lnTo>
                  <a:pt x="229792" y="126562"/>
                </a:lnTo>
                <a:lnTo>
                  <a:pt x="233083" y="121579"/>
                </a:lnTo>
                <a:lnTo>
                  <a:pt x="236173" y="116518"/>
                </a:lnTo>
                <a:lnTo>
                  <a:pt x="239044" y="111380"/>
                </a:lnTo>
                <a:lnTo>
                  <a:pt x="241652" y="106180"/>
                </a:lnTo>
                <a:lnTo>
                  <a:pt x="243996" y="100917"/>
                </a:lnTo>
                <a:lnTo>
                  <a:pt x="245564" y="96928"/>
                </a:lnTo>
                <a:lnTo>
                  <a:pt x="246527" y="94258"/>
                </a:lnTo>
                <a:lnTo>
                  <a:pt x="247396" y="91572"/>
                </a:lnTo>
                <a:lnTo>
                  <a:pt x="248203" y="88871"/>
                </a:lnTo>
                <a:lnTo>
                  <a:pt x="248917" y="86155"/>
                </a:lnTo>
                <a:lnTo>
                  <a:pt x="249554" y="83438"/>
                </a:lnTo>
                <a:lnTo>
                  <a:pt x="250112" y="80706"/>
                </a:lnTo>
                <a:lnTo>
                  <a:pt x="250563" y="77958"/>
                </a:lnTo>
                <a:lnTo>
                  <a:pt x="250935" y="75211"/>
                </a:lnTo>
                <a:lnTo>
                  <a:pt x="251215" y="72448"/>
                </a:lnTo>
                <a:lnTo>
                  <a:pt x="251385" y="69684"/>
                </a:lnTo>
                <a:lnTo>
                  <a:pt x="251479" y="66906"/>
                </a:lnTo>
                <a:lnTo>
                  <a:pt x="251463" y="64127"/>
                </a:lnTo>
                <a:lnTo>
                  <a:pt x="251339" y="61333"/>
                </a:lnTo>
                <a:lnTo>
                  <a:pt x="251230" y="59936"/>
                </a:lnTo>
                <a:lnTo>
                  <a:pt x="251199" y="59610"/>
                </a:lnTo>
                <a:lnTo>
                  <a:pt x="251184" y="59268"/>
                </a:lnTo>
                <a:lnTo>
                  <a:pt x="250966" y="57235"/>
                </a:lnTo>
                <a:lnTo>
                  <a:pt x="250361" y="53199"/>
                </a:lnTo>
                <a:lnTo>
                  <a:pt x="249507" y="49256"/>
                </a:lnTo>
                <a:lnTo>
                  <a:pt x="248436" y="45421"/>
                </a:lnTo>
                <a:lnTo>
                  <a:pt x="247132" y="41665"/>
                </a:lnTo>
                <a:lnTo>
                  <a:pt x="245626" y="38032"/>
                </a:lnTo>
                <a:lnTo>
                  <a:pt x="243919" y="34508"/>
                </a:lnTo>
                <a:lnTo>
                  <a:pt x="242009" y="31124"/>
                </a:lnTo>
                <a:lnTo>
                  <a:pt x="240969" y="29479"/>
                </a:lnTo>
                <a:lnTo>
                  <a:pt x="240209" y="28299"/>
                </a:lnTo>
                <a:lnTo>
                  <a:pt x="239401" y="27135"/>
                </a:lnTo>
                <a:lnTo>
                  <a:pt x="238594" y="26110"/>
                </a:lnTo>
                <a:lnTo>
                  <a:pt x="237244" y="24667"/>
                </a:lnTo>
                <a:lnTo>
                  <a:pt x="236281" y="23766"/>
                </a:lnTo>
                <a:lnTo>
                  <a:pt x="235784" y="23332"/>
                </a:lnTo>
                <a:lnTo>
                  <a:pt x="234837" y="22571"/>
                </a:lnTo>
                <a:lnTo>
                  <a:pt x="232882" y="21236"/>
                </a:lnTo>
                <a:lnTo>
                  <a:pt x="230832" y="20134"/>
                </a:lnTo>
                <a:lnTo>
                  <a:pt x="228690" y="19233"/>
                </a:lnTo>
                <a:lnTo>
                  <a:pt x="226517" y="18566"/>
                </a:lnTo>
                <a:lnTo>
                  <a:pt x="224297" y="18116"/>
                </a:lnTo>
                <a:lnTo>
                  <a:pt x="222046" y="17883"/>
                </a:lnTo>
                <a:lnTo>
                  <a:pt x="219795" y="17867"/>
                </a:lnTo>
                <a:lnTo>
                  <a:pt x="217544" y="18069"/>
                </a:lnTo>
                <a:lnTo>
                  <a:pt x="215325" y="18473"/>
                </a:lnTo>
                <a:lnTo>
                  <a:pt x="213167" y="19094"/>
                </a:lnTo>
                <a:lnTo>
                  <a:pt x="211056" y="19916"/>
                </a:lnTo>
                <a:lnTo>
                  <a:pt x="209007" y="20957"/>
                </a:lnTo>
                <a:lnTo>
                  <a:pt x="207082" y="22214"/>
                </a:lnTo>
                <a:lnTo>
                  <a:pt x="205250" y="23658"/>
                </a:lnTo>
                <a:lnTo>
                  <a:pt x="203542" y="25319"/>
                </a:lnTo>
                <a:lnTo>
                  <a:pt x="202751" y="26219"/>
                </a:lnTo>
                <a:lnTo>
                  <a:pt x="185504" y="46787"/>
                </a:lnTo>
                <a:lnTo>
                  <a:pt x="141775" y="98899"/>
                </a:lnTo>
                <a:lnTo>
                  <a:pt x="141232" y="99567"/>
                </a:lnTo>
                <a:lnTo>
                  <a:pt x="140285" y="100964"/>
                </a:lnTo>
                <a:lnTo>
                  <a:pt x="139508" y="102439"/>
                </a:lnTo>
                <a:lnTo>
                  <a:pt x="138903" y="103976"/>
                </a:lnTo>
                <a:lnTo>
                  <a:pt x="138468" y="105543"/>
                </a:lnTo>
                <a:lnTo>
                  <a:pt x="138189" y="107142"/>
                </a:lnTo>
                <a:lnTo>
                  <a:pt x="138065" y="108741"/>
                </a:lnTo>
                <a:lnTo>
                  <a:pt x="138111" y="110356"/>
                </a:lnTo>
                <a:lnTo>
                  <a:pt x="138329" y="111955"/>
                </a:lnTo>
                <a:lnTo>
                  <a:pt x="138701" y="113522"/>
                </a:lnTo>
                <a:lnTo>
                  <a:pt x="139229" y="115044"/>
                </a:lnTo>
                <a:lnTo>
                  <a:pt x="139912" y="116518"/>
                </a:lnTo>
                <a:lnTo>
                  <a:pt x="140750" y="117931"/>
                </a:lnTo>
                <a:lnTo>
                  <a:pt x="141759" y="119266"/>
                </a:lnTo>
                <a:lnTo>
                  <a:pt x="142908" y="120492"/>
                </a:lnTo>
                <a:lnTo>
                  <a:pt x="144212" y="121626"/>
                </a:lnTo>
                <a:lnTo>
                  <a:pt x="144926" y="122138"/>
                </a:lnTo>
                <a:lnTo>
                  <a:pt x="145438" y="122479"/>
                </a:lnTo>
                <a:lnTo>
                  <a:pt x="146494" y="123085"/>
                </a:lnTo>
                <a:lnTo>
                  <a:pt x="147581" y="123613"/>
                </a:lnTo>
                <a:lnTo>
                  <a:pt x="148698" y="124063"/>
                </a:lnTo>
                <a:lnTo>
                  <a:pt x="149863" y="124420"/>
                </a:lnTo>
                <a:lnTo>
                  <a:pt x="151042" y="124684"/>
                </a:lnTo>
                <a:lnTo>
                  <a:pt x="152238" y="124854"/>
                </a:lnTo>
                <a:lnTo>
                  <a:pt x="153448" y="124932"/>
                </a:lnTo>
                <a:lnTo>
                  <a:pt x="154069" y="124932"/>
                </a:lnTo>
                <a:lnTo>
                  <a:pt x="154939" y="124901"/>
                </a:lnTo>
                <a:lnTo>
                  <a:pt x="156662" y="124699"/>
                </a:lnTo>
                <a:lnTo>
                  <a:pt x="158338" y="124311"/>
                </a:lnTo>
                <a:lnTo>
                  <a:pt x="159937" y="123752"/>
                </a:lnTo>
                <a:lnTo>
                  <a:pt x="161459" y="123038"/>
                </a:lnTo>
                <a:lnTo>
                  <a:pt x="162902" y="122153"/>
                </a:lnTo>
                <a:lnTo>
                  <a:pt x="164253" y="121113"/>
                </a:lnTo>
                <a:lnTo>
                  <a:pt x="165495" y="119918"/>
                </a:lnTo>
                <a:lnTo>
                  <a:pt x="166053" y="119266"/>
                </a:lnTo>
                <a:lnTo>
                  <a:pt x="210357" y="66471"/>
                </a:lnTo>
                <a:lnTo>
                  <a:pt x="210668" y="66130"/>
                </a:lnTo>
                <a:lnTo>
                  <a:pt x="211366" y="65586"/>
                </a:lnTo>
                <a:lnTo>
                  <a:pt x="212142" y="65183"/>
                </a:lnTo>
                <a:lnTo>
                  <a:pt x="212965" y="64950"/>
                </a:lnTo>
                <a:lnTo>
                  <a:pt x="213819" y="64872"/>
                </a:lnTo>
                <a:lnTo>
                  <a:pt x="214673" y="64965"/>
                </a:lnTo>
                <a:lnTo>
                  <a:pt x="215495" y="65214"/>
                </a:lnTo>
                <a:lnTo>
                  <a:pt x="216272" y="65633"/>
                </a:lnTo>
                <a:lnTo>
                  <a:pt x="216644" y="65928"/>
                </a:lnTo>
                <a:lnTo>
                  <a:pt x="219252" y="68117"/>
                </a:lnTo>
                <a:lnTo>
                  <a:pt x="219578" y="68412"/>
                </a:lnTo>
                <a:lnTo>
                  <a:pt x="220137" y="69110"/>
                </a:lnTo>
                <a:lnTo>
                  <a:pt x="220525" y="69886"/>
                </a:lnTo>
                <a:lnTo>
                  <a:pt x="220773" y="70709"/>
                </a:lnTo>
                <a:lnTo>
                  <a:pt x="220835" y="71563"/>
                </a:lnTo>
                <a:lnTo>
                  <a:pt x="220758" y="72417"/>
                </a:lnTo>
                <a:lnTo>
                  <a:pt x="220494" y="73239"/>
                </a:lnTo>
                <a:lnTo>
                  <a:pt x="220075" y="74031"/>
                </a:lnTo>
                <a:lnTo>
                  <a:pt x="219795" y="74388"/>
                </a:lnTo>
                <a:lnTo>
                  <a:pt x="175492" y="127183"/>
                </a:lnTo>
                <a:lnTo>
                  <a:pt x="174560" y="128239"/>
                </a:lnTo>
                <a:lnTo>
                  <a:pt x="172573" y="130195"/>
                </a:lnTo>
                <a:lnTo>
                  <a:pt x="170431" y="131918"/>
                </a:lnTo>
                <a:lnTo>
                  <a:pt x="168134" y="133423"/>
                </a:lnTo>
                <a:lnTo>
                  <a:pt x="165696" y="134681"/>
                </a:lnTo>
                <a:lnTo>
                  <a:pt x="163151" y="135705"/>
                </a:lnTo>
                <a:lnTo>
                  <a:pt x="160512" y="136481"/>
                </a:lnTo>
                <a:lnTo>
                  <a:pt x="157764" y="136994"/>
                </a:lnTo>
                <a:lnTo>
                  <a:pt x="156367" y="137133"/>
                </a:lnTo>
                <a:lnTo>
                  <a:pt x="155109" y="137227"/>
                </a:lnTo>
                <a:lnTo>
                  <a:pt x="153868" y="137242"/>
                </a:lnTo>
                <a:lnTo>
                  <a:pt x="152626" y="137227"/>
                </a:lnTo>
                <a:lnTo>
                  <a:pt x="150189" y="137009"/>
                </a:lnTo>
                <a:lnTo>
                  <a:pt x="147782" y="136590"/>
                </a:lnTo>
                <a:lnTo>
                  <a:pt x="145438" y="135954"/>
                </a:lnTo>
                <a:lnTo>
                  <a:pt x="143141" y="135131"/>
                </a:lnTo>
                <a:lnTo>
                  <a:pt x="140937" y="134091"/>
                </a:lnTo>
                <a:lnTo>
                  <a:pt x="138810" y="132865"/>
                </a:lnTo>
                <a:lnTo>
                  <a:pt x="136776" y="131436"/>
                </a:lnTo>
                <a:lnTo>
                  <a:pt x="135814" y="130645"/>
                </a:lnTo>
                <a:lnTo>
                  <a:pt x="135255" y="130179"/>
                </a:lnTo>
                <a:lnTo>
                  <a:pt x="134200" y="129201"/>
                </a:lnTo>
                <a:lnTo>
                  <a:pt x="132725" y="127649"/>
                </a:lnTo>
                <a:lnTo>
                  <a:pt x="130986" y="125460"/>
                </a:lnTo>
                <a:lnTo>
                  <a:pt x="129496" y="123131"/>
                </a:lnTo>
                <a:lnTo>
                  <a:pt x="128254" y="120679"/>
                </a:lnTo>
                <a:lnTo>
                  <a:pt x="127245" y="118148"/>
                </a:lnTo>
                <a:lnTo>
                  <a:pt x="126500" y="115540"/>
                </a:lnTo>
                <a:lnTo>
                  <a:pt x="126019" y="112870"/>
                </a:lnTo>
                <a:lnTo>
                  <a:pt x="125786" y="110185"/>
                </a:lnTo>
                <a:lnTo>
                  <a:pt x="125801" y="107468"/>
                </a:lnTo>
                <a:lnTo>
                  <a:pt x="126081" y="104783"/>
                </a:lnTo>
                <a:lnTo>
                  <a:pt x="126624" y="102113"/>
                </a:lnTo>
                <a:lnTo>
                  <a:pt x="127431" y="99489"/>
                </a:lnTo>
                <a:lnTo>
                  <a:pt x="128487" y="96928"/>
                </a:lnTo>
                <a:lnTo>
                  <a:pt x="129822" y="94460"/>
                </a:lnTo>
                <a:lnTo>
                  <a:pt x="131017" y="92690"/>
                </a:lnTo>
                <a:lnTo>
                  <a:pt x="131887" y="91541"/>
                </a:lnTo>
                <a:lnTo>
                  <a:pt x="132337" y="90967"/>
                </a:lnTo>
                <a:lnTo>
                  <a:pt x="157966" y="60432"/>
                </a:lnTo>
                <a:lnTo>
                  <a:pt x="193312" y="18302"/>
                </a:lnTo>
                <a:lnTo>
                  <a:pt x="193856" y="17681"/>
                </a:lnTo>
                <a:lnTo>
                  <a:pt x="194958" y="16470"/>
                </a:lnTo>
                <a:lnTo>
                  <a:pt x="196697" y="14778"/>
                </a:lnTo>
                <a:lnTo>
                  <a:pt x="199149" y="12745"/>
                </a:lnTo>
                <a:lnTo>
                  <a:pt x="201757" y="10960"/>
                </a:lnTo>
                <a:lnTo>
                  <a:pt x="204474" y="9423"/>
                </a:lnTo>
                <a:lnTo>
                  <a:pt x="207299" y="8134"/>
                </a:lnTo>
                <a:lnTo>
                  <a:pt x="210217" y="7110"/>
                </a:lnTo>
                <a:lnTo>
                  <a:pt x="213198" y="6334"/>
                </a:lnTo>
                <a:lnTo>
                  <a:pt x="214704" y="6054"/>
                </a:lnTo>
                <a:lnTo>
                  <a:pt x="213105" y="5309"/>
                </a:lnTo>
                <a:lnTo>
                  <a:pt x="209860" y="3958"/>
                </a:lnTo>
                <a:lnTo>
                  <a:pt x="206523" y="2810"/>
                </a:lnTo>
                <a:lnTo>
                  <a:pt x="203108" y="1832"/>
                </a:lnTo>
                <a:lnTo>
                  <a:pt x="199630" y="1056"/>
                </a:lnTo>
                <a:lnTo>
                  <a:pt x="196091" y="497"/>
                </a:lnTo>
                <a:lnTo>
                  <a:pt x="192505" y="140"/>
                </a:lnTo>
                <a:lnTo>
                  <a:pt x="188857" y="0"/>
                </a:lnTo>
                <a:lnTo>
                  <a:pt x="187010" y="16"/>
                </a:lnTo>
                <a:lnTo>
                  <a:pt x="185737" y="47"/>
                </a:lnTo>
                <a:lnTo>
                  <a:pt x="183222" y="202"/>
                </a:lnTo>
                <a:lnTo>
                  <a:pt x="180723" y="450"/>
                </a:lnTo>
                <a:lnTo>
                  <a:pt x="178255" y="776"/>
                </a:lnTo>
                <a:lnTo>
                  <a:pt x="175802" y="1195"/>
                </a:lnTo>
                <a:lnTo>
                  <a:pt x="173380" y="1708"/>
                </a:lnTo>
                <a:lnTo>
                  <a:pt x="171005" y="2313"/>
                </a:lnTo>
                <a:lnTo>
                  <a:pt x="168646" y="2996"/>
                </a:lnTo>
                <a:lnTo>
                  <a:pt x="166317" y="3757"/>
                </a:lnTo>
                <a:lnTo>
                  <a:pt x="164035" y="4610"/>
                </a:lnTo>
                <a:lnTo>
                  <a:pt x="161800" y="5542"/>
                </a:lnTo>
                <a:lnTo>
                  <a:pt x="159596" y="6551"/>
                </a:lnTo>
                <a:lnTo>
                  <a:pt x="157422" y="7638"/>
                </a:lnTo>
                <a:lnTo>
                  <a:pt x="155311" y="8786"/>
                </a:lnTo>
                <a:lnTo>
                  <a:pt x="153247" y="10028"/>
                </a:lnTo>
                <a:lnTo>
                  <a:pt x="151213" y="11332"/>
                </a:lnTo>
                <a:lnTo>
                  <a:pt x="149257" y="12714"/>
                </a:lnTo>
                <a:lnTo>
                  <a:pt x="147332" y="14157"/>
                </a:lnTo>
                <a:lnTo>
                  <a:pt x="145469" y="15679"/>
                </a:lnTo>
                <a:lnTo>
                  <a:pt x="143669" y="17262"/>
                </a:lnTo>
                <a:lnTo>
                  <a:pt x="141930" y="18907"/>
                </a:lnTo>
                <a:lnTo>
                  <a:pt x="140254" y="20615"/>
                </a:lnTo>
                <a:lnTo>
                  <a:pt x="138624" y="22385"/>
                </a:lnTo>
                <a:lnTo>
                  <a:pt x="137071" y="24216"/>
                </a:lnTo>
                <a:lnTo>
                  <a:pt x="135597" y="26095"/>
                </a:lnTo>
                <a:lnTo>
                  <a:pt x="134184" y="28035"/>
                </a:lnTo>
                <a:lnTo>
                  <a:pt x="132833" y="30038"/>
                </a:lnTo>
                <a:lnTo>
                  <a:pt x="131561" y="32102"/>
                </a:lnTo>
                <a:lnTo>
                  <a:pt x="130381" y="34198"/>
                </a:lnTo>
                <a:lnTo>
                  <a:pt x="129263" y="36356"/>
                </a:lnTo>
                <a:lnTo>
                  <a:pt x="128223" y="38560"/>
                </a:lnTo>
                <a:lnTo>
                  <a:pt x="127276" y="40826"/>
                </a:lnTo>
                <a:lnTo>
                  <a:pt x="126841" y="41960"/>
                </a:lnTo>
                <a:lnTo>
                  <a:pt x="126717" y="42270"/>
                </a:lnTo>
                <a:lnTo>
                  <a:pt x="126469" y="42720"/>
                </a:lnTo>
                <a:lnTo>
                  <a:pt x="126205" y="42969"/>
                </a:lnTo>
                <a:lnTo>
                  <a:pt x="125910" y="43062"/>
                </a:lnTo>
                <a:lnTo>
                  <a:pt x="125739" y="43077"/>
                </a:lnTo>
                <a:lnTo>
                  <a:pt x="125569" y="43062"/>
                </a:lnTo>
                <a:lnTo>
                  <a:pt x="125274" y="42969"/>
                </a:lnTo>
                <a:lnTo>
                  <a:pt x="125010" y="42720"/>
                </a:lnTo>
                <a:lnTo>
                  <a:pt x="124761" y="42270"/>
                </a:lnTo>
                <a:lnTo>
                  <a:pt x="124637" y="41960"/>
                </a:lnTo>
                <a:lnTo>
                  <a:pt x="124202" y="40826"/>
                </a:lnTo>
                <a:lnTo>
                  <a:pt x="123256" y="38560"/>
                </a:lnTo>
                <a:lnTo>
                  <a:pt x="122215" y="36356"/>
                </a:lnTo>
                <a:lnTo>
                  <a:pt x="121098" y="34198"/>
                </a:lnTo>
                <a:lnTo>
                  <a:pt x="119918" y="32102"/>
                </a:lnTo>
                <a:lnTo>
                  <a:pt x="118645" y="30038"/>
                </a:lnTo>
                <a:lnTo>
                  <a:pt x="117295" y="28035"/>
                </a:lnTo>
                <a:lnTo>
                  <a:pt x="115882" y="26095"/>
                </a:lnTo>
                <a:lnTo>
                  <a:pt x="114407" y="24216"/>
                </a:lnTo>
                <a:lnTo>
                  <a:pt x="112855" y="22385"/>
                </a:lnTo>
                <a:lnTo>
                  <a:pt x="111225" y="20615"/>
                </a:lnTo>
                <a:lnTo>
                  <a:pt x="109548" y="18907"/>
                </a:lnTo>
                <a:lnTo>
                  <a:pt x="107810" y="17262"/>
                </a:lnTo>
                <a:lnTo>
                  <a:pt x="106009" y="15679"/>
                </a:lnTo>
                <a:lnTo>
                  <a:pt x="104146" y="14157"/>
                </a:lnTo>
                <a:lnTo>
                  <a:pt x="102221" y="12714"/>
                </a:lnTo>
                <a:lnTo>
                  <a:pt x="100265" y="11332"/>
                </a:lnTo>
                <a:lnTo>
                  <a:pt x="98232" y="10028"/>
                </a:lnTo>
                <a:lnTo>
                  <a:pt x="96167" y="8786"/>
                </a:lnTo>
                <a:lnTo>
                  <a:pt x="94056" y="7638"/>
                </a:lnTo>
                <a:lnTo>
                  <a:pt x="91883" y="6551"/>
                </a:lnTo>
                <a:lnTo>
                  <a:pt x="89678" y="5542"/>
                </a:lnTo>
                <a:lnTo>
                  <a:pt x="87443" y="4610"/>
                </a:lnTo>
                <a:lnTo>
                  <a:pt x="85161" y="3757"/>
                </a:lnTo>
                <a:lnTo>
                  <a:pt x="82833" y="2996"/>
                </a:lnTo>
                <a:lnTo>
                  <a:pt x="80473" y="2313"/>
                </a:lnTo>
                <a:lnTo>
                  <a:pt x="78098" y="1708"/>
                </a:lnTo>
                <a:lnTo>
                  <a:pt x="75676" y="1195"/>
                </a:lnTo>
                <a:lnTo>
                  <a:pt x="73224" y="776"/>
                </a:lnTo>
                <a:lnTo>
                  <a:pt x="70756" y="450"/>
                </a:lnTo>
                <a:lnTo>
                  <a:pt x="68256" y="202"/>
                </a:lnTo>
                <a:lnTo>
                  <a:pt x="65741" y="47"/>
                </a:lnTo>
                <a:lnTo>
                  <a:pt x="64469" y="16"/>
                </a:lnTo>
                <a:lnTo>
                  <a:pt x="62932" y="0"/>
                </a:lnTo>
                <a:close/>
              </a:path>
            </a:pathLst>
          </a:custGeom>
          <a:solidFill>
            <a:srgbClr val="F7224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730837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A7B17"/>
          </p15:clr>
        </p15:guide>
        <p15:guide id="2" pos="3840">
          <p15:clr>
            <a:srgbClr val="FA7B17"/>
          </p15:clr>
        </p15:guide>
        <p15:guide id="3" pos="3621">
          <p15:clr>
            <a:srgbClr val="FA7B17"/>
          </p15:clr>
        </p15:guide>
        <p15:guide id="4" pos="4059">
          <p15:clr>
            <a:srgbClr val="FA7B17"/>
          </p15:clr>
        </p15:guide>
        <p15:guide id="5" pos="262">
          <p15:clr>
            <a:srgbClr val="FA7B17"/>
          </p15:clr>
        </p15:guide>
        <p15:guide id="6" pos="7418">
          <p15:clr>
            <a:srgbClr val="FA7B17"/>
          </p15:clr>
        </p15:guide>
        <p15:guide id="7" orient="horz" pos="929">
          <p15:clr>
            <a:srgbClr val="FA7B17"/>
          </p15:clr>
        </p15:guide>
        <p15:guide id="8" orient="horz" pos="1071">
          <p15:clr>
            <a:srgbClr val="FA7B17"/>
          </p15:clr>
        </p15:guide>
        <p15:guide id="9" orient="horz" pos="1234">
          <p15:clr>
            <a:srgbClr val="FA7B17"/>
          </p15:clr>
        </p15:guide>
        <p15:guide id="10" orient="horz" pos="3837">
          <p15:clr>
            <a:srgbClr val="FA7B17"/>
          </p15:clr>
        </p15:guide>
        <p15:guide id="11" orient="horz" pos="313">
          <p15:clr>
            <a:srgbClr val="FA7B17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subjetcs 1">
  <p:cSld name="Title and three subjetcs 1">
    <p:bg>
      <p:bgPr>
        <a:solidFill>
          <a:schemeClr val="lt1"/>
        </a:solidFill>
        <a:effectLst/>
      </p:bgPr>
    </p:bg>
    <p:spTree>
      <p:nvGrpSpPr>
        <p:cNvPr id="1" name="Shape 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" name="Google Shape;286;p18"/>
          <p:cNvSpPr>
            <a:spLocks noGrp="1"/>
          </p:cNvSpPr>
          <p:nvPr>
            <p:ph type="pic" idx="2"/>
          </p:nvPr>
        </p:nvSpPr>
        <p:spPr>
          <a:xfrm>
            <a:off x="4868500" y="2126467"/>
            <a:ext cx="1903200" cy="1903200"/>
          </a:xfrm>
          <a:prstGeom prst="ellipse">
            <a:avLst/>
          </a:prstGeom>
          <a:noFill/>
          <a:ln>
            <a:noFill/>
          </a:ln>
        </p:spPr>
      </p:sp>
      <p:sp>
        <p:nvSpPr>
          <p:cNvPr id="287" name="Google Shape;287;p18"/>
          <p:cNvSpPr/>
          <p:nvPr/>
        </p:nvSpPr>
        <p:spPr>
          <a:xfrm>
            <a:off x="4563700" y="2199468"/>
            <a:ext cx="387600" cy="3876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288" name="Google Shape;288;p18"/>
          <p:cNvSpPr txBox="1"/>
          <p:nvPr/>
        </p:nvSpPr>
        <p:spPr>
          <a:xfrm>
            <a:off x="4563700" y="2126467"/>
            <a:ext cx="387600" cy="5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900" b="1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rPr>
              <a:t>2</a:t>
            </a:r>
            <a:endParaRPr sz="1900" b="1">
              <a:solidFill>
                <a:schemeClr val="lt1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289" name="Google Shape;289;p18"/>
          <p:cNvSpPr>
            <a:spLocks noGrp="1"/>
          </p:cNvSpPr>
          <p:nvPr>
            <p:ph type="pic" idx="3"/>
          </p:nvPr>
        </p:nvSpPr>
        <p:spPr>
          <a:xfrm>
            <a:off x="8777067" y="2140500"/>
            <a:ext cx="1903200" cy="1903200"/>
          </a:xfrm>
          <a:prstGeom prst="ellipse">
            <a:avLst/>
          </a:prstGeom>
          <a:noFill/>
          <a:ln>
            <a:noFill/>
          </a:ln>
        </p:spPr>
      </p:sp>
      <p:sp>
        <p:nvSpPr>
          <p:cNvPr id="290" name="Google Shape;290;p18"/>
          <p:cNvSpPr>
            <a:spLocks noGrp="1"/>
          </p:cNvSpPr>
          <p:nvPr>
            <p:ph type="pic" idx="4"/>
          </p:nvPr>
        </p:nvSpPr>
        <p:spPr>
          <a:xfrm>
            <a:off x="1078334" y="2140500"/>
            <a:ext cx="1903200" cy="1903200"/>
          </a:xfrm>
          <a:prstGeom prst="ellipse">
            <a:avLst/>
          </a:prstGeom>
          <a:noFill/>
          <a:ln>
            <a:noFill/>
          </a:ln>
        </p:spPr>
      </p:sp>
      <p:sp>
        <p:nvSpPr>
          <p:cNvPr id="291" name="Google Shape;291;p18"/>
          <p:cNvSpPr txBox="1">
            <a:spLocks noGrp="1"/>
          </p:cNvSpPr>
          <p:nvPr>
            <p:ph type="sldNum" idx="12"/>
          </p:nvPr>
        </p:nvSpPr>
        <p:spPr>
          <a:xfrm>
            <a:off x="11044810" y="6091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92" name="Google Shape;292;p18"/>
          <p:cNvSpPr txBox="1">
            <a:spLocks noGrp="1"/>
          </p:cNvSpPr>
          <p:nvPr>
            <p:ph type="title"/>
          </p:nvPr>
        </p:nvSpPr>
        <p:spPr>
          <a:xfrm>
            <a:off x="415600" y="1226067"/>
            <a:ext cx="11360700" cy="393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00"/>
              <a:buFont typeface="Lato"/>
              <a:buNone/>
              <a:defRPr sz="19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293" name="Google Shape;293;p18"/>
          <p:cNvSpPr/>
          <p:nvPr/>
        </p:nvSpPr>
        <p:spPr>
          <a:xfrm rot="10800000">
            <a:off x="3833" y="67"/>
            <a:ext cx="11147700" cy="10329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4" name="Google Shape;294;p18"/>
          <p:cNvSpPr/>
          <p:nvPr/>
        </p:nvSpPr>
        <p:spPr>
          <a:xfrm>
            <a:off x="-23600" y="0"/>
            <a:ext cx="1266300" cy="10329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5" name="Google Shape;295;p18"/>
          <p:cNvSpPr txBox="1">
            <a:spLocks noGrp="1"/>
          </p:cNvSpPr>
          <p:nvPr>
            <p:ph type="title" idx="5"/>
          </p:nvPr>
        </p:nvSpPr>
        <p:spPr>
          <a:xfrm>
            <a:off x="415600" y="398067"/>
            <a:ext cx="101241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1pPr>
            <a:lvl2pPr lvl="1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2pPr>
            <a:lvl3pPr lvl="2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3pPr>
            <a:lvl4pPr lvl="3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4pPr>
            <a:lvl5pPr lvl="4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5pPr>
            <a:lvl6pPr lvl="5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6pPr>
            <a:lvl7pPr lvl="6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7pPr>
            <a:lvl8pPr lvl="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8pPr>
            <a:lvl9pPr lvl="8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grpSp>
        <p:nvGrpSpPr>
          <p:cNvPr id="296" name="Google Shape;296;p18"/>
          <p:cNvGrpSpPr/>
          <p:nvPr/>
        </p:nvGrpSpPr>
        <p:grpSpPr>
          <a:xfrm>
            <a:off x="861739" y="2092208"/>
            <a:ext cx="387590" cy="538787"/>
            <a:chOff x="3821275" y="-1247450"/>
            <a:chExt cx="290700" cy="404100"/>
          </a:xfrm>
        </p:grpSpPr>
        <p:sp>
          <p:nvSpPr>
            <p:cNvPr id="297" name="Google Shape;297;p18"/>
            <p:cNvSpPr/>
            <p:nvPr/>
          </p:nvSpPr>
          <p:spPr>
            <a:xfrm>
              <a:off x="3821275" y="-1192699"/>
              <a:ext cx="290700" cy="2907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 b="1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endParaRPr>
            </a:p>
          </p:txBody>
        </p:sp>
        <p:sp>
          <p:nvSpPr>
            <p:cNvPr id="298" name="Google Shape;298;p18"/>
            <p:cNvSpPr txBox="1"/>
            <p:nvPr/>
          </p:nvSpPr>
          <p:spPr>
            <a:xfrm>
              <a:off x="3821275" y="-1247450"/>
              <a:ext cx="290700" cy="404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t" anchorCtr="0">
              <a:sp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900" b="1">
                  <a:solidFill>
                    <a:schemeClr val="lt1"/>
                  </a:solidFill>
                  <a:latin typeface="Lato"/>
                  <a:ea typeface="Lato"/>
                  <a:cs typeface="Lato"/>
                  <a:sym typeface="Lato"/>
                </a:rPr>
                <a:t>1</a:t>
              </a:r>
              <a:endParaRPr sz="1900" b="1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endParaRPr>
            </a:p>
          </p:txBody>
        </p:sp>
      </p:grpSp>
      <p:sp>
        <p:nvSpPr>
          <p:cNvPr id="299" name="Google Shape;299;p18"/>
          <p:cNvSpPr/>
          <p:nvPr/>
        </p:nvSpPr>
        <p:spPr>
          <a:xfrm>
            <a:off x="8477667" y="2199468"/>
            <a:ext cx="387600" cy="387600"/>
          </a:xfrm>
          <a:prstGeom prst="ellipse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b="1">
              <a:solidFill>
                <a:schemeClr val="lt1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300" name="Google Shape;300;p18"/>
          <p:cNvSpPr txBox="1"/>
          <p:nvPr/>
        </p:nvSpPr>
        <p:spPr>
          <a:xfrm>
            <a:off x="8477667" y="2126467"/>
            <a:ext cx="387600" cy="5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900" b="1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rPr>
              <a:t>3</a:t>
            </a:r>
            <a:endParaRPr sz="1900" b="1">
              <a:solidFill>
                <a:schemeClr val="lt1"/>
              </a:solidFill>
              <a:latin typeface="Lato"/>
              <a:ea typeface="Lato"/>
              <a:cs typeface="Lato"/>
              <a:sym typeface="Lato"/>
            </a:endParaRPr>
          </a:p>
        </p:txBody>
      </p:sp>
      <p:cxnSp>
        <p:nvCxnSpPr>
          <p:cNvPr id="301" name="Google Shape;301;p18"/>
          <p:cNvCxnSpPr/>
          <p:nvPr/>
        </p:nvCxnSpPr>
        <p:spPr>
          <a:xfrm>
            <a:off x="3869733" y="1833783"/>
            <a:ext cx="0" cy="4369200"/>
          </a:xfrm>
          <a:prstGeom prst="straightConnector1">
            <a:avLst/>
          </a:prstGeom>
          <a:noFill/>
          <a:ln w="19050" cap="flat" cmpd="sng">
            <a:solidFill>
              <a:srgbClr val="EFEFE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02" name="Google Shape;302;p18"/>
          <p:cNvSpPr txBox="1">
            <a:spLocks noGrp="1"/>
          </p:cNvSpPr>
          <p:nvPr>
            <p:ph type="subTitle" idx="1"/>
          </p:nvPr>
        </p:nvSpPr>
        <p:spPr>
          <a:xfrm>
            <a:off x="1072933" y="4319133"/>
            <a:ext cx="1903200" cy="6525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700"/>
              <a:buNone/>
              <a:defRPr sz="1700" b="1">
                <a:solidFill>
                  <a:schemeClr val="accen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ts val="1700"/>
              <a:buNone/>
              <a:defRPr sz="1700" b="1">
                <a:solidFill>
                  <a:schemeClr val="accent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ts val="1700"/>
              <a:buNone/>
              <a:defRPr sz="1700" b="1">
                <a:solidFill>
                  <a:schemeClr val="accent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ts val="1700"/>
              <a:buNone/>
              <a:defRPr sz="1700" b="1">
                <a:solidFill>
                  <a:schemeClr val="accent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ts val="1700"/>
              <a:buNone/>
              <a:defRPr sz="1700" b="1">
                <a:solidFill>
                  <a:schemeClr val="accent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ts val="1700"/>
              <a:buNone/>
              <a:defRPr sz="1700" b="1">
                <a:solidFill>
                  <a:schemeClr val="accent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ts val="1700"/>
              <a:buNone/>
              <a:defRPr sz="1700" b="1">
                <a:solidFill>
                  <a:schemeClr val="accent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ts val="1700"/>
              <a:buNone/>
              <a:defRPr sz="1700" b="1">
                <a:solidFill>
                  <a:schemeClr val="accent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1300"/>
              </a:spcBef>
              <a:spcAft>
                <a:spcPts val="1300"/>
              </a:spcAft>
              <a:buClr>
                <a:schemeClr val="accent1"/>
              </a:buClr>
              <a:buSzPts val="1700"/>
              <a:buNone/>
              <a:defRPr sz="1700" b="1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303" name="Google Shape;303;p18"/>
          <p:cNvSpPr txBox="1">
            <a:spLocks noGrp="1"/>
          </p:cNvSpPr>
          <p:nvPr>
            <p:ph type="subTitle" idx="6"/>
          </p:nvPr>
        </p:nvSpPr>
        <p:spPr>
          <a:xfrm>
            <a:off x="760267" y="4948033"/>
            <a:ext cx="2578500" cy="6525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1pPr>
            <a:lvl2pPr lvl="1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/>
            </a:lvl2pPr>
            <a:lvl3pPr lvl="2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/>
            </a:lvl3pPr>
            <a:lvl4pPr lvl="3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/>
            </a:lvl4pPr>
            <a:lvl5pPr lvl="4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/>
            </a:lvl5pPr>
            <a:lvl6pPr lvl="5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/>
            </a:lvl6pPr>
            <a:lvl7pPr lvl="6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/>
            </a:lvl7pPr>
            <a:lvl8pPr lvl="7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/>
            </a:lvl8pPr>
            <a:lvl9pPr lvl="8" algn="ctr" rtl="0">
              <a:lnSpc>
                <a:spcPct val="100000"/>
              </a:lnSpc>
              <a:spcBef>
                <a:spcPts val="1300"/>
              </a:spcBef>
              <a:spcAft>
                <a:spcPts val="1300"/>
              </a:spcAft>
              <a:buSzPts val="1700"/>
              <a:buNone/>
              <a:defRPr sz="1700"/>
            </a:lvl9pPr>
          </a:lstStyle>
          <a:p>
            <a:endParaRPr/>
          </a:p>
        </p:txBody>
      </p:sp>
      <p:sp>
        <p:nvSpPr>
          <p:cNvPr id="304" name="Google Shape;304;p18"/>
          <p:cNvSpPr txBox="1">
            <a:spLocks noGrp="1"/>
          </p:cNvSpPr>
          <p:nvPr>
            <p:ph type="subTitle" idx="7"/>
          </p:nvPr>
        </p:nvSpPr>
        <p:spPr>
          <a:xfrm>
            <a:off x="4863100" y="4305100"/>
            <a:ext cx="1903200" cy="6525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700"/>
              <a:buNone/>
              <a:defRPr sz="1700" b="1">
                <a:solidFill>
                  <a:schemeClr val="accent2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ts val="1700"/>
              <a:buNone/>
              <a:defRPr sz="1700" b="1">
                <a:solidFill>
                  <a:schemeClr val="accent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ts val="1700"/>
              <a:buNone/>
              <a:defRPr sz="1700" b="1">
                <a:solidFill>
                  <a:schemeClr val="accent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ts val="1700"/>
              <a:buNone/>
              <a:defRPr sz="1700" b="1">
                <a:solidFill>
                  <a:schemeClr val="accent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ts val="1700"/>
              <a:buNone/>
              <a:defRPr sz="1700" b="1">
                <a:solidFill>
                  <a:schemeClr val="accent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ts val="1700"/>
              <a:buNone/>
              <a:defRPr sz="1700" b="1">
                <a:solidFill>
                  <a:schemeClr val="accent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ts val="1700"/>
              <a:buNone/>
              <a:defRPr sz="1700" b="1">
                <a:solidFill>
                  <a:schemeClr val="accent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ts val="1700"/>
              <a:buNone/>
              <a:defRPr sz="1700" b="1">
                <a:solidFill>
                  <a:schemeClr val="accent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1300"/>
              </a:spcBef>
              <a:spcAft>
                <a:spcPts val="1300"/>
              </a:spcAft>
              <a:buClr>
                <a:schemeClr val="accent1"/>
              </a:buClr>
              <a:buSzPts val="1700"/>
              <a:buNone/>
              <a:defRPr sz="1700" b="1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305" name="Google Shape;305;p18"/>
          <p:cNvSpPr txBox="1">
            <a:spLocks noGrp="1"/>
          </p:cNvSpPr>
          <p:nvPr>
            <p:ph type="subTitle" idx="8"/>
          </p:nvPr>
        </p:nvSpPr>
        <p:spPr>
          <a:xfrm>
            <a:off x="4550433" y="4934000"/>
            <a:ext cx="2578500" cy="6525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1pPr>
            <a:lvl2pPr lvl="1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/>
            </a:lvl2pPr>
            <a:lvl3pPr lvl="2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/>
            </a:lvl3pPr>
            <a:lvl4pPr lvl="3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/>
            </a:lvl4pPr>
            <a:lvl5pPr lvl="4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/>
            </a:lvl5pPr>
            <a:lvl6pPr lvl="5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/>
            </a:lvl6pPr>
            <a:lvl7pPr lvl="6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/>
            </a:lvl7pPr>
            <a:lvl8pPr lvl="7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/>
            </a:lvl8pPr>
            <a:lvl9pPr lvl="8" algn="ctr" rtl="0">
              <a:lnSpc>
                <a:spcPct val="100000"/>
              </a:lnSpc>
              <a:spcBef>
                <a:spcPts val="1300"/>
              </a:spcBef>
              <a:spcAft>
                <a:spcPts val="1300"/>
              </a:spcAft>
              <a:buSzPts val="1700"/>
              <a:buNone/>
              <a:defRPr sz="1700"/>
            </a:lvl9pPr>
          </a:lstStyle>
          <a:p>
            <a:endParaRPr/>
          </a:p>
        </p:txBody>
      </p:sp>
      <p:sp>
        <p:nvSpPr>
          <p:cNvPr id="306" name="Google Shape;306;p18"/>
          <p:cNvSpPr txBox="1">
            <a:spLocks noGrp="1"/>
          </p:cNvSpPr>
          <p:nvPr>
            <p:ph type="subTitle" idx="9"/>
          </p:nvPr>
        </p:nvSpPr>
        <p:spPr>
          <a:xfrm>
            <a:off x="8777067" y="4315767"/>
            <a:ext cx="1903200" cy="6525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700"/>
              <a:buNone/>
              <a:defRPr sz="1700" b="1">
                <a:solidFill>
                  <a:schemeClr val="dk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ts val="1700"/>
              <a:buNone/>
              <a:defRPr sz="1700" b="1">
                <a:solidFill>
                  <a:schemeClr val="accent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ts val="1700"/>
              <a:buNone/>
              <a:defRPr sz="1700" b="1">
                <a:solidFill>
                  <a:schemeClr val="accent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ts val="1700"/>
              <a:buNone/>
              <a:defRPr sz="1700" b="1">
                <a:solidFill>
                  <a:schemeClr val="accent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ts val="1700"/>
              <a:buNone/>
              <a:defRPr sz="1700" b="1">
                <a:solidFill>
                  <a:schemeClr val="accent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ts val="1700"/>
              <a:buNone/>
              <a:defRPr sz="1700" b="1">
                <a:solidFill>
                  <a:schemeClr val="accent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ts val="1700"/>
              <a:buNone/>
              <a:defRPr sz="1700" b="1">
                <a:solidFill>
                  <a:schemeClr val="accent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ts val="1700"/>
              <a:buNone/>
              <a:defRPr sz="1700" b="1">
                <a:solidFill>
                  <a:schemeClr val="accent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1300"/>
              </a:spcBef>
              <a:spcAft>
                <a:spcPts val="1300"/>
              </a:spcAft>
              <a:buClr>
                <a:schemeClr val="accent1"/>
              </a:buClr>
              <a:buSzPts val="1700"/>
              <a:buNone/>
              <a:defRPr sz="1700" b="1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307" name="Google Shape;307;p18"/>
          <p:cNvSpPr txBox="1">
            <a:spLocks noGrp="1"/>
          </p:cNvSpPr>
          <p:nvPr>
            <p:ph type="subTitle" idx="13"/>
          </p:nvPr>
        </p:nvSpPr>
        <p:spPr>
          <a:xfrm>
            <a:off x="8464400" y="4944667"/>
            <a:ext cx="2578500" cy="6525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1pPr>
            <a:lvl2pPr lvl="1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/>
            </a:lvl2pPr>
            <a:lvl3pPr lvl="2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/>
            </a:lvl3pPr>
            <a:lvl4pPr lvl="3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/>
            </a:lvl4pPr>
            <a:lvl5pPr lvl="4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/>
            </a:lvl5pPr>
            <a:lvl6pPr lvl="5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/>
            </a:lvl6pPr>
            <a:lvl7pPr lvl="6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/>
            </a:lvl7pPr>
            <a:lvl8pPr lvl="7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/>
            </a:lvl8pPr>
            <a:lvl9pPr lvl="8" algn="ctr" rtl="0">
              <a:lnSpc>
                <a:spcPct val="100000"/>
              </a:lnSpc>
              <a:spcBef>
                <a:spcPts val="1300"/>
              </a:spcBef>
              <a:spcAft>
                <a:spcPts val="1300"/>
              </a:spcAft>
              <a:buSzPts val="1700"/>
              <a:buNone/>
              <a:defRPr sz="1700"/>
            </a:lvl9pPr>
          </a:lstStyle>
          <a:p>
            <a:endParaRPr/>
          </a:p>
        </p:txBody>
      </p:sp>
      <p:cxnSp>
        <p:nvCxnSpPr>
          <p:cNvPr id="308" name="Google Shape;308;p18"/>
          <p:cNvCxnSpPr/>
          <p:nvPr/>
        </p:nvCxnSpPr>
        <p:spPr>
          <a:xfrm>
            <a:off x="7834133" y="1923250"/>
            <a:ext cx="0" cy="4369200"/>
          </a:xfrm>
          <a:prstGeom prst="straightConnector1">
            <a:avLst/>
          </a:prstGeom>
          <a:noFill/>
          <a:ln w="19050" cap="flat" cmpd="sng">
            <a:solidFill>
              <a:srgbClr val="EFEFE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09" name="Google Shape;309;p18"/>
          <p:cNvSpPr/>
          <p:nvPr/>
        </p:nvSpPr>
        <p:spPr>
          <a:xfrm>
            <a:off x="11525533" y="364133"/>
            <a:ext cx="365273" cy="304371"/>
          </a:xfrm>
          <a:custGeom>
            <a:avLst/>
            <a:gdLst/>
            <a:ahLst/>
            <a:cxnLst/>
            <a:rect l="l" t="t" r="r" b="b"/>
            <a:pathLst>
              <a:path w="251479" h="209550" extrusionOk="0">
                <a:moveTo>
                  <a:pt x="62932" y="0"/>
                </a:moveTo>
                <a:lnTo>
                  <a:pt x="59858" y="78"/>
                </a:lnTo>
                <a:lnTo>
                  <a:pt x="56847" y="326"/>
                </a:lnTo>
                <a:lnTo>
                  <a:pt x="53851" y="714"/>
                </a:lnTo>
                <a:lnTo>
                  <a:pt x="50901" y="1257"/>
                </a:lnTo>
                <a:lnTo>
                  <a:pt x="47998" y="1925"/>
                </a:lnTo>
                <a:lnTo>
                  <a:pt x="45142" y="2748"/>
                </a:lnTo>
                <a:lnTo>
                  <a:pt x="42348" y="3695"/>
                </a:lnTo>
                <a:lnTo>
                  <a:pt x="39600" y="4781"/>
                </a:lnTo>
                <a:lnTo>
                  <a:pt x="36915" y="5992"/>
                </a:lnTo>
                <a:lnTo>
                  <a:pt x="34291" y="7327"/>
                </a:lnTo>
                <a:lnTo>
                  <a:pt x="31730" y="8786"/>
                </a:lnTo>
                <a:lnTo>
                  <a:pt x="29246" y="10354"/>
                </a:lnTo>
                <a:lnTo>
                  <a:pt x="26840" y="12031"/>
                </a:lnTo>
                <a:lnTo>
                  <a:pt x="24511" y="13831"/>
                </a:lnTo>
                <a:lnTo>
                  <a:pt x="22261" y="15741"/>
                </a:lnTo>
                <a:lnTo>
                  <a:pt x="20087" y="17743"/>
                </a:lnTo>
                <a:lnTo>
                  <a:pt x="18023" y="19839"/>
                </a:lnTo>
                <a:lnTo>
                  <a:pt x="16036" y="22043"/>
                </a:lnTo>
                <a:lnTo>
                  <a:pt x="14157" y="24325"/>
                </a:lnTo>
                <a:lnTo>
                  <a:pt x="12372" y="26716"/>
                </a:lnTo>
                <a:lnTo>
                  <a:pt x="10696" y="29168"/>
                </a:lnTo>
                <a:lnTo>
                  <a:pt x="9112" y="31714"/>
                </a:lnTo>
                <a:lnTo>
                  <a:pt x="7653" y="34338"/>
                </a:lnTo>
                <a:lnTo>
                  <a:pt x="6318" y="37039"/>
                </a:lnTo>
                <a:lnTo>
                  <a:pt x="5092" y="39802"/>
                </a:lnTo>
                <a:lnTo>
                  <a:pt x="3990" y="42643"/>
                </a:lnTo>
                <a:lnTo>
                  <a:pt x="3012" y="45546"/>
                </a:lnTo>
                <a:lnTo>
                  <a:pt x="2173" y="48495"/>
                </a:lnTo>
                <a:lnTo>
                  <a:pt x="1459" y="51507"/>
                </a:lnTo>
                <a:lnTo>
                  <a:pt x="885" y="54580"/>
                </a:lnTo>
                <a:lnTo>
                  <a:pt x="450" y="57700"/>
                </a:lnTo>
                <a:lnTo>
                  <a:pt x="310" y="59268"/>
                </a:lnTo>
                <a:lnTo>
                  <a:pt x="186" y="60665"/>
                </a:lnTo>
                <a:lnTo>
                  <a:pt x="31" y="63475"/>
                </a:lnTo>
                <a:lnTo>
                  <a:pt x="0" y="66269"/>
                </a:lnTo>
                <a:lnTo>
                  <a:pt x="62" y="69063"/>
                </a:lnTo>
                <a:lnTo>
                  <a:pt x="217" y="71842"/>
                </a:lnTo>
                <a:lnTo>
                  <a:pt x="466" y="74605"/>
                </a:lnTo>
                <a:lnTo>
                  <a:pt x="823" y="77368"/>
                </a:lnTo>
                <a:lnTo>
                  <a:pt x="1257" y="80132"/>
                </a:lnTo>
                <a:lnTo>
                  <a:pt x="1801" y="82864"/>
                </a:lnTo>
                <a:lnTo>
                  <a:pt x="2422" y="85611"/>
                </a:lnTo>
                <a:lnTo>
                  <a:pt x="3120" y="88328"/>
                </a:lnTo>
                <a:lnTo>
                  <a:pt x="3912" y="91045"/>
                </a:lnTo>
                <a:lnTo>
                  <a:pt x="4781" y="93730"/>
                </a:lnTo>
                <a:lnTo>
                  <a:pt x="5728" y="96416"/>
                </a:lnTo>
                <a:lnTo>
                  <a:pt x="7280" y="100436"/>
                </a:lnTo>
                <a:lnTo>
                  <a:pt x="9609" y="105714"/>
                </a:lnTo>
                <a:lnTo>
                  <a:pt x="12201" y="110946"/>
                </a:lnTo>
                <a:lnTo>
                  <a:pt x="15058" y="116099"/>
                </a:lnTo>
                <a:lnTo>
                  <a:pt x="18147" y="121191"/>
                </a:lnTo>
                <a:lnTo>
                  <a:pt x="21438" y="126205"/>
                </a:lnTo>
                <a:lnTo>
                  <a:pt x="24931" y="131126"/>
                </a:lnTo>
                <a:lnTo>
                  <a:pt x="28594" y="135969"/>
                </a:lnTo>
                <a:lnTo>
                  <a:pt x="32413" y="140719"/>
                </a:lnTo>
                <a:lnTo>
                  <a:pt x="36371" y="145392"/>
                </a:lnTo>
                <a:lnTo>
                  <a:pt x="40454" y="149940"/>
                </a:lnTo>
                <a:lnTo>
                  <a:pt x="44630" y="154395"/>
                </a:lnTo>
                <a:lnTo>
                  <a:pt x="48883" y="158742"/>
                </a:lnTo>
                <a:lnTo>
                  <a:pt x="53199" y="162964"/>
                </a:lnTo>
                <a:lnTo>
                  <a:pt x="57545" y="167078"/>
                </a:lnTo>
                <a:lnTo>
                  <a:pt x="61938" y="171068"/>
                </a:lnTo>
                <a:lnTo>
                  <a:pt x="66316" y="174917"/>
                </a:lnTo>
                <a:lnTo>
                  <a:pt x="70678" y="178643"/>
                </a:lnTo>
                <a:lnTo>
                  <a:pt x="75024" y="182229"/>
                </a:lnTo>
                <a:lnTo>
                  <a:pt x="81420" y="187352"/>
                </a:lnTo>
                <a:lnTo>
                  <a:pt x="89663" y="193639"/>
                </a:lnTo>
                <a:lnTo>
                  <a:pt x="97425" y="199274"/>
                </a:lnTo>
                <a:lnTo>
                  <a:pt x="101057" y="201819"/>
                </a:lnTo>
                <a:lnTo>
                  <a:pt x="102454" y="202766"/>
                </a:lnTo>
                <a:lnTo>
                  <a:pt x="105342" y="204458"/>
                </a:lnTo>
                <a:lnTo>
                  <a:pt x="108338" y="205918"/>
                </a:lnTo>
                <a:lnTo>
                  <a:pt x="111396" y="207128"/>
                </a:lnTo>
                <a:lnTo>
                  <a:pt x="114516" y="208091"/>
                </a:lnTo>
                <a:lnTo>
                  <a:pt x="117683" y="208820"/>
                </a:lnTo>
                <a:lnTo>
                  <a:pt x="120896" y="209302"/>
                </a:lnTo>
                <a:lnTo>
                  <a:pt x="124125" y="209550"/>
                </a:lnTo>
                <a:lnTo>
                  <a:pt x="127354" y="209550"/>
                </a:lnTo>
                <a:lnTo>
                  <a:pt x="130583" y="209302"/>
                </a:lnTo>
                <a:lnTo>
                  <a:pt x="133796" y="208820"/>
                </a:lnTo>
                <a:lnTo>
                  <a:pt x="136963" y="208091"/>
                </a:lnTo>
                <a:lnTo>
                  <a:pt x="140098" y="207128"/>
                </a:lnTo>
                <a:lnTo>
                  <a:pt x="143156" y="205918"/>
                </a:lnTo>
                <a:lnTo>
                  <a:pt x="146137" y="204458"/>
                </a:lnTo>
                <a:lnTo>
                  <a:pt x="149024" y="202766"/>
                </a:lnTo>
                <a:lnTo>
                  <a:pt x="150421" y="201819"/>
                </a:lnTo>
                <a:lnTo>
                  <a:pt x="154038" y="199289"/>
                </a:lnTo>
                <a:lnTo>
                  <a:pt x="161769" y="193670"/>
                </a:lnTo>
                <a:lnTo>
                  <a:pt x="169981" y="187414"/>
                </a:lnTo>
                <a:lnTo>
                  <a:pt x="176361" y="182306"/>
                </a:lnTo>
                <a:lnTo>
                  <a:pt x="180676" y="178736"/>
                </a:lnTo>
                <a:lnTo>
                  <a:pt x="185023" y="175042"/>
                </a:lnTo>
                <a:lnTo>
                  <a:pt x="189385" y="171192"/>
                </a:lnTo>
                <a:lnTo>
                  <a:pt x="193763" y="167233"/>
                </a:lnTo>
                <a:lnTo>
                  <a:pt x="198094" y="163151"/>
                </a:lnTo>
                <a:lnTo>
                  <a:pt x="202394" y="158944"/>
                </a:lnTo>
                <a:lnTo>
                  <a:pt x="206647" y="154613"/>
                </a:lnTo>
                <a:lnTo>
                  <a:pt x="210807" y="150189"/>
                </a:lnTo>
                <a:lnTo>
                  <a:pt x="214874" y="145656"/>
                </a:lnTo>
                <a:lnTo>
                  <a:pt x="218817" y="141014"/>
                </a:lnTo>
                <a:lnTo>
                  <a:pt x="222636" y="136280"/>
                </a:lnTo>
                <a:lnTo>
                  <a:pt x="226300" y="131467"/>
                </a:lnTo>
                <a:lnTo>
                  <a:pt x="229792" y="126562"/>
                </a:lnTo>
                <a:lnTo>
                  <a:pt x="233083" y="121579"/>
                </a:lnTo>
                <a:lnTo>
                  <a:pt x="236173" y="116518"/>
                </a:lnTo>
                <a:lnTo>
                  <a:pt x="239044" y="111380"/>
                </a:lnTo>
                <a:lnTo>
                  <a:pt x="241652" y="106180"/>
                </a:lnTo>
                <a:lnTo>
                  <a:pt x="243996" y="100917"/>
                </a:lnTo>
                <a:lnTo>
                  <a:pt x="245564" y="96928"/>
                </a:lnTo>
                <a:lnTo>
                  <a:pt x="246527" y="94258"/>
                </a:lnTo>
                <a:lnTo>
                  <a:pt x="247396" y="91572"/>
                </a:lnTo>
                <a:lnTo>
                  <a:pt x="248203" y="88871"/>
                </a:lnTo>
                <a:lnTo>
                  <a:pt x="248917" y="86155"/>
                </a:lnTo>
                <a:lnTo>
                  <a:pt x="249554" y="83438"/>
                </a:lnTo>
                <a:lnTo>
                  <a:pt x="250112" y="80706"/>
                </a:lnTo>
                <a:lnTo>
                  <a:pt x="250563" y="77958"/>
                </a:lnTo>
                <a:lnTo>
                  <a:pt x="250935" y="75211"/>
                </a:lnTo>
                <a:lnTo>
                  <a:pt x="251215" y="72448"/>
                </a:lnTo>
                <a:lnTo>
                  <a:pt x="251385" y="69684"/>
                </a:lnTo>
                <a:lnTo>
                  <a:pt x="251479" y="66906"/>
                </a:lnTo>
                <a:lnTo>
                  <a:pt x="251463" y="64127"/>
                </a:lnTo>
                <a:lnTo>
                  <a:pt x="251339" y="61333"/>
                </a:lnTo>
                <a:lnTo>
                  <a:pt x="251230" y="59936"/>
                </a:lnTo>
                <a:lnTo>
                  <a:pt x="251199" y="59610"/>
                </a:lnTo>
                <a:lnTo>
                  <a:pt x="251184" y="59268"/>
                </a:lnTo>
                <a:lnTo>
                  <a:pt x="250966" y="57235"/>
                </a:lnTo>
                <a:lnTo>
                  <a:pt x="250361" y="53199"/>
                </a:lnTo>
                <a:lnTo>
                  <a:pt x="249507" y="49256"/>
                </a:lnTo>
                <a:lnTo>
                  <a:pt x="248436" y="45421"/>
                </a:lnTo>
                <a:lnTo>
                  <a:pt x="247132" y="41665"/>
                </a:lnTo>
                <a:lnTo>
                  <a:pt x="245626" y="38032"/>
                </a:lnTo>
                <a:lnTo>
                  <a:pt x="243919" y="34508"/>
                </a:lnTo>
                <a:lnTo>
                  <a:pt x="242009" y="31124"/>
                </a:lnTo>
                <a:lnTo>
                  <a:pt x="240969" y="29479"/>
                </a:lnTo>
                <a:lnTo>
                  <a:pt x="240209" y="28299"/>
                </a:lnTo>
                <a:lnTo>
                  <a:pt x="239401" y="27135"/>
                </a:lnTo>
                <a:lnTo>
                  <a:pt x="238594" y="26110"/>
                </a:lnTo>
                <a:lnTo>
                  <a:pt x="237244" y="24667"/>
                </a:lnTo>
                <a:lnTo>
                  <a:pt x="236281" y="23766"/>
                </a:lnTo>
                <a:lnTo>
                  <a:pt x="235784" y="23332"/>
                </a:lnTo>
                <a:lnTo>
                  <a:pt x="234837" y="22571"/>
                </a:lnTo>
                <a:lnTo>
                  <a:pt x="232882" y="21236"/>
                </a:lnTo>
                <a:lnTo>
                  <a:pt x="230832" y="20134"/>
                </a:lnTo>
                <a:lnTo>
                  <a:pt x="228690" y="19233"/>
                </a:lnTo>
                <a:lnTo>
                  <a:pt x="226517" y="18566"/>
                </a:lnTo>
                <a:lnTo>
                  <a:pt x="224297" y="18116"/>
                </a:lnTo>
                <a:lnTo>
                  <a:pt x="222046" y="17883"/>
                </a:lnTo>
                <a:lnTo>
                  <a:pt x="219795" y="17867"/>
                </a:lnTo>
                <a:lnTo>
                  <a:pt x="217544" y="18069"/>
                </a:lnTo>
                <a:lnTo>
                  <a:pt x="215325" y="18473"/>
                </a:lnTo>
                <a:lnTo>
                  <a:pt x="213167" y="19094"/>
                </a:lnTo>
                <a:lnTo>
                  <a:pt x="211056" y="19916"/>
                </a:lnTo>
                <a:lnTo>
                  <a:pt x="209007" y="20957"/>
                </a:lnTo>
                <a:lnTo>
                  <a:pt x="207082" y="22214"/>
                </a:lnTo>
                <a:lnTo>
                  <a:pt x="205250" y="23658"/>
                </a:lnTo>
                <a:lnTo>
                  <a:pt x="203542" y="25319"/>
                </a:lnTo>
                <a:lnTo>
                  <a:pt x="202751" y="26219"/>
                </a:lnTo>
                <a:lnTo>
                  <a:pt x="185504" y="46787"/>
                </a:lnTo>
                <a:lnTo>
                  <a:pt x="141775" y="98899"/>
                </a:lnTo>
                <a:lnTo>
                  <a:pt x="141232" y="99567"/>
                </a:lnTo>
                <a:lnTo>
                  <a:pt x="140285" y="100964"/>
                </a:lnTo>
                <a:lnTo>
                  <a:pt x="139508" y="102439"/>
                </a:lnTo>
                <a:lnTo>
                  <a:pt x="138903" y="103976"/>
                </a:lnTo>
                <a:lnTo>
                  <a:pt x="138468" y="105543"/>
                </a:lnTo>
                <a:lnTo>
                  <a:pt x="138189" y="107142"/>
                </a:lnTo>
                <a:lnTo>
                  <a:pt x="138065" y="108741"/>
                </a:lnTo>
                <a:lnTo>
                  <a:pt x="138111" y="110356"/>
                </a:lnTo>
                <a:lnTo>
                  <a:pt x="138329" y="111955"/>
                </a:lnTo>
                <a:lnTo>
                  <a:pt x="138701" y="113522"/>
                </a:lnTo>
                <a:lnTo>
                  <a:pt x="139229" y="115044"/>
                </a:lnTo>
                <a:lnTo>
                  <a:pt x="139912" y="116518"/>
                </a:lnTo>
                <a:lnTo>
                  <a:pt x="140750" y="117931"/>
                </a:lnTo>
                <a:lnTo>
                  <a:pt x="141759" y="119266"/>
                </a:lnTo>
                <a:lnTo>
                  <a:pt x="142908" y="120492"/>
                </a:lnTo>
                <a:lnTo>
                  <a:pt x="144212" y="121626"/>
                </a:lnTo>
                <a:lnTo>
                  <a:pt x="144926" y="122138"/>
                </a:lnTo>
                <a:lnTo>
                  <a:pt x="145438" y="122479"/>
                </a:lnTo>
                <a:lnTo>
                  <a:pt x="146494" y="123085"/>
                </a:lnTo>
                <a:lnTo>
                  <a:pt x="147581" y="123613"/>
                </a:lnTo>
                <a:lnTo>
                  <a:pt x="148698" y="124063"/>
                </a:lnTo>
                <a:lnTo>
                  <a:pt x="149863" y="124420"/>
                </a:lnTo>
                <a:lnTo>
                  <a:pt x="151042" y="124684"/>
                </a:lnTo>
                <a:lnTo>
                  <a:pt x="152238" y="124854"/>
                </a:lnTo>
                <a:lnTo>
                  <a:pt x="153448" y="124932"/>
                </a:lnTo>
                <a:lnTo>
                  <a:pt x="154069" y="124932"/>
                </a:lnTo>
                <a:lnTo>
                  <a:pt x="154939" y="124901"/>
                </a:lnTo>
                <a:lnTo>
                  <a:pt x="156662" y="124699"/>
                </a:lnTo>
                <a:lnTo>
                  <a:pt x="158338" y="124311"/>
                </a:lnTo>
                <a:lnTo>
                  <a:pt x="159937" y="123752"/>
                </a:lnTo>
                <a:lnTo>
                  <a:pt x="161459" y="123038"/>
                </a:lnTo>
                <a:lnTo>
                  <a:pt x="162902" y="122153"/>
                </a:lnTo>
                <a:lnTo>
                  <a:pt x="164253" y="121113"/>
                </a:lnTo>
                <a:lnTo>
                  <a:pt x="165495" y="119918"/>
                </a:lnTo>
                <a:lnTo>
                  <a:pt x="166053" y="119266"/>
                </a:lnTo>
                <a:lnTo>
                  <a:pt x="210357" y="66471"/>
                </a:lnTo>
                <a:lnTo>
                  <a:pt x="210668" y="66130"/>
                </a:lnTo>
                <a:lnTo>
                  <a:pt x="211366" y="65586"/>
                </a:lnTo>
                <a:lnTo>
                  <a:pt x="212142" y="65183"/>
                </a:lnTo>
                <a:lnTo>
                  <a:pt x="212965" y="64950"/>
                </a:lnTo>
                <a:lnTo>
                  <a:pt x="213819" y="64872"/>
                </a:lnTo>
                <a:lnTo>
                  <a:pt x="214673" y="64965"/>
                </a:lnTo>
                <a:lnTo>
                  <a:pt x="215495" y="65214"/>
                </a:lnTo>
                <a:lnTo>
                  <a:pt x="216272" y="65633"/>
                </a:lnTo>
                <a:lnTo>
                  <a:pt x="216644" y="65928"/>
                </a:lnTo>
                <a:lnTo>
                  <a:pt x="219252" y="68117"/>
                </a:lnTo>
                <a:lnTo>
                  <a:pt x="219578" y="68412"/>
                </a:lnTo>
                <a:lnTo>
                  <a:pt x="220137" y="69110"/>
                </a:lnTo>
                <a:lnTo>
                  <a:pt x="220525" y="69886"/>
                </a:lnTo>
                <a:lnTo>
                  <a:pt x="220773" y="70709"/>
                </a:lnTo>
                <a:lnTo>
                  <a:pt x="220835" y="71563"/>
                </a:lnTo>
                <a:lnTo>
                  <a:pt x="220758" y="72417"/>
                </a:lnTo>
                <a:lnTo>
                  <a:pt x="220494" y="73239"/>
                </a:lnTo>
                <a:lnTo>
                  <a:pt x="220075" y="74031"/>
                </a:lnTo>
                <a:lnTo>
                  <a:pt x="219795" y="74388"/>
                </a:lnTo>
                <a:lnTo>
                  <a:pt x="175492" y="127183"/>
                </a:lnTo>
                <a:lnTo>
                  <a:pt x="174560" y="128239"/>
                </a:lnTo>
                <a:lnTo>
                  <a:pt x="172573" y="130195"/>
                </a:lnTo>
                <a:lnTo>
                  <a:pt x="170431" y="131918"/>
                </a:lnTo>
                <a:lnTo>
                  <a:pt x="168134" y="133423"/>
                </a:lnTo>
                <a:lnTo>
                  <a:pt x="165696" y="134681"/>
                </a:lnTo>
                <a:lnTo>
                  <a:pt x="163151" y="135705"/>
                </a:lnTo>
                <a:lnTo>
                  <a:pt x="160512" y="136481"/>
                </a:lnTo>
                <a:lnTo>
                  <a:pt x="157764" y="136994"/>
                </a:lnTo>
                <a:lnTo>
                  <a:pt x="156367" y="137133"/>
                </a:lnTo>
                <a:lnTo>
                  <a:pt x="155109" y="137227"/>
                </a:lnTo>
                <a:lnTo>
                  <a:pt x="153868" y="137242"/>
                </a:lnTo>
                <a:lnTo>
                  <a:pt x="152626" y="137227"/>
                </a:lnTo>
                <a:lnTo>
                  <a:pt x="150189" y="137009"/>
                </a:lnTo>
                <a:lnTo>
                  <a:pt x="147782" y="136590"/>
                </a:lnTo>
                <a:lnTo>
                  <a:pt x="145438" y="135954"/>
                </a:lnTo>
                <a:lnTo>
                  <a:pt x="143141" y="135131"/>
                </a:lnTo>
                <a:lnTo>
                  <a:pt x="140937" y="134091"/>
                </a:lnTo>
                <a:lnTo>
                  <a:pt x="138810" y="132865"/>
                </a:lnTo>
                <a:lnTo>
                  <a:pt x="136776" y="131436"/>
                </a:lnTo>
                <a:lnTo>
                  <a:pt x="135814" y="130645"/>
                </a:lnTo>
                <a:lnTo>
                  <a:pt x="135255" y="130179"/>
                </a:lnTo>
                <a:lnTo>
                  <a:pt x="134200" y="129201"/>
                </a:lnTo>
                <a:lnTo>
                  <a:pt x="132725" y="127649"/>
                </a:lnTo>
                <a:lnTo>
                  <a:pt x="130986" y="125460"/>
                </a:lnTo>
                <a:lnTo>
                  <a:pt x="129496" y="123131"/>
                </a:lnTo>
                <a:lnTo>
                  <a:pt x="128254" y="120679"/>
                </a:lnTo>
                <a:lnTo>
                  <a:pt x="127245" y="118148"/>
                </a:lnTo>
                <a:lnTo>
                  <a:pt x="126500" y="115540"/>
                </a:lnTo>
                <a:lnTo>
                  <a:pt x="126019" y="112870"/>
                </a:lnTo>
                <a:lnTo>
                  <a:pt x="125786" y="110185"/>
                </a:lnTo>
                <a:lnTo>
                  <a:pt x="125801" y="107468"/>
                </a:lnTo>
                <a:lnTo>
                  <a:pt x="126081" y="104783"/>
                </a:lnTo>
                <a:lnTo>
                  <a:pt x="126624" y="102113"/>
                </a:lnTo>
                <a:lnTo>
                  <a:pt x="127431" y="99489"/>
                </a:lnTo>
                <a:lnTo>
                  <a:pt x="128487" y="96928"/>
                </a:lnTo>
                <a:lnTo>
                  <a:pt x="129822" y="94460"/>
                </a:lnTo>
                <a:lnTo>
                  <a:pt x="131017" y="92690"/>
                </a:lnTo>
                <a:lnTo>
                  <a:pt x="131887" y="91541"/>
                </a:lnTo>
                <a:lnTo>
                  <a:pt x="132337" y="90967"/>
                </a:lnTo>
                <a:lnTo>
                  <a:pt x="157966" y="60432"/>
                </a:lnTo>
                <a:lnTo>
                  <a:pt x="193312" y="18302"/>
                </a:lnTo>
                <a:lnTo>
                  <a:pt x="193856" y="17681"/>
                </a:lnTo>
                <a:lnTo>
                  <a:pt x="194958" y="16470"/>
                </a:lnTo>
                <a:lnTo>
                  <a:pt x="196697" y="14778"/>
                </a:lnTo>
                <a:lnTo>
                  <a:pt x="199149" y="12745"/>
                </a:lnTo>
                <a:lnTo>
                  <a:pt x="201757" y="10960"/>
                </a:lnTo>
                <a:lnTo>
                  <a:pt x="204474" y="9423"/>
                </a:lnTo>
                <a:lnTo>
                  <a:pt x="207299" y="8134"/>
                </a:lnTo>
                <a:lnTo>
                  <a:pt x="210217" y="7110"/>
                </a:lnTo>
                <a:lnTo>
                  <a:pt x="213198" y="6334"/>
                </a:lnTo>
                <a:lnTo>
                  <a:pt x="214704" y="6054"/>
                </a:lnTo>
                <a:lnTo>
                  <a:pt x="213105" y="5309"/>
                </a:lnTo>
                <a:lnTo>
                  <a:pt x="209860" y="3958"/>
                </a:lnTo>
                <a:lnTo>
                  <a:pt x="206523" y="2810"/>
                </a:lnTo>
                <a:lnTo>
                  <a:pt x="203108" y="1832"/>
                </a:lnTo>
                <a:lnTo>
                  <a:pt x="199630" y="1056"/>
                </a:lnTo>
                <a:lnTo>
                  <a:pt x="196091" y="497"/>
                </a:lnTo>
                <a:lnTo>
                  <a:pt x="192505" y="140"/>
                </a:lnTo>
                <a:lnTo>
                  <a:pt x="188857" y="0"/>
                </a:lnTo>
                <a:lnTo>
                  <a:pt x="187010" y="16"/>
                </a:lnTo>
                <a:lnTo>
                  <a:pt x="185737" y="47"/>
                </a:lnTo>
                <a:lnTo>
                  <a:pt x="183222" y="202"/>
                </a:lnTo>
                <a:lnTo>
                  <a:pt x="180723" y="450"/>
                </a:lnTo>
                <a:lnTo>
                  <a:pt x="178255" y="776"/>
                </a:lnTo>
                <a:lnTo>
                  <a:pt x="175802" y="1195"/>
                </a:lnTo>
                <a:lnTo>
                  <a:pt x="173380" y="1708"/>
                </a:lnTo>
                <a:lnTo>
                  <a:pt x="171005" y="2313"/>
                </a:lnTo>
                <a:lnTo>
                  <a:pt x="168646" y="2996"/>
                </a:lnTo>
                <a:lnTo>
                  <a:pt x="166317" y="3757"/>
                </a:lnTo>
                <a:lnTo>
                  <a:pt x="164035" y="4610"/>
                </a:lnTo>
                <a:lnTo>
                  <a:pt x="161800" y="5542"/>
                </a:lnTo>
                <a:lnTo>
                  <a:pt x="159596" y="6551"/>
                </a:lnTo>
                <a:lnTo>
                  <a:pt x="157422" y="7638"/>
                </a:lnTo>
                <a:lnTo>
                  <a:pt x="155311" y="8786"/>
                </a:lnTo>
                <a:lnTo>
                  <a:pt x="153247" y="10028"/>
                </a:lnTo>
                <a:lnTo>
                  <a:pt x="151213" y="11332"/>
                </a:lnTo>
                <a:lnTo>
                  <a:pt x="149257" y="12714"/>
                </a:lnTo>
                <a:lnTo>
                  <a:pt x="147332" y="14157"/>
                </a:lnTo>
                <a:lnTo>
                  <a:pt x="145469" y="15679"/>
                </a:lnTo>
                <a:lnTo>
                  <a:pt x="143669" y="17262"/>
                </a:lnTo>
                <a:lnTo>
                  <a:pt x="141930" y="18907"/>
                </a:lnTo>
                <a:lnTo>
                  <a:pt x="140254" y="20615"/>
                </a:lnTo>
                <a:lnTo>
                  <a:pt x="138624" y="22385"/>
                </a:lnTo>
                <a:lnTo>
                  <a:pt x="137071" y="24216"/>
                </a:lnTo>
                <a:lnTo>
                  <a:pt x="135597" y="26095"/>
                </a:lnTo>
                <a:lnTo>
                  <a:pt x="134184" y="28035"/>
                </a:lnTo>
                <a:lnTo>
                  <a:pt x="132833" y="30038"/>
                </a:lnTo>
                <a:lnTo>
                  <a:pt x="131561" y="32102"/>
                </a:lnTo>
                <a:lnTo>
                  <a:pt x="130381" y="34198"/>
                </a:lnTo>
                <a:lnTo>
                  <a:pt x="129263" y="36356"/>
                </a:lnTo>
                <a:lnTo>
                  <a:pt x="128223" y="38560"/>
                </a:lnTo>
                <a:lnTo>
                  <a:pt x="127276" y="40826"/>
                </a:lnTo>
                <a:lnTo>
                  <a:pt x="126841" y="41960"/>
                </a:lnTo>
                <a:lnTo>
                  <a:pt x="126717" y="42270"/>
                </a:lnTo>
                <a:lnTo>
                  <a:pt x="126469" y="42720"/>
                </a:lnTo>
                <a:lnTo>
                  <a:pt x="126205" y="42969"/>
                </a:lnTo>
                <a:lnTo>
                  <a:pt x="125910" y="43062"/>
                </a:lnTo>
                <a:lnTo>
                  <a:pt x="125739" y="43077"/>
                </a:lnTo>
                <a:lnTo>
                  <a:pt x="125569" y="43062"/>
                </a:lnTo>
                <a:lnTo>
                  <a:pt x="125274" y="42969"/>
                </a:lnTo>
                <a:lnTo>
                  <a:pt x="125010" y="42720"/>
                </a:lnTo>
                <a:lnTo>
                  <a:pt x="124761" y="42270"/>
                </a:lnTo>
                <a:lnTo>
                  <a:pt x="124637" y="41960"/>
                </a:lnTo>
                <a:lnTo>
                  <a:pt x="124202" y="40826"/>
                </a:lnTo>
                <a:lnTo>
                  <a:pt x="123256" y="38560"/>
                </a:lnTo>
                <a:lnTo>
                  <a:pt x="122215" y="36356"/>
                </a:lnTo>
                <a:lnTo>
                  <a:pt x="121098" y="34198"/>
                </a:lnTo>
                <a:lnTo>
                  <a:pt x="119918" y="32102"/>
                </a:lnTo>
                <a:lnTo>
                  <a:pt x="118645" y="30038"/>
                </a:lnTo>
                <a:lnTo>
                  <a:pt x="117295" y="28035"/>
                </a:lnTo>
                <a:lnTo>
                  <a:pt x="115882" y="26095"/>
                </a:lnTo>
                <a:lnTo>
                  <a:pt x="114407" y="24216"/>
                </a:lnTo>
                <a:lnTo>
                  <a:pt x="112855" y="22385"/>
                </a:lnTo>
                <a:lnTo>
                  <a:pt x="111225" y="20615"/>
                </a:lnTo>
                <a:lnTo>
                  <a:pt x="109548" y="18907"/>
                </a:lnTo>
                <a:lnTo>
                  <a:pt x="107810" y="17262"/>
                </a:lnTo>
                <a:lnTo>
                  <a:pt x="106009" y="15679"/>
                </a:lnTo>
                <a:lnTo>
                  <a:pt x="104146" y="14157"/>
                </a:lnTo>
                <a:lnTo>
                  <a:pt x="102221" y="12714"/>
                </a:lnTo>
                <a:lnTo>
                  <a:pt x="100265" y="11332"/>
                </a:lnTo>
                <a:lnTo>
                  <a:pt x="98232" y="10028"/>
                </a:lnTo>
                <a:lnTo>
                  <a:pt x="96167" y="8786"/>
                </a:lnTo>
                <a:lnTo>
                  <a:pt x="94056" y="7638"/>
                </a:lnTo>
                <a:lnTo>
                  <a:pt x="91883" y="6551"/>
                </a:lnTo>
                <a:lnTo>
                  <a:pt x="89678" y="5542"/>
                </a:lnTo>
                <a:lnTo>
                  <a:pt x="87443" y="4610"/>
                </a:lnTo>
                <a:lnTo>
                  <a:pt x="85161" y="3757"/>
                </a:lnTo>
                <a:lnTo>
                  <a:pt x="82833" y="2996"/>
                </a:lnTo>
                <a:lnTo>
                  <a:pt x="80473" y="2313"/>
                </a:lnTo>
                <a:lnTo>
                  <a:pt x="78098" y="1708"/>
                </a:lnTo>
                <a:lnTo>
                  <a:pt x="75676" y="1195"/>
                </a:lnTo>
                <a:lnTo>
                  <a:pt x="73224" y="776"/>
                </a:lnTo>
                <a:lnTo>
                  <a:pt x="70756" y="450"/>
                </a:lnTo>
                <a:lnTo>
                  <a:pt x="68256" y="202"/>
                </a:lnTo>
                <a:lnTo>
                  <a:pt x="65741" y="47"/>
                </a:lnTo>
                <a:lnTo>
                  <a:pt x="64469" y="16"/>
                </a:lnTo>
                <a:lnTo>
                  <a:pt x="62932" y="0"/>
                </a:lnTo>
                <a:close/>
              </a:path>
            </a:pathLst>
          </a:custGeom>
          <a:solidFill>
            <a:srgbClr val="F7224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561224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A7B17"/>
          </p15:clr>
        </p15:guide>
        <p15:guide id="2" pos="3840">
          <p15:clr>
            <a:srgbClr val="FA7B17"/>
          </p15:clr>
        </p15:guide>
        <p15:guide id="3" pos="3621">
          <p15:clr>
            <a:srgbClr val="FA7B17"/>
          </p15:clr>
        </p15:guide>
        <p15:guide id="4" pos="4059">
          <p15:clr>
            <a:srgbClr val="FA7B17"/>
          </p15:clr>
        </p15:guide>
        <p15:guide id="5" pos="262">
          <p15:clr>
            <a:srgbClr val="FA7B17"/>
          </p15:clr>
        </p15:guide>
        <p15:guide id="6" pos="7418">
          <p15:clr>
            <a:srgbClr val="FA7B17"/>
          </p15:clr>
        </p15:guide>
        <p15:guide id="7" orient="horz" pos="929">
          <p15:clr>
            <a:srgbClr val="FA7B17"/>
          </p15:clr>
        </p15:guide>
        <p15:guide id="8" orient="horz" pos="1071">
          <p15:clr>
            <a:srgbClr val="FA7B17"/>
          </p15:clr>
        </p15:guide>
        <p15:guide id="9" orient="horz" pos="1234">
          <p15:clr>
            <a:srgbClr val="FA7B17"/>
          </p15:clr>
        </p15:guide>
        <p15:guide id="10" orient="horz" pos="3837">
          <p15:clr>
            <a:srgbClr val="FA7B17"/>
          </p15:clr>
        </p15:guide>
        <p15:guide id="11" orient="horz" pos="313">
          <p15:clr>
            <a:srgbClr val="FA7B17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imeline" type="titleOnly">
  <p:cSld name="Title and timeline">
    <p:bg>
      <p:bgPr>
        <a:solidFill>
          <a:schemeClr val="lt2"/>
        </a:solidFill>
        <a:effectLst/>
      </p:bgPr>
    </p:bg>
    <p:spTree>
      <p:nvGrpSpPr>
        <p:cNvPr id="1" name="Shape 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Google Shape;311;p19"/>
          <p:cNvSpPr txBox="1">
            <a:spLocks noGrp="1"/>
          </p:cNvSpPr>
          <p:nvPr>
            <p:ph type="sldNum" idx="12"/>
          </p:nvPr>
        </p:nvSpPr>
        <p:spPr>
          <a:xfrm>
            <a:off x="11044810" y="6091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12" name="Google Shape;312;p19"/>
          <p:cNvSpPr/>
          <p:nvPr/>
        </p:nvSpPr>
        <p:spPr>
          <a:xfrm rot="10800000">
            <a:off x="3833" y="67"/>
            <a:ext cx="11147700" cy="10329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13" name="Google Shape;313;p19"/>
          <p:cNvSpPr/>
          <p:nvPr/>
        </p:nvSpPr>
        <p:spPr>
          <a:xfrm>
            <a:off x="-23600" y="0"/>
            <a:ext cx="1266300" cy="10329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14" name="Google Shape;314;p19"/>
          <p:cNvSpPr txBox="1">
            <a:spLocks noGrp="1"/>
          </p:cNvSpPr>
          <p:nvPr>
            <p:ph type="title"/>
          </p:nvPr>
        </p:nvSpPr>
        <p:spPr>
          <a:xfrm>
            <a:off x="415600" y="398067"/>
            <a:ext cx="101241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1pPr>
            <a:lvl2pPr lvl="1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2pPr>
            <a:lvl3pPr lvl="2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3pPr>
            <a:lvl4pPr lvl="3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4pPr>
            <a:lvl5pPr lvl="4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5pPr>
            <a:lvl6pPr lvl="5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6pPr>
            <a:lvl7pPr lvl="6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7pPr>
            <a:lvl8pPr lvl="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8pPr>
            <a:lvl9pPr lvl="8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315" name="Google Shape;315;p19"/>
          <p:cNvSpPr txBox="1">
            <a:spLocks noGrp="1"/>
          </p:cNvSpPr>
          <p:nvPr>
            <p:ph type="title" idx="2"/>
          </p:nvPr>
        </p:nvSpPr>
        <p:spPr>
          <a:xfrm>
            <a:off x="415600" y="1226067"/>
            <a:ext cx="11360700" cy="393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00"/>
              <a:buFont typeface="Lato"/>
              <a:buNone/>
              <a:defRPr sz="19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316" name="Google Shape;316;p19"/>
          <p:cNvSpPr/>
          <p:nvPr/>
        </p:nvSpPr>
        <p:spPr>
          <a:xfrm>
            <a:off x="8957967" y="2140015"/>
            <a:ext cx="1126500" cy="1126500"/>
          </a:xfrm>
          <a:prstGeom prst="ellipse">
            <a:avLst/>
          </a:prstGeom>
          <a:solidFill>
            <a:schemeClr val="lt1"/>
          </a:solidFill>
          <a:ln w="2857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317" name="Google Shape;317;p19"/>
          <p:cNvCxnSpPr/>
          <p:nvPr/>
        </p:nvCxnSpPr>
        <p:spPr>
          <a:xfrm>
            <a:off x="2224448" y="3266413"/>
            <a:ext cx="0" cy="906300"/>
          </a:xfrm>
          <a:prstGeom prst="straightConnector1">
            <a:avLst/>
          </a:prstGeom>
          <a:noFill/>
          <a:ln w="19050" cap="flat" cmpd="sng">
            <a:solidFill>
              <a:srgbClr val="394F59"/>
            </a:solidFill>
            <a:prstDash val="solid"/>
            <a:round/>
            <a:headEnd type="none" w="med" len="med"/>
            <a:tailEnd type="oval" w="med" len="med"/>
          </a:ln>
        </p:spPr>
      </p:cxnSp>
      <p:sp>
        <p:nvSpPr>
          <p:cNvPr id="318" name="Google Shape;318;p19"/>
          <p:cNvSpPr/>
          <p:nvPr/>
        </p:nvSpPr>
        <p:spPr>
          <a:xfrm>
            <a:off x="1661331" y="2140025"/>
            <a:ext cx="1126500" cy="1126500"/>
          </a:xfrm>
          <a:prstGeom prst="ellipse">
            <a:avLst/>
          </a:prstGeom>
          <a:solidFill>
            <a:schemeClr val="lt1"/>
          </a:solidFill>
          <a:ln w="2857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319" name="Google Shape;319;p19"/>
          <p:cNvCxnSpPr/>
          <p:nvPr/>
        </p:nvCxnSpPr>
        <p:spPr>
          <a:xfrm rot="10800000">
            <a:off x="752433" y="4127467"/>
            <a:ext cx="10485300" cy="0"/>
          </a:xfrm>
          <a:prstGeom prst="straightConnector1">
            <a:avLst/>
          </a:prstGeom>
          <a:noFill/>
          <a:ln w="19050" cap="flat" cmpd="sng">
            <a:solidFill>
              <a:srgbClr val="394F59"/>
            </a:solidFill>
            <a:prstDash val="dot"/>
            <a:round/>
            <a:headEnd type="none" w="med" len="med"/>
            <a:tailEnd type="none" w="med" len="med"/>
          </a:ln>
        </p:spPr>
      </p:cxnSp>
      <p:cxnSp>
        <p:nvCxnSpPr>
          <p:cNvPr id="320" name="Google Shape;320;p19"/>
          <p:cNvCxnSpPr/>
          <p:nvPr/>
        </p:nvCxnSpPr>
        <p:spPr>
          <a:xfrm>
            <a:off x="4606130" y="3266413"/>
            <a:ext cx="0" cy="906300"/>
          </a:xfrm>
          <a:prstGeom prst="straightConnector1">
            <a:avLst/>
          </a:prstGeom>
          <a:noFill/>
          <a:ln w="19050" cap="flat" cmpd="sng">
            <a:solidFill>
              <a:srgbClr val="394F59"/>
            </a:solidFill>
            <a:prstDash val="solid"/>
            <a:round/>
            <a:headEnd type="none" w="med" len="med"/>
            <a:tailEnd type="oval" w="med" len="med"/>
          </a:ln>
        </p:spPr>
      </p:cxnSp>
      <p:sp>
        <p:nvSpPr>
          <p:cNvPr id="321" name="Google Shape;321;p19"/>
          <p:cNvSpPr/>
          <p:nvPr/>
        </p:nvSpPr>
        <p:spPr>
          <a:xfrm>
            <a:off x="4043105" y="2224993"/>
            <a:ext cx="1126500" cy="1126500"/>
          </a:xfrm>
          <a:prstGeom prst="ellipse">
            <a:avLst/>
          </a:prstGeom>
          <a:solidFill>
            <a:schemeClr val="lt1"/>
          </a:solidFill>
          <a:ln w="28575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322" name="Google Shape;322;p19"/>
          <p:cNvCxnSpPr/>
          <p:nvPr/>
        </p:nvCxnSpPr>
        <p:spPr>
          <a:xfrm>
            <a:off x="6880772" y="3266413"/>
            <a:ext cx="0" cy="906300"/>
          </a:xfrm>
          <a:prstGeom prst="straightConnector1">
            <a:avLst/>
          </a:prstGeom>
          <a:noFill/>
          <a:ln w="19050" cap="flat" cmpd="sng">
            <a:solidFill>
              <a:srgbClr val="394F59"/>
            </a:solidFill>
            <a:prstDash val="solid"/>
            <a:round/>
            <a:headEnd type="none" w="med" len="med"/>
            <a:tailEnd type="oval" w="med" len="med"/>
          </a:ln>
        </p:spPr>
      </p:cxnSp>
      <p:sp>
        <p:nvSpPr>
          <p:cNvPr id="323" name="Google Shape;323;p19"/>
          <p:cNvSpPr/>
          <p:nvPr/>
        </p:nvSpPr>
        <p:spPr>
          <a:xfrm>
            <a:off x="6317594" y="2183156"/>
            <a:ext cx="1126500" cy="1126500"/>
          </a:xfrm>
          <a:prstGeom prst="ellipse">
            <a:avLst/>
          </a:prstGeom>
          <a:solidFill>
            <a:schemeClr val="lt1"/>
          </a:solidFill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324" name="Google Shape;324;p19"/>
          <p:cNvCxnSpPr/>
          <p:nvPr/>
        </p:nvCxnSpPr>
        <p:spPr>
          <a:xfrm>
            <a:off x="9521162" y="3266392"/>
            <a:ext cx="0" cy="906300"/>
          </a:xfrm>
          <a:prstGeom prst="straightConnector1">
            <a:avLst/>
          </a:prstGeom>
          <a:noFill/>
          <a:ln w="19050" cap="flat" cmpd="sng">
            <a:solidFill>
              <a:srgbClr val="394F59"/>
            </a:solidFill>
            <a:prstDash val="solid"/>
            <a:round/>
            <a:headEnd type="none" w="med" len="med"/>
            <a:tailEnd type="oval" w="med" len="med"/>
          </a:ln>
        </p:spPr>
      </p:cxnSp>
      <p:sp>
        <p:nvSpPr>
          <p:cNvPr id="325" name="Google Shape;325;p19"/>
          <p:cNvSpPr txBox="1">
            <a:spLocks noGrp="1"/>
          </p:cNvSpPr>
          <p:nvPr>
            <p:ph type="subTitle" idx="1"/>
          </p:nvPr>
        </p:nvSpPr>
        <p:spPr>
          <a:xfrm>
            <a:off x="1242800" y="4373500"/>
            <a:ext cx="1914000" cy="6525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700"/>
              <a:buNone/>
              <a:defRPr sz="1700" b="1">
                <a:solidFill>
                  <a:schemeClr val="accent2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 b="1"/>
            </a:lvl2pPr>
            <a:lvl3pPr lvl="2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 b="1"/>
            </a:lvl3pPr>
            <a:lvl4pPr lvl="3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 b="1"/>
            </a:lvl4pPr>
            <a:lvl5pPr lvl="4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 b="1"/>
            </a:lvl5pPr>
            <a:lvl6pPr lvl="5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 b="1"/>
            </a:lvl6pPr>
            <a:lvl7pPr lvl="6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 b="1"/>
            </a:lvl7pPr>
            <a:lvl8pPr lvl="7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SzPts val="1700"/>
              <a:buNone/>
              <a:defRPr sz="1700" b="1"/>
            </a:lvl8pPr>
            <a:lvl9pPr lvl="8" algn="ctr" rtl="0">
              <a:lnSpc>
                <a:spcPct val="100000"/>
              </a:lnSpc>
              <a:spcBef>
                <a:spcPts val="1300"/>
              </a:spcBef>
              <a:spcAft>
                <a:spcPts val="1300"/>
              </a:spcAft>
              <a:buSzPts val="1700"/>
              <a:buNone/>
              <a:defRPr sz="1700" b="1"/>
            </a:lvl9pPr>
          </a:lstStyle>
          <a:p>
            <a:endParaRPr/>
          </a:p>
        </p:txBody>
      </p:sp>
      <p:sp>
        <p:nvSpPr>
          <p:cNvPr id="326" name="Google Shape;326;p19"/>
          <p:cNvSpPr txBox="1">
            <a:spLocks noGrp="1"/>
          </p:cNvSpPr>
          <p:nvPr>
            <p:ph type="subTitle" idx="3"/>
          </p:nvPr>
        </p:nvSpPr>
        <p:spPr>
          <a:xfrm>
            <a:off x="3649133" y="4373500"/>
            <a:ext cx="1914000" cy="6525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700"/>
              <a:buNone/>
              <a:defRPr sz="1700" b="1">
                <a:solidFill>
                  <a:schemeClr val="accent3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>
                <a:schemeClr val="accent3"/>
              </a:buClr>
              <a:buSzPts val="1700"/>
              <a:buNone/>
              <a:defRPr sz="1700" b="1">
                <a:solidFill>
                  <a:schemeClr val="accent3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>
                <a:schemeClr val="accent3"/>
              </a:buClr>
              <a:buSzPts val="1700"/>
              <a:buNone/>
              <a:defRPr sz="1700" b="1">
                <a:solidFill>
                  <a:schemeClr val="accent3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>
                <a:schemeClr val="accent3"/>
              </a:buClr>
              <a:buSzPts val="1700"/>
              <a:buNone/>
              <a:defRPr sz="1700" b="1">
                <a:solidFill>
                  <a:schemeClr val="accent3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>
                <a:schemeClr val="accent3"/>
              </a:buClr>
              <a:buSzPts val="1700"/>
              <a:buNone/>
              <a:defRPr sz="1700" b="1">
                <a:solidFill>
                  <a:schemeClr val="accent3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>
                <a:schemeClr val="accent3"/>
              </a:buClr>
              <a:buSzPts val="1700"/>
              <a:buNone/>
              <a:defRPr sz="1700" b="1">
                <a:solidFill>
                  <a:schemeClr val="accent3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>
                <a:schemeClr val="accent3"/>
              </a:buClr>
              <a:buSzPts val="1700"/>
              <a:buNone/>
              <a:defRPr sz="1700" b="1">
                <a:solidFill>
                  <a:schemeClr val="accent3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>
                <a:schemeClr val="accent3"/>
              </a:buClr>
              <a:buSzPts val="1700"/>
              <a:buNone/>
              <a:defRPr sz="1700" b="1">
                <a:solidFill>
                  <a:schemeClr val="accent3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1300"/>
              </a:spcBef>
              <a:spcAft>
                <a:spcPts val="1300"/>
              </a:spcAft>
              <a:buClr>
                <a:schemeClr val="accent3"/>
              </a:buClr>
              <a:buSzPts val="1700"/>
              <a:buNone/>
              <a:defRPr sz="1700" b="1">
                <a:solidFill>
                  <a:schemeClr val="accent3"/>
                </a:solidFill>
              </a:defRPr>
            </a:lvl9pPr>
          </a:lstStyle>
          <a:p>
            <a:endParaRPr/>
          </a:p>
        </p:txBody>
      </p:sp>
      <p:sp>
        <p:nvSpPr>
          <p:cNvPr id="327" name="Google Shape;327;p19"/>
          <p:cNvSpPr txBox="1">
            <a:spLocks noGrp="1"/>
          </p:cNvSpPr>
          <p:nvPr>
            <p:ph type="subTitle" idx="4"/>
          </p:nvPr>
        </p:nvSpPr>
        <p:spPr>
          <a:xfrm>
            <a:off x="6010800" y="4373500"/>
            <a:ext cx="1914000" cy="6525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700"/>
              <a:buNone/>
              <a:defRPr sz="1700" b="1">
                <a:solidFill>
                  <a:schemeClr val="accen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ts val="1700"/>
              <a:buNone/>
              <a:defRPr sz="1700" b="1">
                <a:solidFill>
                  <a:schemeClr val="accent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ts val="1700"/>
              <a:buNone/>
              <a:defRPr sz="1700" b="1">
                <a:solidFill>
                  <a:schemeClr val="accent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ts val="1700"/>
              <a:buNone/>
              <a:defRPr sz="1700" b="1">
                <a:solidFill>
                  <a:schemeClr val="accent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ts val="1700"/>
              <a:buNone/>
              <a:defRPr sz="1700" b="1">
                <a:solidFill>
                  <a:schemeClr val="accent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ts val="1700"/>
              <a:buNone/>
              <a:defRPr sz="1700" b="1">
                <a:solidFill>
                  <a:schemeClr val="accent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ts val="1700"/>
              <a:buNone/>
              <a:defRPr sz="1700" b="1">
                <a:solidFill>
                  <a:schemeClr val="accent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>
                <a:schemeClr val="accent1"/>
              </a:buClr>
              <a:buSzPts val="1700"/>
              <a:buNone/>
              <a:defRPr sz="1700" b="1">
                <a:solidFill>
                  <a:schemeClr val="accent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1300"/>
              </a:spcBef>
              <a:spcAft>
                <a:spcPts val="1300"/>
              </a:spcAft>
              <a:buClr>
                <a:schemeClr val="accent1"/>
              </a:buClr>
              <a:buSzPts val="1700"/>
              <a:buNone/>
              <a:defRPr sz="1700" b="1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328" name="Google Shape;328;p19"/>
          <p:cNvSpPr txBox="1">
            <a:spLocks noGrp="1"/>
          </p:cNvSpPr>
          <p:nvPr>
            <p:ph type="subTitle" idx="5"/>
          </p:nvPr>
        </p:nvSpPr>
        <p:spPr>
          <a:xfrm>
            <a:off x="8564167" y="4373433"/>
            <a:ext cx="1914000" cy="6525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700"/>
              <a:buNone/>
              <a:defRPr sz="1700" b="1">
                <a:solidFill>
                  <a:schemeClr val="dk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700"/>
              <a:buNone/>
              <a:defRPr sz="1700" b="1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700"/>
              <a:buNone/>
              <a:defRPr sz="1700" b="1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700"/>
              <a:buNone/>
              <a:defRPr sz="1700" b="1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700"/>
              <a:buNone/>
              <a:defRPr sz="1700" b="1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700"/>
              <a:buNone/>
              <a:defRPr sz="1700" b="1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700"/>
              <a:buNone/>
              <a:defRPr sz="1700" b="1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700"/>
              <a:buNone/>
              <a:defRPr sz="1700" b="1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1300"/>
              </a:spcBef>
              <a:spcAft>
                <a:spcPts val="1300"/>
              </a:spcAft>
              <a:buClr>
                <a:schemeClr val="dk1"/>
              </a:buClr>
              <a:buSzPts val="1700"/>
              <a:buNone/>
              <a:defRPr sz="1700" b="1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329" name="Google Shape;329;p19"/>
          <p:cNvSpPr>
            <a:spLocks noGrp="1"/>
          </p:cNvSpPr>
          <p:nvPr>
            <p:ph type="pic" idx="6"/>
          </p:nvPr>
        </p:nvSpPr>
        <p:spPr>
          <a:xfrm>
            <a:off x="1697133" y="2175833"/>
            <a:ext cx="1054800" cy="1054800"/>
          </a:xfrm>
          <a:prstGeom prst="ellipse">
            <a:avLst/>
          </a:prstGeom>
          <a:noFill/>
          <a:ln>
            <a:noFill/>
          </a:ln>
        </p:spPr>
      </p:sp>
      <p:sp>
        <p:nvSpPr>
          <p:cNvPr id="330" name="Google Shape;330;p19"/>
          <p:cNvSpPr>
            <a:spLocks noGrp="1"/>
          </p:cNvSpPr>
          <p:nvPr>
            <p:ph type="pic" idx="7"/>
          </p:nvPr>
        </p:nvSpPr>
        <p:spPr>
          <a:xfrm>
            <a:off x="4078733" y="2260800"/>
            <a:ext cx="1054800" cy="1054800"/>
          </a:xfrm>
          <a:prstGeom prst="ellipse">
            <a:avLst/>
          </a:prstGeom>
          <a:noFill/>
          <a:ln>
            <a:noFill/>
          </a:ln>
        </p:spPr>
      </p:sp>
      <p:sp>
        <p:nvSpPr>
          <p:cNvPr id="331" name="Google Shape;331;p19"/>
          <p:cNvSpPr>
            <a:spLocks noGrp="1"/>
          </p:cNvSpPr>
          <p:nvPr>
            <p:ph type="pic" idx="8"/>
          </p:nvPr>
        </p:nvSpPr>
        <p:spPr>
          <a:xfrm>
            <a:off x="6353400" y="2218967"/>
            <a:ext cx="1054800" cy="1054800"/>
          </a:xfrm>
          <a:prstGeom prst="ellipse">
            <a:avLst/>
          </a:prstGeom>
          <a:noFill/>
          <a:ln>
            <a:noFill/>
          </a:ln>
        </p:spPr>
      </p:sp>
      <p:sp>
        <p:nvSpPr>
          <p:cNvPr id="332" name="Google Shape;332;p19"/>
          <p:cNvSpPr>
            <a:spLocks noGrp="1"/>
          </p:cNvSpPr>
          <p:nvPr>
            <p:ph type="pic" idx="9"/>
          </p:nvPr>
        </p:nvSpPr>
        <p:spPr>
          <a:xfrm>
            <a:off x="8993766" y="2175800"/>
            <a:ext cx="1054800" cy="1054800"/>
          </a:xfrm>
          <a:prstGeom prst="ellipse">
            <a:avLst/>
          </a:prstGeom>
          <a:noFill/>
          <a:ln>
            <a:noFill/>
          </a:ln>
        </p:spPr>
      </p:sp>
      <p:sp>
        <p:nvSpPr>
          <p:cNvPr id="333" name="Google Shape;333;p19"/>
          <p:cNvSpPr/>
          <p:nvPr/>
        </p:nvSpPr>
        <p:spPr>
          <a:xfrm>
            <a:off x="11525533" y="364133"/>
            <a:ext cx="365273" cy="304371"/>
          </a:xfrm>
          <a:custGeom>
            <a:avLst/>
            <a:gdLst/>
            <a:ahLst/>
            <a:cxnLst/>
            <a:rect l="l" t="t" r="r" b="b"/>
            <a:pathLst>
              <a:path w="251479" h="209550" extrusionOk="0">
                <a:moveTo>
                  <a:pt x="62932" y="0"/>
                </a:moveTo>
                <a:lnTo>
                  <a:pt x="59858" y="78"/>
                </a:lnTo>
                <a:lnTo>
                  <a:pt x="56847" y="326"/>
                </a:lnTo>
                <a:lnTo>
                  <a:pt x="53851" y="714"/>
                </a:lnTo>
                <a:lnTo>
                  <a:pt x="50901" y="1257"/>
                </a:lnTo>
                <a:lnTo>
                  <a:pt x="47998" y="1925"/>
                </a:lnTo>
                <a:lnTo>
                  <a:pt x="45142" y="2748"/>
                </a:lnTo>
                <a:lnTo>
                  <a:pt x="42348" y="3695"/>
                </a:lnTo>
                <a:lnTo>
                  <a:pt x="39600" y="4781"/>
                </a:lnTo>
                <a:lnTo>
                  <a:pt x="36915" y="5992"/>
                </a:lnTo>
                <a:lnTo>
                  <a:pt x="34291" y="7327"/>
                </a:lnTo>
                <a:lnTo>
                  <a:pt x="31730" y="8786"/>
                </a:lnTo>
                <a:lnTo>
                  <a:pt x="29246" y="10354"/>
                </a:lnTo>
                <a:lnTo>
                  <a:pt x="26840" y="12031"/>
                </a:lnTo>
                <a:lnTo>
                  <a:pt x="24511" y="13831"/>
                </a:lnTo>
                <a:lnTo>
                  <a:pt x="22261" y="15741"/>
                </a:lnTo>
                <a:lnTo>
                  <a:pt x="20087" y="17743"/>
                </a:lnTo>
                <a:lnTo>
                  <a:pt x="18023" y="19839"/>
                </a:lnTo>
                <a:lnTo>
                  <a:pt x="16036" y="22043"/>
                </a:lnTo>
                <a:lnTo>
                  <a:pt x="14157" y="24325"/>
                </a:lnTo>
                <a:lnTo>
                  <a:pt x="12372" y="26716"/>
                </a:lnTo>
                <a:lnTo>
                  <a:pt x="10696" y="29168"/>
                </a:lnTo>
                <a:lnTo>
                  <a:pt x="9112" y="31714"/>
                </a:lnTo>
                <a:lnTo>
                  <a:pt x="7653" y="34338"/>
                </a:lnTo>
                <a:lnTo>
                  <a:pt x="6318" y="37039"/>
                </a:lnTo>
                <a:lnTo>
                  <a:pt x="5092" y="39802"/>
                </a:lnTo>
                <a:lnTo>
                  <a:pt x="3990" y="42643"/>
                </a:lnTo>
                <a:lnTo>
                  <a:pt x="3012" y="45546"/>
                </a:lnTo>
                <a:lnTo>
                  <a:pt x="2173" y="48495"/>
                </a:lnTo>
                <a:lnTo>
                  <a:pt x="1459" y="51507"/>
                </a:lnTo>
                <a:lnTo>
                  <a:pt x="885" y="54580"/>
                </a:lnTo>
                <a:lnTo>
                  <a:pt x="450" y="57700"/>
                </a:lnTo>
                <a:lnTo>
                  <a:pt x="310" y="59268"/>
                </a:lnTo>
                <a:lnTo>
                  <a:pt x="186" y="60665"/>
                </a:lnTo>
                <a:lnTo>
                  <a:pt x="31" y="63475"/>
                </a:lnTo>
                <a:lnTo>
                  <a:pt x="0" y="66269"/>
                </a:lnTo>
                <a:lnTo>
                  <a:pt x="62" y="69063"/>
                </a:lnTo>
                <a:lnTo>
                  <a:pt x="217" y="71842"/>
                </a:lnTo>
                <a:lnTo>
                  <a:pt x="466" y="74605"/>
                </a:lnTo>
                <a:lnTo>
                  <a:pt x="823" y="77368"/>
                </a:lnTo>
                <a:lnTo>
                  <a:pt x="1257" y="80132"/>
                </a:lnTo>
                <a:lnTo>
                  <a:pt x="1801" y="82864"/>
                </a:lnTo>
                <a:lnTo>
                  <a:pt x="2422" y="85611"/>
                </a:lnTo>
                <a:lnTo>
                  <a:pt x="3120" y="88328"/>
                </a:lnTo>
                <a:lnTo>
                  <a:pt x="3912" y="91045"/>
                </a:lnTo>
                <a:lnTo>
                  <a:pt x="4781" y="93730"/>
                </a:lnTo>
                <a:lnTo>
                  <a:pt x="5728" y="96416"/>
                </a:lnTo>
                <a:lnTo>
                  <a:pt x="7280" y="100436"/>
                </a:lnTo>
                <a:lnTo>
                  <a:pt x="9609" y="105714"/>
                </a:lnTo>
                <a:lnTo>
                  <a:pt x="12201" y="110946"/>
                </a:lnTo>
                <a:lnTo>
                  <a:pt x="15058" y="116099"/>
                </a:lnTo>
                <a:lnTo>
                  <a:pt x="18147" y="121191"/>
                </a:lnTo>
                <a:lnTo>
                  <a:pt x="21438" y="126205"/>
                </a:lnTo>
                <a:lnTo>
                  <a:pt x="24931" y="131126"/>
                </a:lnTo>
                <a:lnTo>
                  <a:pt x="28594" y="135969"/>
                </a:lnTo>
                <a:lnTo>
                  <a:pt x="32413" y="140719"/>
                </a:lnTo>
                <a:lnTo>
                  <a:pt x="36371" y="145392"/>
                </a:lnTo>
                <a:lnTo>
                  <a:pt x="40454" y="149940"/>
                </a:lnTo>
                <a:lnTo>
                  <a:pt x="44630" y="154395"/>
                </a:lnTo>
                <a:lnTo>
                  <a:pt x="48883" y="158742"/>
                </a:lnTo>
                <a:lnTo>
                  <a:pt x="53199" y="162964"/>
                </a:lnTo>
                <a:lnTo>
                  <a:pt x="57545" y="167078"/>
                </a:lnTo>
                <a:lnTo>
                  <a:pt x="61938" y="171068"/>
                </a:lnTo>
                <a:lnTo>
                  <a:pt x="66316" y="174917"/>
                </a:lnTo>
                <a:lnTo>
                  <a:pt x="70678" y="178643"/>
                </a:lnTo>
                <a:lnTo>
                  <a:pt x="75024" y="182229"/>
                </a:lnTo>
                <a:lnTo>
                  <a:pt x="81420" y="187352"/>
                </a:lnTo>
                <a:lnTo>
                  <a:pt x="89663" y="193639"/>
                </a:lnTo>
                <a:lnTo>
                  <a:pt x="97425" y="199274"/>
                </a:lnTo>
                <a:lnTo>
                  <a:pt x="101057" y="201819"/>
                </a:lnTo>
                <a:lnTo>
                  <a:pt x="102454" y="202766"/>
                </a:lnTo>
                <a:lnTo>
                  <a:pt x="105342" y="204458"/>
                </a:lnTo>
                <a:lnTo>
                  <a:pt x="108338" y="205918"/>
                </a:lnTo>
                <a:lnTo>
                  <a:pt x="111396" y="207128"/>
                </a:lnTo>
                <a:lnTo>
                  <a:pt x="114516" y="208091"/>
                </a:lnTo>
                <a:lnTo>
                  <a:pt x="117683" y="208820"/>
                </a:lnTo>
                <a:lnTo>
                  <a:pt x="120896" y="209302"/>
                </a:lnTo>
                <a:lnTo>
                  <a:pt x="124125" y="209550"/>
                </a:lnTo>
                <a:lnTo>
                  <a:pt x="127354" y="209550"/>
                </a:lnTo>
                <a:lnTo>
                  <a:pt x="130583" y="209302"/>
                </a:lnTo>
                <a:lnTo>
                  <a:pt x="133796" y="208820"/>
                </a:lnTo>
                <a:lnTo>
                  <a:pt x="136963" y="208091"/>
                </a:lnTo>
                <a:lnTo>
                  <a:pt x="140098" y="207128"/>
                </a:lnTo>
                <a:lnTo>
                  <a:pt x="143156" y="205918"/>
                </a:lnTo>
                <a:lnTo>
                  <a:pt x="146137" y="204458"/>
                </a:lnTo>
                <a:lnTo>
                  <a:pt x="149024" y="202766"/>
                </a:lnTo>
                <a:lnTo>
                  <a:pt x="150421" y="201819"/>
                </a:lnTo>
                <a:lnTo>
                  <a:pt x="154038" y="199289"/>
                </a:lnTo>
                <a:lnTo>
                  <a:pt x="161769" y="193670"/>
                </a:lnTo>
                <a:lnTo>
                  <a:pt x="169981" y="187414"/>
                </a:lnTo>
                <a:lnTo>
                  <a:pt x="176361" y="182306"/>
                </a:lnTo>
                <a:lnTo>
                  <a:pt x="180676" y="178736"/>
                </a:lnTo>
                <a:lnTo>
                  <a:pt x="185023" y="175042"/>
                </a:lnTo>
                <a:lnTo>
                  <a:pt x="189385" y="171192"/>
                </a:lnTo>
                <a:lnTo>
                  <a:pt x="193763" y="167233"/>
                </a:lnTo>
                <a:lnTo>
                  <a:pt x="198094" y="163151"/>
                </a:lnTo>
                <a:lnTo>
                  <a:pt x="202394" y="158944"/>
                </a:lnTo>
                <a:lnTo>
                  <a:pt x="206647" y="154613"/>
                </a:lnTo>
                <a:lnTo>
                  <a:pt x="210807" y="150189"/>
                </a:lnTo>
                <a:lnTo>
                  <a:pt x="214874" y="145656"/>
                </a:lnTo>
                <a:lnTo>
                  <a:pt x="218817" y="141014"/>
                </a:lnTo>
                <a:lnTo>
                  <a:pt x="222636" y="136280"/>
                </a:lnTo>
                <a:lnTo>
                  <a:pt x="226300" y="131467"/>
                </a:lnTo>
                <a:lnTo>
                  <a:pt x="229792" y="126562"/>
                </a:lnTo>
                <a:lnTo>
                  <a:pt x="233083" y="121579"/>
                </a:lnTo>
                <a:lnTo>
                  <a:pt x="236173" y="116518"/>
                </a:lnTo>
                <a:lnTo>
                  <a:pt x="239044" y="111380"/>
                </a:lnTo>
                <a:lnTo>
                  <a:pt x="241652" y="106180"/>
                </a:lnTo>
                <a:lnTo>
                  <a:pt x="243996" y="100917"/>
                </a:lnTo>
                <a:lnTo>
                  <a:pt x="245564" y="96928"/>
                </a:lnTo>
                <a:lnTo>
                  <a:pt x="246527" y="94258"/>
                </a:lnTo>
                <a:lnTo>
                  <a:pt x="247396" y="91572"/>
                </a:lnTo>
                <a:lnTo>
                  <a:pt x="248203" y="88871"/>
                </a:lnTo>
                <a:lnTo>
                  <a:pt x="248917" y="86155"/>
                </a:lnTo>
                <a:lnTo>
                  <a:pt x="249554" y="83438"/>
                </a:lnTo>
                <a:lnTo>
                  <a:pt x="250112" y="80706"/>
                </a:lnTo>
                <a:lnTo>
                  <a:pt x="250563" y="77958"/>
                </a:lnTo>
                <a:lnTo>
                  <a:pt x="250935" y="75211"/>
                </a:lnTo>
                <a:lnTo>
                  <a:pt x="251215" y="72448"/>
                </a:lnTo>
                <a:lnTo>
                  <a:pt x="251385" y="69684"/>
                </a:lnTo>
                <a:lnTo>
                  <a:pt x="251479" y="66906"/>
                </a:lnTo>
                <a:lnTo>
                  <a:pt x="251463" y="64127"/>
                </a:lnTo>
                <a:lnTo>
                  <a:pt x="251339" y="61333"/>
                </a:lnTo>
                <a:lnTo>
                  <a:pt x="251230" y="59936"/>
                </a:lnTo>
                <a:lnTo>
                  <a:pt x="251199" y="59610"/>
                </a:lnTo>
                <a:lnTo>
                  <a:pt x="251184" y="59268"/>
                </a:lnTo>
                <a:lnTo>
                  <a:pt x="250966" y="57235"/>
                </a:lnTo>
                <a:lnTo>
                  <a:pt x="250361" y="53199"/>
                </a:lnTo>
                <a:lnTo>
                  <a:pt x="249507" y="49256"/>
                </a:lnTo>
                <a:lnTo>
                  <a:pt x="248436" y="45421"/>
                </a:lnTo>
                <a:lnTo>
                  <a:pt x="247132" y="41665"/>
                </a:lnTo>
                <a:lnTo>
                  <a:pt x="245626" y="38032"/>
                </a:lnTo>
                <a:lnTo>
                  <a:pt x="243919" y="34508"/>
                </a:lnTo>
                <a:lnTo>
                  <a:pt x="242009" y="31124"/>
                </a:lnTo>
                <a:lnTo>
                  <a:pt x="240969" y="29479"/>
                </a:lnTo>
                <a:lnTo>
                  <a:pt x="240209" y="28299"/>
                </a:lnTo>
                <a:lnTo>
                  <a:pt x="239401" y="27135"/>
                </a:lnTo>
                <a:lnTo>
                  <a:pt x="238594" y="26110"/>
                </a:lnTo>
                <a:lnTo>
                  <a:pt x="237244" y="24667"/>
                </a:lnTo>
                <a:lnTo>
                  <a:pt x="236281" y="23766"/>
                </a:lnTo>
                <a:lnTo>
                  <a:pt x="235784" y="23332"/>
                </a:lnTo>
                <a:lnTo>
                  <a:pt x="234837" y="22571"/>
                </a:lnTo>
                <a:lnTo>
                  <a:pt x="232882" y="21236"/>
                </a:lnTo>
                <a:lnTo>
                  <a:pt x="230832" y="20134"/>
                </a:lnTo>
                <a:lnTo>
                  <a:pt x="228690" y="19233"/>
                </a:lnTo>
                <a:lnTo>
                  <a:pt x="226517" y="18566"/>
                </a:lnTo>
                <a:lnTo>
                  <a:pt x="224297" y="18116"/>
                </a:lnTo>
                <a:lnTo>
                  <a:pt x="222046" y="17883"/>
                </a:lnTo>
                <a:lnTo>
                  <a:pt x="219795" y="17867"/>
                </a:lnTo>
                <a:lnTo>
                  <a:pt x="217544" y="18069"/>
                </a:lnTo>
                <a:lnTo>
                  <a:pt x="215325" y="18473"/>
                </a:lnTo>
                <a:lnTo>
                  <a:pt x="213167" y="19094"/>
                </a:lnTo>
                <a:lnTo>
                  <a:pt x="211056" y="19916"/>
                </a:lnTo>
                <a:lnTo>
                  <a:pt x="209007" y="20957"/>
                </a:lnTo>
                <a:lnTo>
                  <a:pt x="207082" y="22214"/>
                </a:lnTo>
                <a:lnTo>
                  <a:pt x="205250" y="23658"/>
                </a:lnTo>
                <a:lnTo>
                  <a:pt x="203542" y="25319"/>
                </a:lnTo>
                <a:lnTo>
                  <a:pt x="202751" y="26219"/>
                </a:lnTo>
                <a:lnTo>
                  <a:pt x="185504" y="46787"/>
                </a:lnTo>
                <a:lnTo>
                  <a:pt x="141775" y="98899"/>
                </a:lnTo>
                <a:lnTo>
                  <a:pt x="141232" y="99567"/>
                </a:lnTo>
                <a:lnTo>
                  <a:pt x="140285" y="100964"/>
                </a:lnTo>
                <a:lnTo>
                  <a:pt x="139508" y="102439"/>
                </a:lnTo>
                <a:lnTo>
                  <a:pt x="138903" y="103976"/>
                </a:lnTo>
                <a:lnTo>
                  <a:pt x="138468" y="105543"/>
                </a:lnTo>
                <a:lnTo>
                  <a:pt x="138189" y="107142"/>
                </a:lnTo>
                <a:lnTo>
                  <a:pt x="138065" y="108741"/>
                </a:lnTo>
                <a:lnTo>
                  <a:pt x="138111" y="110356"/>
                </a:lnTo>
                <a:lnTo>
                  <a:pt x="138329" y="111955"/>
                </a:lnTo>
                <a:lnTo>
                  <a:pt x="138701" y="113522"/>
                </a:lnTo>
                <a:lnTo>
                  <a:pt x="139229" y="115044"/>
                </a:lnTo>
                <a:lnTo>
                  <a:pt x="139912" y="116518"/>
                </a:lnTo>
                <a:lnTo>
                  <a:pt x="140750" y="117931"/>
                </a:lnTo>
                <a:lnTo>
                  <a:pt x="141759" y="119266"/>
                </a:lnTo>
                <a:lnTo>
                  <a:pt x="142908" y="120492"/>
                </a:lnTo>
                <a:lnTo>
                  <a:pt x="144212" y="121626"/>
                </a:lnTo>
                <a:lnTo>
                  <a:pt x="144926" y="122138"/>
                </a:lnTo>
                <a:lnTo>
                  <a:pt x="145438" y="122479"/>
                </a:lnTo>
                <a:lnTo>
                  <a:pt x="146494" y="123085"/>
                </a:lnTo>
                <a:lnTo>
                  <a:pt x="147581" y="123613"/>
                </a:lnTo>
                <a:lnTo>
                  <a:pt x="148698" y="124063"/>
                </a:lnTo>
                <a:lnTo>
                  <a:pt x="149863" y="124420"/>
                </a:lnTo>
                <a:lnTo>
                  <a:pt x="151042" y="124684"/>
                </a:lnTo>
                <a:lnTo>
                  <a:pt x="152238" y="124854"/>
                </a:lnTo>
                <a:lnTo>
                  <a:pt x="153448" y="124932"/>
                </a:lnTo>
                <a:lnTo>
                  <a:pt x="154069" y="124932"/>
                </a:lnTo>
                <a:lnTo>
                  <a:pt x="154939" y="124901"/>
                </a:lnTo>
                <a:lnTo>
                  <a:pt x="156662" y="124699"/>
                </a:lnTo>
                <a:lnTo>
                  <a:pt x="158338" y="124311"/>
                </a:lnTo>
                <a:lnTo>
                  <a:pt x="159937" y="123752"/>
                </a:lnTo>
                <a:lnTo>
                  <a:pt x="161459" y="123038"/>
                </a:lnTo>
                <a:lnTo>
                  <a:pt x="162902" y="122153"/>
                </a:lnTo>
                <a:lnTo>
                  <a:pt x="164253" y="121113"/>
                </a:lnTo>
                <a:lnTo>
                  <a:pt x="165495" y="119918"/>
                </a:lnTo>
                <a:lnTo>
                  <a:pt x="166053" y="119266"/>
                </a:lnTo>
                <a:lnTo>
                  <a:pt x="210357" y="66471"/>
                </a:lnTo>
                <a:lnTo>
                  <a:pt x="210668" y="66130"/>
                </a:lnTo>
                <a:lnTo>
                  <a:pt x="211366" y="65586"/>
                </a:lnTo>
                <a:lnTo>
                  <a:pt x="212142" y="65183"/>
                </a:lnTo>
                <a:lnTo>
                  <a:pt x="212965" y="64950"/>
                </a:lnTo>
                <a:lnTo>
                  <a:pt x="213819" y="64872"/>
                </a:lnTo>
                <a:lnTo>
                  <a:pt x="214673" y="64965"/>
                </a:lnTo>
                <a:lnTo>
                  <a:pt x="215495" y="65214"/>
                </a:lnTo>
                <a:lnTo>
                  <a:pt x="216272" y="65633"/>
                </a:lnTo>
                <a:lnTo>
                  <a:pt x="216644" y="65928"/>
                </a:lnTo>
                <a:lnTo>
                  <a:pt x="219252" y="68117"/>
                </a:lnTo>
                <a:lnTo>
                  <a:pt x="219578" y="68412"/>
                </a:lnTo>
                <a:lnTo>
                  <a:pt x="220137" y="69110"/>
                </a:lnTo>
                <a:lnTo>
                  <a:pt x="220525" y="69886"/>
                </a:lnTo>
                <a:lnTo>
                  <a:pt x="220773" y="70709"/>
                </a:lnTo>
                <a:lnTo>
                  <a:pt x="220835" y="71563"/>
                </a:lnTo>
                <a:lnTo>
                  <a:pt x="220758" y="72417"/>
                </a:lnTo>
                <a:lnTo>
                  <a:pt x="220494" y="73239"/>
                </a:lnTo>
                <a:lnTo>
                  <a:pt x="220075" y="74031"/>
                </a:lnTo>
                <a:lnTo>
                  <a:pt x="219795" y="74388"/>
                </a:lnTo>
                <a:lnTo>
                  <a:pt x="175492" y="127183"/>
                </a:lnTo>
                <a:lnTo>
                  <a:pt x="174560" y="128239"/>
                </a:lnTo>
                <a:lnTo>
                  <a:pt x="172573" y="130195"/>
                </a:lnTo>
                <a:lnTo>
                  <a:pt x="170431" y="131918"/>
                </a:lnTo>
                <a:lnTo>
                  <a:pt x="168134" y="133423"/>
                </a:lnTo>
                <a:lnTo>
                  <a:pt x="165696" y="134681"/>
                </a:lnTo>
                <a:lnTo>
                  <a:pt x="163151" y="135705"/>
                </a:lnTo>
                <a:lnTo>
                  <a:pt x="160512" y="136481"/>
                </a:lnTo>
                <a:lnTo>
                  <a:pt x="157764" y="136994"/>
                </a:lnTo>
                <a:lnTo>
                  <a:pt x="156367" y="137133"/>
                </a:lnTo>
                <a:lnTo>
                  <a:pt x="155109" y="137227"/>
                </a:lnTo>
                <a:lnTo>
                  <a:pt x="153868" y="137242"/>
                </a:lnTo>
                <a:lnTo>
                  <a:pt x="152626" y="137227"/>
                </a:lnTo>
                <a:lnTo>
                  <a:pt x="150189" y="137009"/>
                </a:lnTo>
                <a:lnTo>
                  <a:pt x="147782" y="136590"/>
                </a:lnTo>
                <a:lnTo>
                  <a:pt x="145438" y="135954"/>
                </a:lnTo>
                <a:lnTo>
                  <a:pt x="143141" y="135131"/>
                </a:lnTo>
                <a:lnTo>
                  <a:pt x="140937" y="134091"/>
                </a:lnTo>
                <a:lnTo>
                  <a:pt x="138810" y="132865"/>
                </a:lnTo>
                <a:lnTo>
                  <a:pt x="136776" y="131436"/>
                </a:lnTo>
                <a:lnTo>
                  <a:pt x="135814" y="130645"/>
                </a:lnTo>
                <a:lnTo>
                  <a:pt x="135255" y="130179"/>
                </a:lnTo>
                <a:lnTo>
                  <a:pt x="134200" y="129201"/>
                </a:lnTo>
                <a:lnTo>
                  <a:pt x="132725" y="127649"/>
                </a:lnTo>
                <a:lnTo>
                  <a:pt x="130986" y="125460"/>
                </a:lnTo>
                <a:lnTo>
                  <a:pt x="129496" y="123131"/>
                </a:lnTo>
                <a:lnTo>
                  <a:pt x="128254" y="120679"/>
                </a:lnTo>
                <a:lnTo>
                  <a:pt x="127245" y="118148"/>
                </a:lnTo>
                <a:lnTo>
                  <a:pt x="126500" y="115540"/>
                </a:lnTo>
                <a:lnTo>
                  <a:pt x="126019" y="112870"/>
                </a:lnTo>
                <a:lnTo>
                  <a:pt x="125786" y="110185"/>
                </a:lnTo>
                <a:lnTo>
                  <a:pt x="125801" y="107468"/>
                </a:lnTo>
                <a:lnTo>
                  <a:pt x="126081" y="104783"/>
                </a:lnTo>
                <a:lnTo>
                  <a:pt x="126624" y="102113"/>
                </a:lnTo>
                <a:lnTo>
                  <a:pt x="127431" y="99489"/>
                </a:lnTo>
                <a:lnTo>
                  <a:pt x="128487" y="96928"/>
                </a:lnTo>
                <a:lnTo>
                  <a:pt x="129822" y="94460"/>
                </a:lnTo>
                <a:lnTo>
                  <a:pt x="131017" y="92690"/>
                </a:lnTo>
                <a:lnTo>
                  <a:pt x="131887" y="91541"/>
                </a:lnTo>
                <a:lnTo>
                  <a:pt x="132337" y="90967"/>
                </a:lnTo>
                <a:lnTo>
                  <a:pt x="157966" y="60432"/>
                </a:lnTo>
                <a:lnTo>
                  <a:pt x="193312" y="18302"/>
                </a:lnTo>
                <a:lnTo>
                  <a:pt x="193856" y="17681"/>
                </a:lnTo>
                <a:lnTo>
                  <a:pt x="194958" y="16470"/>
                </a:lnTo>
                <a:lnTo>
                  <a:pt x="196697" y="14778"/>
                </a:lnTo>
                <a:lnTo>
                  <a:pt x="199149" y="12745"/>
                </a:lnTo>
                <a:lnTo>
                  <a:pt x="201757" y="10960"/>
                </a:lnTo>
                <a:lnTo>
                  <a:pt x="204474" y="9423"/>
                </a:lnTo>
                <a:lnTo>
                  <a:pt x="207299" y="8134"/>
                </a:lnTo>
                <a:lnTo>
                  <a:pt x="210217" y="7110"/>
                </a:lnTo>
                <a:lnTo>
                  <a:pt x="213198" y="6334"/>
                </a:lnTo>
                <a:lnTo>
                  <a:pt x="214704" y="6054"/>
                </a:lnTo>
                <a:lnTo>
                  <a:pt x="213105" y="5309"/>
                </a:lnTo>
                <a:lnTo>
                  <a:pt x="209860" y="3958"/>
                </a:lnTo>
                <a:lnTo>
                  <a:pt x="206523" y="2810"/>
                </a:lnTo>
                <a:lnTo>
                  <a:pt x="203108" y="1832"/>
                </a:lnTo>
                <a:lnTo>
                  <a:pt x="199630" y="1056"/>
                </a:lnTo>
                <a:lnTo>
                  <a:pt x="196091" y="497"/>
                </a:lnTo>
                <a:lnTo>
                  <a:pt x="192505" y="140"/>
                </a:lnTo>
                <a:lnTo>
                  <a:pt x="188857" y="0"/>
                </a:lnTo>
                <a:lnTo>
                  <a:pt x="187010" y="16"/>
                </a:lnTo>
                <a:lnTo>
                  <a:pt x="185737" y="47"/>
                </a:lnTo>
                <a:lnTo>
                  <a:pt x="183222" y="202"/>
                </a:lnTo>
                <a:lnTo>
                  <a:pt x="180723" y="450"/>
                </a:lnTo>
                <a:lnTo>
                  <a:pt x="178255" y="776"/>
                </a:lnTo>
                <a:lnTo>
                  <a:pt x="175802" y="1195"/>
                </a:lnTo>
                <a:lnTo>
                  <a:pt x="173380" y="1708"/>
                </a:lnTo>
                <a:lnTo>
                  <a:pt x="171005" y="2313"/>
                </a:lnTo>
                <a:lnTo>
                  <a:pt x="168646" y="2996"/>
                </a:lnTo>
                <a:lnTo>
                  <a:pt x="166317" y="3757"/>
                </a:lnTo>
                <a:lnTo>
                  <a:pt x="164035" y="4610"/>
                </a:lnTo>
                <a:lnTo>
                  <a:pt x="161800" y="5542"/>
                </a:lnTo>
                <a:lnTo>
                  <a:pt x="159596" y="6551"/>
                </a:lnTo>
                <a:lnTo>
                  <a:pt x="157422" y="7638"/>
                </a:lnTo>
                <a:lnTo>
                  <a:pt x="155311" y="8786"/>
                </a:lnTo>
                <a:lnTo>
                  <a:pt x="153247" y="10028"/>
                </a:lnTo>
                <a:lnTo>
                  <a:pt x="151213" y="11332"/>
                </a:lnTo>
                <a:lnTo>
                  <a:pt x="149257" y="12714"/>
                </a:lnTo>
                <a:lnTo>
                  <a:pt x="147332" y="14157"/>
                </a:lnTo>
                <a:lnTo>
                  <a:pt x="145469" y="15679"/>
                </a:lnTo>
                <a:lnTo>
                  <a:pt x="143669" y="17262"/>
                </a:lnTo>
                <a:lnTo>
                  <a:pt x="141930" y="18907"/>
                </a:lnTo>
                <a:lnTo>
                  <a:pt x="140254" y="20615"/>
                </a:lnTo>
                <a:lnTo>
                  <a:pt x="138624" y="22385"/>
                </a:lnTo>
                <a:lnTo>
                  <a:pt x="137071" y="24216"/>
                </a:lnTo>
                <a:lnTo>
                  <a:pt x="135597" y="26095"/>
                </a:lnTo>
                <a:lnTo>
                  <a:pt x="134184" y="28035"/>
                </a:lnTo>
                <a:lnTo>
                  <a:pt x="132833" y="30038"/>
                </a:lnTo>
                <a:lnTo>
                  <a:pt x="131561" y="32102"/>
                </a:lnTo>
                <a:lnTo>
                  <a:pt x="130381" y="34198"/>
                </a:lnTo>
                <a:lnTo>
                  <a:pt x="129263" y="36356"/>
                </a:lnTo>
                <a:lnTo>
                  <a:pt x="128223" y="38560"/>
                </a:lnTo>
                <a:lnTo>
                  <a:pt x="127276" y="40826"/>
                </a:lnTo>
                <a:lnTo>
                  <a:pt x="126841" y="41960"/>
                </a:lnTo>
                <a:lnTo>
                  <a:pt x="126717" y="42270"/>
                </a:lnTo>
                <a:lnTo>
                  <a:pt x="126469" y="42720"/>
                </a:lnTo>
                <a:lnTo>
                  <a:pt x="126205" y="42969"/>
                </a:lnTo>
                <a:lnTo>
                  <a:pt x="125910" y="43062"/>
                </a:lnTo>
                <a:lnTo>
                  <a:pt x="125739" y="43077"/>
                </a:lnTo>
                <a:lnTo>
                  <a:pt x="125569" y="43062"/>
                </a:lnTo>
                <a:lnTo>
                  <a:pt x="125274" y="42969"/>
                </a:lnTo>
                <a:lnTo>
                  <a:pt x="125010" y="42720"/>
                </a:lnTo>
                <a:lnTo>
                  <a:pt x="124761" y="42270"/>
                </a:lnTo>
                <a:lnTo>
                  <a:pt x="124637" y="41960"/>
                </a:lnTo>
                <a:lnTo>
                  <a:pt x="124202" y="40826"/>
                </a:lnTo>
                <a:lnTo>
                  <a:pt x="123256" y="38560"/>
                </a:lnTo>
                <a:lnTo>
                  <a:pt x="122215" y="36356"/>
                </a:lnTo>
                <a:lnTo>
                  <a:pt x="121098" y="34198"/>
                </a:lnTo>
                <a:lnTo>
                  <a:pt x="119918" y="32102"/>
                </a:lnTo>
                <a:lnTo>
                  <a:pt x="118645" y="30038"/>
                </a:lnTo>
                <a:lnTo>
                  <a:pt x="117295" y="28035"/>
                </a:lnTo>
                <a:lnTo>
                  <a:pt x="115882" y="26095"/>
                </a:lnTo>
                <a:lnTo>
                  <a:pt x="114407" y="24216"/>
                </a:lnTo>
                <a:lnTo>
                  <a:pt x="112855" y="22385"/>
                </a:lnTo>
                <a:lnTo>
                  <a:pt x="111225" y="20615"/>
                </a:lnTo>
                <a:lnTo>
                  <a:pt x="109548" y="18907"/>
                </a:lnTo>
                <a:lnTo>
                  <a:pt x="107810" y="17262"/>
                </a:lnTo>
                <a:lnTo>
                  <a:pt x="106009" y="15679"/>
                </a:lnTo>
                <a:lnTo>
                  <a:pt x="104146" y="14157"/>
                </a:lnTo>
                <a:lnTo>
                  <a:pt x="102221" y="12714"/>
                </a:lnTo>
                <a:lnTo>
                  <a:pt x="100265" y="11332"/>
                </a:lnTo>
                <a:lnTo>
                  <a:pt x="98232" y="10028"/>
                </a:lnTo>
                <a:lnTo>
                  <a:pt x="96167" y="8786"/>
                </a:lnTo>
                <a:lnTo>
                  <a:pt x="94056" y="7638"/>
                </a:lnTo>
                <a:lnTo>
                  <a:pt x="91883" y="6551"/>
                </a:lnTo>
                <a:lnTo>
                  <a:pt x="89678" y="5542"/>
                </a:lnTo>
                <a:lnTo>
                  <a:pt x="87443" y="4610"/>
                </a:lnTo>
                <a:lnTo>
                  <a:pt x="85161" y="3757"/>
                </a:lnTo>
                <a:lnTo>
                  <a:pt x="82833" y="2996"/>
                </a:lnTo>
                <a:lnTo>
                  <a:pt x="80473" y="2313"/>
                </a:lnTo>
                <a:lnTo>
                  <a:pt x="78098" y="1708"/>
                </a:lnTo>
                <a:lnTo>
                  <a:pt x="75676" y="1195"/>
                </a:lnTo>
                <a:lnTo>
                  <a:pt x="73224" y="776"/>
                </a:lnTo>
                <a:lnTo>
                  <a:pt x="70756" y="450"/>
                </a:lnTo>
                <a:lnTo>
                  <a:pt x="68256" y="202"/>
                </a:lnTo>
                <a:lnTo>
                  <a:pt x="65741" y="47"/>
                </a:lnTo>
                <a:lnTo>
                  <a:pt x="64469" y="16"/>
                </a:lnTo>
                <a:lnTo>
                  <a:pt x="62932" y="0"/>
                </a:lnTo>
                <a:close/>
              </a:path>
            </a:pathLst>
          </a:custGeom>
          <a:solidFill>
            <a:srgbClr val="F7224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9211588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C02795-2113-4F95-8753-CA6F06377136}" type="datetime1">
              <a:rPr lang="en-US" smtClean="0"/>
              <a:t>6/2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bg>
      <p:bgPr>
        <a:solidFill>
          <a:schemeClr val="dk1"/>
        </a:solidFill>
        <a:effectLst/>
      </p:bgPr>
    </p:bg>
    <p:spTree>
      <p:nvGrpSpPr>
        <p:cNvPr id="1" name="Shape 3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Google Shape;335;p20"/>
          <p:cNvSpPr/>
          <p:nvPr/>
        </p:nvSpPr>
        <p:spPr>
          <a:xfrm>
            <a:off x="-1580" y="0"/>
            <a:ext cx="9458974" cy="6864001"/>
          </a:xfrm>
          <a:custGeom>
            <a:avLst/>
            <a:gdLst/>
            <a:ahLst/>
            <a:cxnLst/>
            <a:rect l="l" t="t" r="r" b="b"/>
            <a:pathLst>
              <a:path w="6024824" h="4371975" extrusionOk="0">
                <a:moveTo>
                  <a:pt x="0" y="4371975"/>
                </a:moveTo>
                <a:lnTo>
                  <a:pt x="0" y="0"/>
                </a:lnTo>
                <a:cubicBezTo>
                  <a:pt x="0" y="0"/>
                  <a:pt x="6024825" y="0"/>
                  <a:pt x="6024825" y="0"/>
                </a:cubicBezTo>
                <a:cubicBezTo>
                  <a:pt x="4871757" y="1256781"/>
                  <a:pt x="3883042" y="2775071"/>
                  <a:pt x="3746054" y="4371975"/>
                </a:cubicBezTo>
                <a:lnTo>
                  <a:pt x="0" y="4371975"/>
                </a:lnTo>
                <a:close/>
              </a:path>
            </a:pathLst>
          </a:custGeom>
          <a:solidFill>
            <a:srgbClr val="EE2949"/>
          </a:solidFill>
          <a:ln>
            <a:noFill/>
          </a:ln>
        </p:spPr>
        <p:txBody>
          <a:bodyPr spcFirstLastPara="1" wrap="square" lIns="121900" tIns="60925" rIns="121900" bIns="6092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6" name="Google Shape;336;p20"/>
          <p:cNvSpPr txBox="1">
            <a:spLocks noGrp="1"/>
          </p:cNvSpPr>
          <p:nvPr>
            <p:ph type="sldNum" idx="12"/>
          </p:nvPr>
        </p:nvSpPr>
        <p:spPr>
          <a:xfrm>
            <a:off x="11044810" y="6091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buNone/>
              <a:defRPr>
                <a:solidFill>
                  <a:schemeClr val="lt1"/>
                </a:solidFill>
              </a:defRPr>
            </a:lvl1pPr>
            <a:lvl2pPr lvl="1" rtl="0">
              <a:buNone/>
              <a:defRPr>
                <a:solidFill>
                  <a:schemeClr val="lt1"/>
                </a:solidFill>
              </a:defRPr>
            </a:lvl2pPr>
            <a:lvl3pPr lvl="2" rtl="0">
              <a:buNone/>
              <a:defRPr>
                <a:solidFill>
                  <a:schemeClr val="lt1"/>
                </a:solidFill>
              </a:defRPr>
            </a:lvl3pPr>
            <a:lvl4pPr lvl="3" rtl="0">
              <a:buNone/>
              <a:defRPr>
                <a:solidFill>
                  <a:schemeClr val="lt1"/>
                </a:solidFill>
              </a:defRPr>
            </a:lvl4pPr>
            <a:lvl5pPr lvl="4" rtl="0">
              <a:buNone/>
              <a:defRPr>
                <a:solidFill>
                  <a:schemeClr val="lt1"/>
                </a:solidFill>
              </a:defRPr>
            </a:lvl5pPr>
            <a:lvl6pPr lvl="5" rtl="0">
              <a:buNone/>
              <a:defRPr>
                <a:solidFill>
                  <a:schemeClr val="lt1"/>
                </a:solidFill>
              </a:defRPr>
            </a:lvl6pPr>
            <a:lvl7pPr lvl="6" rtl="0">
              <a:buNone/>
              <a:defRPr>
                <a:solidFill>
                  <a:schemeClr val="lt1"/>
                </a:solidFill>
              </a:defRPr>
            </a:lvl7pPr>
            <a:lvl8pPr lvl="7" rtl="0">
              <a:buNone/>
              <a:defRPr>
                <a:solidFill>
                  <a:schemeClr val="lt1"/>
                </a:solidFill>
              </a:defRPr>
            </a:lvl8pPr>
            <a:lvl9pPr lvl="8" rtl="0">
              <a:buNone/>
              <a:defRPr>
                <a:solidFill>
                  <a:schemeClr val="lt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37" name="Google Shape;337;p20"/>
          <p:cNvSpPr/>
          <p:nvPr/>
        </p:nvSpPr>
        <p:spPr>
          <a:xfrm>
            <a:off x="9984401" y="4628267"/>
            <a:ext cx="1367417" cy="1139428"/>
          </a:xfrm>
          <a:custGeom>
            <a:avLst/>
            <a:gdLst/>
            <a:ahLst/>
            <a:cxnLst/>
            <a:rect l="l" t="t" r="r" b="b"/>
            <a:pathLst>
              <a:path w="251479" h="209550" extrusionOk="0">
                <a:moveTo>
                  <a:pt x="62932" y="0"/>
                </a:moveTo>
                <a:lnTo>
                  <a:pt x="59858" y="78"/>
                </a:lnTo>
                <a:lnTo>
                  <a:pt x="56847" y="326"/>
                </a:lnTo>
                <a:lnTo>
                  <a:pt x="53851" y="714"/>
                </a:lnTo>
                <a:lnTo>
                  <a:pt x="50901" y="1257"/>
                </a:lnTo>
                <a:lnTo>
                  <a:pt x="47998" y="1925"/>
                </a:lnTo>
                <a:lnTo>
                  <a:pt x="45142" y="2748"/>
                </a:lnTo>
                <a:lnTo>
                  <a:pt x="42348" y="3695"/>
                </a:lnTo>
                <a:lnTo>
                  <a:pt x="39600" y="4781"/>
                </a:lnTo>
                <a:lnTo>
                  <a:pt x="36915" y="5992"/>
                </a:lnTo>
                <a:lnTo>
                  <a:pt x="34291" y="7327"/>
                </a:lnTo>
                <a:lnTo>
                  <a:pt x="31730" y="8786"/>
                </a:lnTo>
                <a:lnTo>
                  <a:pt x="29246" y="10354"/>
                </a:lnTo>
                <a:lnTo>
                  <a:pt x="26840" y="12031"/>
                </a:lnTo>
                <a:lnTo>
                  <a:pt x="24511" y="13831"/>
                </a:lnTo>
                <a:lnTo>
                  <a:pt x="22261" y="15741"/>
                </a:lnTo>
                <a:lnTo>
                  <a:pt x="20087" y="17743"/>
                </a:lnTo>
                <a:lnTo>
                  <a:pt x="18023" y="19839"/>
                </a:lnTo>
                <a:lnTo>
                  <a:pt x="16036" y="22043"/>
                </a:lnTo>
                <a:lnTo>
                  <a:pt x="14157" y="24325"/>
                </a:lnTo>
                <a:lnTo>
                  <a:pt x="12372" y="26716"/>
                </a:lnTo>
                <a:lnTo>
                  <a:pt x="10696" y="29168"/>
                </a:lnTo>
                <a:lnTo>
                  <a:pt x="9112" y="31714"/>
                </a:lnTo>
                <a:lnTo>
                  <a:pt x="7653" y="34338"/>
                </a:lnTo>
                <a:lnTo>
                  <a:pt x="6318" y="37039"/>
                </a:lnTo>
                <a:lnTo>
                  <a:pt x="5092" y="39802"/>
                </a:lnTo>
                <a:lnTo>
                  <a:pt x="3990" y="42643"/>
                </a:lnTo>
                <a:lnTo>
                  <a:pt x="3012" y="45546"/>
                </a:lnTo>
                <a:lnTo>
                  <a:pt x="2173" y="48495"/>
                </a:lnTo>
                <a:lnTo>
                  <a:pt x="1459" y="51507"/>
                </a:lnTo>
                <a:lnTo>
                  <a:pt x="885" y="54580"/>
                </a:lnTo>
                <a:lnTo>
                  <a:pt x="450" y="57700"/>
                </a:lnTo>
                <a:lnTo>
                  <a:pt x="310" y="59268"/>
                </a:lnTo>
                <a:lnTo>
                  <a:pt x="186" y="60665"/>
                </a:lnTo>
                <a:lnTo>
                  <a:pt x="31" y="63475"/>
                </a:lnTo>
                <a:lnTo>
                  <a:pt x="0" y="66269"/>
                </a:lnTo>
                <a:lnTo>
                  <a:pt x="62" y="69063"/>
                </a:lnTo>
                <a:lnTo>
                  <a:pt x="217" y="71842"/>
                </a:lnTo>
                <a:lnTo>
                  <a:pt x="466" y="74605"/>
                </a:lnTo>
                <a:lnTo>
                  <a:pt x="823" y="77368"/>
                </a:lnTo>
                <a:lnTo>
                  <a:pt x="1257" y="80132"/>
                </a:lnTo>
                <a:lnTo>
                  <a:pt x="1801" y="82864"/>
                </a:lnTo>
                <a:lnTo>
                  <a:pt x="2422" y="85611"/>
                </a:lnTo>
                <a:lnTo>
                  <a:pt x="3120" y="88328"/>
                </a:lnTo>
                <a:lnTo>
                  <a:pt x="3912" y="91045"/>
                </a:lnTo>
                <a:lnTo>
                  <a:pt x="4781" y="93730"/>
                </a:lnTo>
                <a:lnTo>
                  <a:pt x="5728" y="96416"/>
                </a:lnTo>
                <a:lnTo>
                  <a:pt x="7280" y="100436"/>
                </a:lnTo>
                <a:lnTo>
                  <a:pt x="9609" y="105714"/>
                </a:lnTo>
                <a:lnTo>
                  <a:pt x="12201" y="110946"/>
                </a:lnTo>
                <a:lnTo>
                  <a:pt x="15058" y="116099"/>
                </a:lnTo>
                <a:lnTo>
                  <a:pt x="18147" y="121191"/>
                </a:lnTo>
                <a:lnTo>
                  <a:pt x="21438" y="126205"/>
                </a:lnTo>
                <a:lnTo>
                  <a:pt x="24931" y="131126"/>
                </a:lnTo>
                <a:lnTo>
                  <a:pt x="28594" y="135969"/>
                </a:lnTo>
                <a:lnTo>
                  <a:pt x="32413" y="140719"/>
                </a:lnTo>
                <a:lnTo>
                  <a:pt x="36371" y="145392"/>
                </a:lnTo>
                <a:lnTo>
                  <a:pt x="40454" y="149940"/>
                </a:lnTo>
                <a:lnTo>
                  <a:pt x="44630" y="154395"/>
                </a:lnTo>
                <a:lnTo>
                  <a:pt x="48883" y="158742"/>
                </a:lnTo>
                <a:lnTo>
                  <a:pt x="53199" y="162964"/>
                </a:lnTo>
                <a:lnTo>
                  <a:pt x="57545" y="167078"/>
                </a:lnTo>
                <a:lnTo>
                  <a:pt x="61938" y="171068"/>
                </a:lnTo>
                <a:lnTo>
                  <a:pt x="66316" y="174917"/>
                </a:lnTo>
                <a:lnTo>
                  <a:pt x="70678" y="178643"/>
                </a:lnTo>
                <a:lnTo>
                  <a:pt x="75024" y="182229"/>
                </a:lnTo>
                <a:lnTo>
                  <a:pt x="81420" y="187352"/>
                </a:lnTo>
                <a:lnTo>
                  <a:pt x="89663" y="193639"/>
                </a:lnTo>
                <a:lnTo>
                  <a:pt x="97425" y="199274"/>
                </a:lnTo>
                <a:lnTo>
                  <a:pt x="101057" y="201819"/>
                </a:lnTo>
                <a:lnTo>
                  <a:pt x="102454" y="202766"/>
                </a:lnTo>
                <a:lnTo>
                  <a:pt x="105342" y="204458"/>
                </a:lnTo>
                <a:lnTo>
                  <a:pt x="108338" y="205918"/>
                </a:lnTo>
                <a:lnTo>
                  <a:pt x="111396" y="207128"/>
                </a:lnTo>
                <a:lnTo>
                  <a:pt x="114516" y="208091"/>
                </a:lnTo>
                <a:lnTo>
                  <a:pt x="117683" y="208820"/>
                </a:lnTo>
                <a:lnTo>
                  <a:pt x="120896" y="209302"/>
                </a:lnTo>
                <a:lnTo>
                  <a:pt x="124125" y="209550"/>
                </a:lnTo>
                <a:lnTo>
                  <a:pt x="127354" y="209550"/>
                </a:lnTo>
                <a:lnTo>
                  <a:pt x="130583" y="209302"/>
                </a:lnTo>
                <a:lnTo>
                  <a:pt x="133796" y="208820"/>
                </a:lnTo>
                <a:lnTo>
                  <a:pt x="136963" y="208091"/>
                </a:lnTo>
                <a:lnTo>
                  <a:pt x="140098" y="207128"/>
                </a:lnTo>
                <a:lnTo>
                  <a:pt x="143156" y="205918"/>
                </a:lnTo>
                <a:lnTo>
                  <a:pt x="146137" y="204458"/>
                </a:lnTo>
                <a:lnTo>
                  <a:pt x="149024" y="202766"/>
                </a:lnTo>
                <a:lnTo>
                  <a:pt x="150421" y="201819"/>
                </a:lnTo>
                <a:lnTo>
                  <a:pt x="154038" y="199289"/>
                </a:lnTo>
                <a:lnTo>
                  <a:pt x="161769" y="193670"/>
                </a:lnTo>
                <a:lnTo>
                  <a:pt x="169981" y="187414"/>
                </a:lnTo>
                <a:lnTo>
                  <a:pt x="176361" y="182306"/>
                </a:lnTo>
                <a:lnTo>
                  <a:pt x="180676" y="178736"/>
                </a:lnTo>
                <a:lnTo>
                  <a:pt x="185023" y="175042"/>
                </a:lnTo>
                <a:lnTo>
                  <a:pt x="189385" y="171192"/>
                </a:lnTo>
                <a:lnTo>
                  <a:pt x="193763" y="167233"/>
                </a:lnTo>
                <a:lnTo>
                  <a:pt x="198094" y="163151"/>
                </a:lnTo>
                <a:lnTo>
                  <a:pt x="202394" y="158944"/>
                </a:lnTo>
                <a:lnTo>
                  <a:pt x="206647" y="154613"/>
                </a:lnTo>
                <a:lnTo>
                  <a:pt x="210807" y="150189"/>
                </a:lnTo>
                <a:lnTo>
                  <a:pt x="214874" y="145656"/>
                </a:lnTo>
                <a:lnTo>
                  <a:pt x="218817" y="141014"/>
                </a:lnTo>
                <a:lnTo>
                  <a:pt x="222636" y="136280"/>
                </a:lnTo>
                <a:lnTo>
                  <a:pt x="226300" y="131467"/>
                </a:lnTo>
                <a:lnTo>
                  <a:pt x="229792" y="126562"/>
                </a:lnTo>
                <a:lnTo>
                  <a:pt x="233083" y="121579"/>
                </a:lnTo>
                <a:lnTo>
                  <a:pt x="236173" y="116518"/>
                </a:lnTo>
                <a:lnTo>
                  <a:pt x="239044" y="111380"/>
                </a:lnTo>
                <a:lnTo>
                  <a:pt x="241652" y="106180"/>
                </a:lnTo>
                <a:lnTo>
                  <a:pt x="243996" y="100917"/>
                </a:lnTo>
                <a:lnTo>
                  <a:pt x="245564" y="96928"/>
                </a:lnTo>
                <a:lnTo>
                  <a:pt x="246527" y="94258"/>
                </a:lnTo>
                <a:lnTo>
                  <a:pt x="247396" y="91572"/>
                </a:lnTo>
                <a:lnTo>
                  <a:pt x="248203" y="88871"/>
                </a:lnTo>
                <a:lnTo>
                  <a:pt x="248917" y="86155"/>
                </a:lnTo>
                <a:lnTo>
                  <a:pt x="249554" y="83438"/>
                </a:lnTo>
                <a:lnTo>
                  <a:pt x="250112" y="80706"/>
                </a:lnTo>
                <a:lnTo>
                  <a:pt x="250563" y="77958"/>
                </a:lnTo>
                <a:lnTo>
                  <a:pt x="250935" y="75211"/>
                </a:lnTo>
                <a:lnTo>
                  <a:pt x="251215" y="72448"/>
                </a:lnTo>
                <a:lnTo>
                  <a:pt x="251385" y="69684"/>
                </a:lnTo>
                <a:lnTo>
                  <a:pt x="251479" y="66906"/>
                </a:lnTo>
                <a:lnTo>
                  <a:pt x="251463" y="64127"/>
                </a:lnTo>
                <a:lnTo>
                  <a:pt x="251339" y="61333"/>
                </a:lnTo>
                <a:lnTo>
                  <a:pt x="251230" y="59936"/>
                </a:lnTo>
                <a:lnTo>
                  <a:pt x="251199" y="59610"/>
                </a:lnTo>
                <a:lnTo>
                  <a:pt x="251184" y="59268"/>
                </a:lnTo>
                <a:lnTo>
                  <a:pt x="250966" y="57235"/>
                </a:lnTo>
                <a:lnTo>
                  <a:pt x="250361" y="53199"/>
                </a:lnTo>
                <a:lnTo>
                  <a:pt x="249507" y="49256"/>
                </a:lnTo>
                <a:lnTo>
                  <a:pt x="248436" y="45421"/>
                </a:lnTo>
                <a:lnTo>
                  <a:pt x="247132" y="41665"/>
                </a:lnTo>
                <a:lnTo>
                  <a:pt x="245626" y="38032"/>
                </a:lnTo>
                <a:lnTo>
                  <a:pt x="243919" y="34508"/>
                </a:lnTo>
                <a:lnTo>
                  <a:pt x="242009" y="31124"/>
                </a:lnTo>
                <a:lnTo>
                  <a:pt x="240969" y="29479"/>
                </a:lnTo>
                <a:lnTo>
                  <a:pt x="240209" y="28299"/>
                </a:lnTo>
                <a:lnTo>
                  <a:pt x="239401" y="27135"/>
                </a:lnTo>
                <a:lnTo>
                  <a:pt x="238594" y="26110"/>
                </a:lnTo>
                <a:lnTo>
                  <a:pt x="237244" y="24667"/>
                </a:lnTo>
                <a:lnTo>
                  <a:pt x="236281" y="23766"/>
                </a:lnTo>
                <a:lnTo>
                  <a:pt x="235784" y="23332"/>
                </a:lnTo>
                <a:lnTo>
                  <a:pt x="234837" y="22571"/>
                </a:lnTo>
                <a:lnTo>
                  <a:pt x="232882" y="21236"/>
                </a:lnTo>
                <a:lnTo>
                  <a:pt x="230832" y="20134"/>
                </a:lnTo>
                <a:lnTo>
                  <a:pt x="228690" y="19233"/>
                </a:lnTo>
                <a:lnTo>
                  <a:pt x="226517" y="18566"/>
                </a:lnTo>
                <a:lnTo>
                  <a:pt x="224297" y="18116"/>
                </a:lnTo>
                <a:lnTo>
                  <a:pt x="222046" y="17883"/>
                </a:lnTo>
                <a:lnTo>
                  <a:pt x="219795" y="17867"/>
                </a:lnTo>
                <a:lnTo>
                  <a:pt x="217544" y="18069"/>
                </a:lnTo>
                <a:lnTo>
                  <a:pt x="215325" y="18473"/>
                </a:lnTo>
                <a:lnTo>
                  <a:pt x="213167" y="19094"/>
                </a:lnTo>
                <a:lnTo>
                  <a:pt x="211056" y="19916"/>
                </a:lnTo>
                <a:lnTo>
                  <a:pt x="209007" y="20957"/>
                </a:lnTo>
                <a:lnTo>
                  <a:pt x="207082" y="22214"/>
                </a:lnTo>
                <a:lnTo>
                  <a:pt x="205250" y="23658"/>
                </a:lnTo>
                <a:lnTo>
                  <a:pt x="203542" y="25319"/>
                </a:lnTo>
                <a:lnTo>
                  <a:pt x="202751" y="26219"/>
                </a:lnTo>
                <a:lnTo>
                  <a:pt x="185504" y="46787"/>
                </a:lnTo>
                <a:lnTo>
                  <a:pt x="141775" y="98899"/>
                </a:lnTo>
                <a:lnTo>
                  <a:pt x="141232" y="99567"/>
                </a:lnTo>
                <a:lnTo>
                  <a:pt x="140285" y="100964"/>
                </a:lnTo>
                <a:lnTo>
                  <a:pt x="139508" y="102439"/>
                </a:lnTo>
                <a:lnTo>
                  <a:pt x="138903" y="103976"/>
                </a:lnTo>
                <a:lnTo>
                  <a:pt x="138468" y="105543"/>
                </a:lnTo>
                <a:lnTo>
                  <a:pt x="138189" y="107142"/>
                </a:lnTo>
                <a:lnTo>
                  <a:pt x="138065" y="108741"/>
                </a:lnTo>
                <a:lnTo>
                  <a:pt x="138111" y="110356"/>
                </a:lnTo>
                <a:lnTo>
                  <a:pt x="138329" y="111955"/>
                </a:lnTo>
                <a:lnTo>
                  <a:pt x="138701" y="113522"/>
                </a:lnTo>
                <a:lnTo>
                  <a:pt x="139229" y="115044"/>
                </a:lnTo>
                <a:lnTo>
                  <a:pt x="139912" y="116518"/>
                </a:lnTo>
                <a:lnTo>
                  <a:pt x="140750" y="117931"/>
                </a:lnTo>
                <a:lnTo>
                  <a:pt x="141759" y="119266"/>
                </a:lnTo>
                <a:lnTo>
                  <a:pt x="142908" y="120492"/>
                </a:lnTo>
                <a:lnTo>
                  <a:pt x="144212" y="121626"/>
                </a:lnTo>
                <a:lnTo>
                  <a:pt x="144926" y="122138"/>
                </a:lnTo>
                <a:lnTo>
                  <a:pt x="145438" y="122479"/>
                </a:lnTo>
                <a:lnTo>
                  <a:pt x="146494" y="123085"/>
                </a:lnTo>
                <a:lnTo>
                  <a:pt x="147581" y="123613"/>
                </a:lnTo>
                <a:lnTo>
                  <a:pt x="148698" y="124063"/>
                </a:lnTo>
                <a:lnTo>
                  <a:pt x="149863" y="124420"/>
                </a:lnTo>
                <a:lnTo>
                  <a:pt x="151042" y="124684"/>
                </a:lnTo>
                <a:lnTo>
                  <a:pt x="152238" y="124854"/>
                </a:lnTo>
                <a:lnTo>
                  <a:pt x="153448" y="124932"/>
                </a:lnTo>
                <a:lnTo>
                  <a:pt x="154069" y="124932"/>
                </a:lnTo>
                <a:lnTo>
                  <a:pt x="154939" y="124901"/>
                </a:lnTo>
                <a:lnTo>
                  <a:pt x="156662" y="124699"/>
                </a:lnTo>
                <a:lnTo>
                  <a:pt x="158338" y="124311"/>
                </a:lnTo>
                <a:lnTo>
                  <a:pt x="159937" y="123752"/>
                </a:lnTo>
                <a:lnTo>
                  <a:pt x="161459" y="123038"/>
                </a:lnTo>
                <a:lnTo>
                  <a:pt x="162902" y="122153"/>
                </a:lnTo>
                <a:lnTo>
                  <a:pt x="164253" y="121113"/>
                </a:lnTo>
                <a:lnTo>
                  <a:pt x="165495" y="119918"/>
                </a:lnTo>
                <a:lnTo>
                  <a:pt x="166053" y="119266"/>
                </a:lnTo>
                <a:lnTo>
                  <a:pt x="210357" y="66471"/>
                </a:lnTo>
                <a:lnTo>
                  <a:pt x="210668" y="66130"/>
                </a:lnTo>
                <a:lnTo>
                  <a:pt x="211366" y="65586"/>
                </a:lnTo>
                <a:lnTo>
                  <a:pt x="212142" y="65183"/>
                </a:lnTo>
                <a:lnTo>
                  <a:pt x="212965" y="64950"/>
                </a:lnTo>
                <a:lnTo>
                  <a:pt x="213819" y="64872"/>
                </a:lnTo>
                <a:lnTo>
                  <a:pt x="214673" y="64965"/>
                </a:lnTo>
                <a:lnTo>
                  <a:pt x="215495" y="65214"/>
                </a:lnTo>
                <a:lnTo>
                  <a:pt x="216272" y="65633"/>
                </a:lnTo>
                <a:lnTo>
                  <a:pt x="216644" y="65928"/>
                </a:lnTo>
                <a:lnTo>
                  <a:pt x="219252" y="68117"/>
                </a:lnTo>
                <a:lnTo>
                  <a:pt x="219578" y="68412"/>
                </a:lnTo>
                <a:lnTo>
                  <a:pt x="220137" y="69110"/>
                </a:lnTo>
                <a:lnTo>
                  <a:pt x="220525" y="69886"/>
                </a:lnTo>
                <a:lnTo>
                  <a:pt x="220773" y="70709"/>
                </a:lnTo>
                <a:lnTo>
                  <a:pt x="220835" y="71563"/>
                </a:lnTo>
                <a:lnTo>
                  <a:pt x="220758" y="72417"/>
                </a:lnTo>
                <a:lnTo>
                  <a:pt x="220494" y="73239"/>
                </a:lnTo>
                <a:lnTo>
                  <a:pt x="220075" y="74031"/>
                </a:lnTo>
                <a:lnTo>
                  <a:pt x="219795" y="74388"/>
                </a:lnTo>
                <a:lnTo>
                  <a:pt x="175492" y="127183"/>
                </a:lnTo>
                <a:lnTo>
                  <a:pt x="174560" y="128239"/>
                </a:lnTo>
                <a:lnTo>
                  <a:pt x="172573" y="130195"/>
                </a:lnTo>
                <a:lnTo>
                  <a:pt x="170431" y="131918"/>
                </a:lnTo>
                <a:lnTo>
                  <a:pt x="168134" y="133423"/>
                </a:lnTo>
                <a:lnTo>
                  <a:pt x="165696" y="134681"/>
                </a:lnTo>
                <a:lnTo>
                  <a:pt x="163151" y="135705"/>
                </a:lnTo>
                <a:lnTo>
                  <a:pt x="160512" y="136481"/>
                </a:lnTo>
                <a:lnTo>
                  <a:pt x="157764" y="136994"/>
                </a:lnTo>
                <a:lnTo>
                  <a:pt x="156367" y="137133"/>
                </a:lnTo>
                <a:lnTo>
                  <a:pt x="155109" y="137227"/>
                </a:lnTo>
                <a:lnTo>
                  <a:pt x="153868" y="137242"/>
                </a:lnTo>
                <a:lnTo>
                  <a:pt x="152626" y="137227"/>
                </a:lnTo>
                <a:lnTo>
                  <a:pt x="150189" y="137009"/>
                </a:lnTo>
                <a:lnTo>
                  <a:pt x="147782" y="136590"/>
                </a:lnTo>
                <a:lnTo>
                  <a:pt x="145438" y="135954"/>
                </a:lnTo>
                <a:lnTo>
                  <a:pt x="143141" y="135131"/>
                </a:lnTo>
                <a:lnTo>
                  <a:pt x="140937" y="134091"/>
                </a:lnTo>
                <a:lnTo>
                  <a:pt x="138810" y="132865"/>
                </a:lnTo>
                <a:lnTo>
                  <a:pt x="136776" y="131436"/>
                </a:lnTo>
                <a:lnTo>
                  <a:pt x="135814" y="130645"/>
                </a:lnTo>
                <a:lnTo>
                  <a:pt x="135255" y="130179"/>
                </a:lnTo>
                <a:lnTo>
                  <a:pt x="134200" y="129201"/>
                </a:lnTo>
                <a:lnTo>
                  <a:pt x="132725" y="127649"/>
                </a:lnTo>
                <a:lnTo>
                  <a:pt x="130986" y="125460"/>
                </a:lnTo>
                <a:lnTo>
                  <a:pt x="129496" y="123131"/>
                </a:lnTo>
                <a:lnTo>
                  <a:pt x="128254" y="120679"/>
                </a:lnTo>
                <a:lnTo>
                  <a:pt x="127245" y="118148"/>
                </a:lnTo>
                <a:lnTo>
                  <a:pt x="126500" y="115540"/>
                </a:lnTo>
                <a:lnTo>
                  <a:pt x="126019" y="112870"/>
                </a:lnTo>
                <a:lnTo>
                  <a:pt x="125786" y="110185"/>
                </a:lnTo>
                <a:lnTo>
                  <a:pt x="125801" y="107468"/>
                </a:lnTo>
                <a:lnTo>
                  <a:pt x="126081" y="104783"/>
                </a:lnTo>
                <a:lnTo>
                  <a:pt x="126624" y="102113"/>
                </a:lnTo>
                <a:lnTo>
                  <a:pt x="127431" y="99489"/>
                </a:lnTo>
                <a:lnTo>
                  <a:pt x="128487" y="96928"/>
                </a:lnTo>
                <a:lnTo>
                  <a:pt x="129822" y="94460"/>
                </a:lnTo>
                <a:lnTo>
                  <a:pt x="131017" y="92690"/>
                </a:lnTo>
                <a:lnTo>
                  <a:pt x="131887" y="91541"/>
                </a:lnTo>
                <a:lnTo>
                  <a:pt x="132337" y="90967"/>
                </a:lnTo>
                <a:lnTo>
                  <a:pt x="157966" y="60432"/>
                </a:lnTo>
                <a:lnTo>
                  <a:pt x="193312" y="18302"/>
                </a:lnTo>
                <a:lnTo>
                  <a:pt x="193856" y="17681"/>
                </a:lnTo>
                <a:lnTo>
                  <a:pt x="194958" y="16470"/>
                </a:lnTo>
                <a:lnTo>
                  <a:pt x="196697" y="14778"/>
                </a:lnTo>
                <a:lnTo>
                  <a:pt x="199149" y="12745"/>
                </a:lnTo>
                <a:lnTo>
                  <a:pt x="201757" y="10960"/>
                </a:lnTo>
                <a:lnTo>
                  <a:pt x="204474" y="9423"/>
                </a:lnTo>
                <a:lnTo>
                  <a:pt x="207299" y="8134"/>
                </a:lnTo>
                <a:lnTo>
                  <a:pt x="210217" y="7110"/>
                </a:lnTo>
                <a:lnTo>
                  <a:pt x="213198" y="6334"/>
                </a:lnTo>
                <a:lnTo>
                  <a:pt x="214704" y="6054"/>
                </a:lnTo>
                <a:lnTo>
                  <a:pt x="213105" y="5309"/>
                </a:lnTo>
                <a:lnTo>
                  <a:pt x="209860" y="3958"/>
                </a:lnTo>
                <a:lnTo>
                  <a:pt x="206523" y="2810"/>
                </a:lnTo>
                <a:lnTo>
                  <a:pt x="203108" y="1832"/>
                </a:lnTo>
                <a:lnTo>
                  <a:pt x="199630" y="1056"/>
                </a:lnTo>
                <a:lnTo>
                  <a:pt x="196091" y="497"/>
                </a:lnTo>
                <a:lnTo>
                  <a:pt x="192505" y="140"/>
                </a:lnTo>
                <a:lnTo>
                  <a:pt x="188857" y="0"/>
                </a:lnTo>
                <a:lnTo>
                  <a:pt x="187010" y="16"/>
                </a:lnTo>
                <a:lnTo>
                  <a:pt x="185737" y="47"/>
                </a:lnTo>
                <a:lnTo>
                  <a:pt x="183222" y="202"/>
                </a:lnTo>
                <a:lnTo>
                  <a:pt x="180723" y="450"/>
                </a:lnTo>
                <a:lnTo>
                  <a:pt x="178255" y="776"/>
                </a:lnTo>
                <a:lnTo>
                  <a:pt x="175802" y="1195"/>
                </a:lnTo>
                <a:lnTo>
                  <a:pt x="173380" y="1708"/>
                </a:lnTo>
                <a:lnTo>
                  <a:pt x="171005" y="2313"/>
                </a:lnTo>
                <a:lnTo>
                  <a:pt x="168646" y="2996"/>
                </a:lnTo>
                <a:lnTo>
                  <a:pt x="166317" y="3757"/>
                </a:lnTo>
                <a:lnTo>
                  <a:pt x="164035" y="4610"/>
                </a:lnTo>
                <a:lnTo>
                  <a:pt x="161800" y="5542"/>
                </a:lnTo>
                <a:lnTo>
                  <a:pt x="159596" y="6551"/>
                </a:lnTo>
                <a:lnTo>
                  <a:pt x="157422" y="7638"/>
                </a:lnTo>
                <a:lnTo>
                  <a:pt x="155311" y="8786"/>
                </a:lnTo>
                <a:lnTo>
                  <a:pt x="153247" y="10028"/>
                </a:lnTo>
                <a:lnTo>
                  <a:pt x="151213" y="11332"/>
                </a:lnTo>
                <a:lnTo>
                  <a:pt x="149257" y="12714"/>
                </a:lnTo>
                <a:lnTo>
                  <a:pt x="147332" y="14157"/>
                </a:lnTo>
                <a:lnTo>
                  <a:pt x="145469" y="15679"/>
                </a:lnTo>
                <a:lnTo>
                  <a:pt x="143669" y="17262"/>
                </a:lnTo>
                <a:lnTo>
                  <a:pt x="141930" y="18907"/>
                </a:lnTo>
                <a:lnTo>
                  <a:pt x="140254" y="20615"/>
                </a:lnTo>
                <a:lnTo>
                  <a:pt x="138624" y="22385"/>
                </a:lnTo>
                <a:lnTo>
                  <a:pt x="137071" y="24216"/>
                </a:lnTo>
                <a:lnTo>
                  <a:pt x="135597" y="26095"/>
                </a:lnTo>
                <a:lnTo>
                  <a:pt x="134184" y="28035"/>
                </a:lnTo>
                <a:lnTo>
                  <a:pt x="132833" y="30038"/>
                </a:lnTo>
                <a:lnTo>
                  <a:pt x="131561" y="32102"/>
                </a:lnTo>
                <a:lnTo>
                  <a:pt x="130381" y="34198"/>
                </a:lnTo>
                <a:lnTo>
                  <a:pt x="129263" y="36356"/>
                </a:lnTo>
                <a:lnTo>
                  <a:pt x="128223" y="38560"/>
                </a:lnTo>
                <a:lnTo>
                  <a:pt x="127276" y="40826"/>
                </a:lnTo>
                <a:lnTo>
                  <a:pt x="126841" y="41960"/>
                </a:lnTo>
                <a:lnTo>
                  <a:pt x="126717" y="42270"/>
                </a:lnTo>
                <a:lnTo>
                  <a:pt x="126469" y="42720"/>
                </a:lnTo>
                <a:lnTo>
                  <a:pt x="126205" y="42969"/>
                </a:lnTo>
                <a:lnTo>
                  <a:pt x="125910" y="43062"/>
                </a:lnTo>
                <a:lnTo>
                  <a:pt x="125739" y="43077"/>
                </a:lnTo>
                <a:lnTo>
                  <a:pt x="125569" y="43062"/>
                </a:lnTo>
                <a:lnTo>
                  <a:pt x="125274" y="42969"/>
                </a:lnTo>
                <a:lnTo>
                  <a:pt x="125010" y="42720"/>
                </a:lnTo>
                <a:lnTo>
                  <a:pt x="124761" y="42270"/>
                </a:lnTo>
                <a:lnTo>
                  <a:pt x="124637" y="41960"/>
                </a:lnTo>
                <a:lnTo>
                  <a:pt x="124202" y="40826"/>
                </a:lnTo>
                <a:lnTo>
                  <a:pt x="123256" y="38560"/>
                </a:lnTo>
                <a:lnTo>
                  <a:pt x="122215" y="36356"/>
                </a:lnTo>
                <a:lnTo>
                  <a:pt x="121098" y="34198"/>
                </a:lnTo>
                <a:lnTo>
                  <a:pt x="119918" y="32102"/>
                </a:lnTo>
                <a:lnTo>
                  <a:pt x="118645" y="30038"/>
                </a:lnTo>
                <a:lnTo>
                  <a:pt x="117295" y="28035"/>
                </a:lnTo>
                <a:lnTo>
                  <a:pt x="115882" y="26095"/>
                </a:lnTo>
                <a:lnTo>
                  <a:pt x="114407" y="24216"/>
                </a:lnTo>
                <a:lnTo>
                  <a:pt x="112855" y="22385"/>
                </a:lnTo>
                <a:lnTo>
                  <a:pt x="111225" y="20615"/>
                </a:lnTo>
                <a:lnTo>
                  <a:pt x="109548" y="18907"/>
                </a:lnTo>
                <a:lnTo>
                  <a:pt x="107810" y="17262"/>
                </a:lnTo>
                <a:lnTo>
                  <a:pt x="106009" y="15679"/>
                </a:lnTo>
                <a:lnTo>
                  <a:pt x="104146" y="14157"/>
                </a:lnTo>
                <a:lnTo>
                  <a:pt x="102221" y="12714"/>
                </a:lnTo>
                <a:lnTo>
                  <a:pt x="100265" y="11332"/>
                </a:lnTo>
                <a:lnTo>
                  <a:pt x="98232" y="10028"/>
                </a:lnTo>
                <a:lnTo>
                  <a:pt x="96167" y="8786"/>
                </a:lnTo>
                <a:lnTo>
                  <a:pt x="94056" y="7638"/>
                </a:lnTo>
                <a:lnTo>
                  <a:pt x="91883" y="6551"/>
                </a:lnTo>
                <a:lnTo>
                  <a:pt x="89678" y="5542"/>
                </a:lnTo>
                <a:lnTo>
                  <a:pt x="87443" y="4610"/>
                </a:lnTo>
                <a:lnTo>
                  <a:pt x="85161" y="3757"/>
                </a:lnTo>
                <a:lnTo>
                  <a:pt x="82833" y="2996"/>
                </a:lnTo>
                <a:lnTo>
                  <a:pt x="80473" y="2313"/>
                </a:lnTo>
                <a:lnTo>
                  <a:pt x="78098" y="1708"/>
                </a:lnTo>
                <a:lnTo>
                  <a:pt x="75676" y="1195"/>
                </a:lnTo>
                <a:lnTo>
                  <a:pt x="73224" y="776"/>
                </a:lnTo>
                <a:lnTo>
                  <a:pt x="70756" y="450"/>
                </a:lnTo>
                <a:lnTo>
                  <a:pt x="68256" y="202"/>
                </a:lnTo>
                <a:lnTo>
                  <a:pt x="65741" y="47"/>
                </a:lnTo>
                <a:lnTo>
                  <a:pt x="64469" y="16"/>
                </a:lnTo>
                <a:lnTo>
                  <a:pt x="62932" y="0"/>
                </a:ln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8" name="Google Shape;338;p20"/>
          <p:cNvSpPr txBox="1">
            <a:spLocks noGrp="1"/>
          </p:cNvSpPr>
          <p:nvPr>
            <p:ph type="title"/>
          </p:nvPr>
        </p:nvSpPr>
        <p:spPr>
          <a:xfrm>
            <a:off x="609600" y="705200"/>
            <a:ext cx="7924800" cy="53865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8F8F3"/>
              </a:buClr>
              <a:buSzPts val="7200"/>
              <a:buNone/>
              <a:defRPr sz="7200">
                <a:solidFill>
                  <a:srgbClr val="F8F8F3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200"/>
              <a:buNone/>
              <a:defRPr sz="7200"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200"/>
              <a:buNone/>
              <a:defRPr sz="7200"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200"/>
              <a:buNone/>
              <a:defRPr sz="7200"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200"/>
              <a:buNone/>
              <a:defRPr sz="7200"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200"/>
              <a:buNone/>
              <a:defRPr sz="7200"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200"/>
              <a:buNone/>
              <a:defRPr sz="7200"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200"/>
              <a:buNone/>
              <a:defRPr sz="7200"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200"/>
              <a:buNone/>
              <a:defRPr sz="72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1203935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bg>
      <p:bgPr>
        <a:solidFill>
          <a:schemeClr val="dk1"/>
        </a:solidFill>
        <a:effectLst/>
      </p:bgPr>
    </p:bg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Google Shape;340;p21"/>
          <p:cNvSpPr/>
          <p:nvPr/>
        </p:nvSpPr>
        <p:spPr>
          <a:xfrm flipH="1">
            <a:off x="72" y="0"/>
            <a:ext cx="12189600" cy="6858000"/>
          </a:xfrm>
          <a:prstGeom prst="rect">
            <a:avLst/>
          </a:prstGeom>
          <a:solidFill>
            <a:srgbClr val="F4224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1" name="Google Shape;341;p21"/>
          <p:cNvSpPr/>
          <p:nvPr/>
        </p:nvSpPr>
        <p:spPr>
          <a:xfrm flipH="1">
            <a:off x="888" y="0"/>
            <a:ext cx="353100" cy="6858000"/>
          </a:xfrm>
          <a:prstGeom prst="rect">
            <a:avLst/>
          </a:prstGeom>
          <a:solidFill>
            <a:srgbClr val="8E293D">
              <a:alpha val="3929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900"/>
          </a:p>
        </p:txBody>
      </p:sp>
      <p:sp>
        <p:nvSpPr>
          <p:cNvPr id="342" name="Google Shape;342;p21"/>
          <p:cNvSpPr txBox="1">
            <a:spLocks noGrp="1"/>
          </p:cNvSpPr>
          <p:nvPr>
            <p:ph type="title"/>
          </p:nvPr>
        </p:nvSpPr>
        <p:spPr>
          <a:xfrm>
            <a:off x="354000" y="1249400"/>
            <a:ext cx="5065800" cy="2385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1pPr>
            <a:lvl2pPr lvl="1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2pPr>
            <a:lvl3pPr lvl="2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3pPr>
            <a:lvl4pPr lvl="3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4pPr>
            <a:lvl5pPr lvl="4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5pPr>
            <a:lvl6pPr lvl="5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6pPr>
            <a:lvl7pPr lvl="6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7pPr>
            <a:lvl8pPr lvl="7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8pPr>
            <a:lvl9pPr lvl="8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343" name="Google Shape;343;p21"/>
          <p:cNvSpPr txBox="1">
            <a:spLocks noGrp="1"/>
          </p:cNvSpPr>
          <p:nvPr>
            <p:ph type="subTitle" idx="1"/>
          </p:nvPr>
        </p:nvSpPr>
        <p:spPr>
          <a:xfrm>
            <a:off x="354000" y="3966825"/>
            <a:ext cx="5065800" cy="1516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300"/>
              <a:buNone/>
              <a:defRPr>
                <a:solidFill>
                  <a:schemeClr val="lt1"/>
                </a:solidFill>
              </a:defRPr>
            </a:lvl1pPr>
            <a:lvl2pPr lvl="1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900"/>
              <a:buNone/>
              <a:defRPr sz="1900">
                <a:solidFill>
                  <a:schemeClr val="lt1"/>
                </a:solidFill>
              </a:defRPr>
            </a:lvl2pPr>
            <a:lvl3pPr lvl="2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900"/>
              <a:buNone/>
              <a:defRPr sz="1900">
                <a:solidFill>
                  <a:schemeClr val="lt1"/>
                </a:solidFill>
              </a:defRPr>
            </a:lvl3pPr>
            <a:lvl4pPr lvl="3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900"/>
              <a:buNone/>
              <a:defRPr sz="1900">
                <a:solidFill>
                  <a:schemeClr val="lt1"/>
                </a:solidFill>
              </a:defRPr>
            </a:lvl4pPr>
            <a:lvl5pPr lvl="4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900"/>
              <a:buNone/>
              <a:defRPr sz="1900">
                <a:solidFill>
                  <a:schemeClr val="lt1"/>
                </a:solidFill>
              </a:defRPr>
            </a:lvl5pPr>
            <a:lvl6pPr lvl="5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900"/>
              <a:buNone/>
              <a:defRPr sz="1900">
                <a:solidFill>
                  <a:schemeClr val="lt1"/>
                </a:solidFill>
              </a:defRPr>
            </a:lvl6pPr>
            <a:lvl7pPr lvl="6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900"/>
              <a:buNone/>
              <a:defRPr sz="1900">
                <a:solidFill>
                  <a:schemeClr val="lt1"/>
                </a:solidFill>
              </a:defRPr>
            </a:lvl7pPr>
            <a:lvl8pPr lvl="7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900"/>
              <a:buNone/>
              <a:defRPr sz="1900">
                <a:solidFill>
                  <a:schemeClr val="lt1"/>
                </a:solidFill>
              </a:defRPr>
            </a:lvl8pPr>
            <a:lvl9pPr lvl="8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900"/>
              <a:buNone/>
              <a:defRPr sz="19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344" name="Google Shape;344;p21"/>
          <p:cNvSpPr txBox="1">
            <a:spLocks noGrp="1"/>
          </p:cNvSpPr>
          <p:nvPr>
            <p:ph type="sldNum" idx="12"/>
          </p:nvPr>
        </p:nvSpPr>
        <p:spPr>
          <a:xfrm>
            <a:off x="11044810" y="6091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45" name="Google Shape;345;p21"/>
          <p:cNvSpPr txBox="1">
            <a:spLocks noGrp="1"/>
          </p:cNvSpPr>
          <p:nvPr>
            <p:ph type="body" idx="2"/>
          </p:nvPr>
        </p:nvSpPr>
        <p:spPr>
          <a:xfrm>
            <a:off x="6586000" y="496667"/>
            <a:ext cx="5115900" cy="55947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rmAutofit/>
          </a:bodyPr>
          <a:lstStyle>
            <a:lvl1pPr marL="457200" lvl="0" indent="-330200" rtl="0">
              <a:spcBef>
                <a:spcPts val="0"/>
              </a:spcBef>
              <a:spcAft>
                <a:spcPts val="0"/>
              </a:spcAft>
              <a:buSzPts val="1600"/>
              <a:buChar char="•"/>
              <a:defRPr sz="1600"/>
            </a:lvl1pPr>
            <a:lvl2pPr marL="914400" lvl="1" indent="-323850" rtl="0">
              <a:spcBef>
                <a:spcPts val="1300"/>
              </a:spcBef>
              <a:spcAft>
                <a:spcPts val="0"/>
              </a:spcAft>
              <a:buSzPts val="1500"/>
              <a:buChar char="○"/>
              <a:defRPr sz="1500"/>
            </a:lvl2pPr>
            <a:lvl3pPr marL="1371600" lvl="2" indent="-311150" rtl="0">
              <a:spcBef>
                <a:spcPts val="1300"/>
              </a:spcBef>
              <a:spcAft>
                <a:spcPts val="0"/>
              </a:spcAft>
              <a:buSzPts val="1300"/>
              <a:buChar char="•"/>
              <a:defRPr sz="1300"/>
            </a:lvl3pPr>
            <a:lvl4pPr marL="1828800" lvl="3" indent="-304800" rtl="0">
              <a:spcBef>
                <a:spcPts val="1300"/>
              </a:spcBef>
              <a:spcAft>
                <a:spcPts val="0"/>
              </a:spcAft>
              <a:buSzPts val="1200"/>
              <a:buChar char="◦"/>
              <a:defRPr sz="1200"/>
            </a:lvl4pPr>
            <a:lvl5pPr marL="2286000" lvl="4" indent="-298450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/>
            </a:lvl5pPr>
            <a:lvl6pPr marL="2743200" lvl="5" indent="-298450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/>
            </a:lvl6pPr>
            <a:lvl7pPr marL="3200400" lvl="6" indent="-298450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/>
            </a:lvl7pPr>
            <a:lvl8pPr marL="3657600" lvl="7" indent="-298450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 rtl="0">
              <a:spcBef>
                <a:spcPts val="1300"/>
              </a:spcBef>
              <a:spcAft>
                <a:spcPts val="1300"/>
              </a:spcAft>
              <a:buSzPts val="11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0411503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2B Section title and description">
  <p:cSld name="B2B Section title and description">
    <p:bg>
      <p:bgPr>
        <a:solidFill>
          <a:schemeClr val="dk1"/>
        </a:solidFill>
        <a:effectLst/>
      </p:bgPr>
    </p:bg>
    <p:spTree>
      <p:nvGrpSpPr>
        <p:cNvPr id="1" name="Shape 3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7" name="Google Shape;347;p22"/>
          <p:cNvSpPr/>
          <p:nvPr/>
        </p:nvSpPr>
        <p:spPr>
          <a:xfrm flipH="1">
            <a:off x="72" y="0"/>
            <a:ext cx="121896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8" name="Google Shape;348;p22"/>
          <p:cNvSpPr/>
          <p:nvPr/>
        </p:nvSpPr>
        <p:spPr>
          <a:xfrm flipH="1">
            <a:off x="888" y="0"/>
            <a:ext cx="3531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900"/>
          </a:p>
        </p:txBody>
      </p:sp>
      <p:sp>
        <p:nvSpPr>
          <p:cNvPr id="349" name="Google Shape;349;p22"/>
          <p:cNvSpPr/>
          <p:nvPr/>
        </p:nvSpPr>
        <p:spPr>
          <a:xfrm>
            <a:off x="6096000" y="233"/>
            <a:ext cx="6096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0" name="Google Shape;350;p22"/>
          <p:cNvSpPr txBox="1">
            <a:spLocks noGrp="1"/>
          </p:cNvSpPr>
          <p:nvPr>
            <p:ph type="title"/>
          </p:nvPr>
        </p:nvSpPr>
        <p:spPr>
          <a:xfrm>
            <a:off x="354000" y="1249400"/>
            <a:ext cx="5393700" cy="2385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6100"/>
              <a:buNone/>
              <a:defRPr sz="6100">
                <a:solidFill>
                  <a:schemeClr val="dk2"/>
                </a:solidFill>
              </a:defRPr>
            </a:lvl1pPr>
            <a:lvl2pPr lvl="1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2pPr>
            <a:lvl3pPr lvl="2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3pPr>
            <a:lvl4pPr lvl="3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4pPr>
            <a:lvl5pPr lvl="4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5pPr>
            <a:lvl6pPr lvl="5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6pPr>
            <a:lvl7pPr lvl="6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7pPr>
            <a:lvl8pPr lvl="7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8pPr>
            <a:lvl9pPr lvl="8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351" name="Google Shape;351;p22"/>
          <p:cNvSpPr txBox="1">
            <a:spLocks noGrp="1"/>
          </p:cNvSpPr>
          <p:nvPr>
            <p:ph type="subTitle" idx="1"/>
          </p:nvPr>
        </p:nvSpPr>
        <p:spPr>
          <a:xfrm>
            <a:off x="354000" y="3937000"/>
            <a:ext cx="5393700" cy="1516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9pPr>
          </a:lstStyle>
          <a:p>
            <a:endParaRPr/>
          </a:p>
        </p:txBody>
      </p:sp>
      <p:sp>
        <p:nvSpPr>
          <p:cNvPr id="352" name="Google Shape;352;p22"/>
          <p:cNvSpPr txBox="1">
            <a:spLocks noGrp="1"/>
          </p:cNvSpPr>
          <p:nvPr>
            <p:ph type="body" idx="2"/>
          </p:nvPr>
        </p:nvSpPr>
        <p:spPr>
          <a:xfrm>
            <a:off x="6586000" y="496667"/>
            <a:ext cx="5115900" cy="55947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rmAutofit/>
          </a:bodyPr>
          <a:lstStyle>
            <a:lvl1pPr marL="457200" lvl="0" indent="-330200" rtl="0">
              <a:spcBef>
                <a:spcPts val="0"/>
              </a:spcBef>
              <a:spcAft>
                <a:spcPts val="0"/>
              </a:spcAft>
              <a:buSzPts val="1600"/>
              <a:buChar char="•"/>
              <a:defRPr sz="1600"/>
            </a:lvl1pPr>
            <a:lvl2pPr marL="914400" lvl="1" indent="-323850" rtl="0">
              <a:spcBef>
                <a:spcPts val="1300"/>
              </a:spcBef>
              <a:spcAft>
                <a:spcPts val="0"/>
              </a:spcAft>
              <a:buSzPts val="1500"/>
              <a:buChar char="○"/>
              <a:defRPr sz="1500"/>
            </a:lvl2pPr>
            <a:lvl3pPr marL="1371600" lvl="2" indent="-311150" rtl="0">
              <a:spcBef>
                <a:spcPts val="1300"/>
              </a:spcBef>
              <a:spcAft>
                <a:spcPts val="0"/>
              </a:spcAft>
              <a:buSzPts val="1300"/>
              <a:buChar char="•"/>
              <a:defRPr sz="1300"/>
            </a:lvl3pPr>
            <a:lvl4pPr marL="1828800" lvl="3" indent="-304800" rtl="0">
              <a:spcBef>
                <a:spcPts val="1300"/>
              </a:spcBef>
              <a:spcAft>
                <a:spcPts val="0"/>
              </a:spcAft>
              <a:buSzPts val="1200"/>
              <a:buChar char="◦"/>
              <a:defRPr sz="1200"/>
            </a:lvl4pPr>
            <a:lvl5pPr marL="2286000" lvl="4" indent="-298450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/>
            </a:lvl5pPr>
            <a:lvl6pPr marL="2743200" lvl="5" indent="-298450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/>
            </a:lvl6pPr>
            <a:lvl7pPr marL="3200400" lvl="6" indent="-298450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/>
            </a:lvl7pPr>
            <a:lvl8pPr marL="3657600" lvl="7" indent="-298450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 rtl="0">
              <a:spcBef>
                <a:spcPts val="1300"/>
              </a:spcBef>
              <a:spcAft>
                <a:spcPts val="1300"/>
              </a:spcAft>
              <a:buSzPts val="1100"/>
              <a:buChar char="•"/>
              <a:defRPr/>
            </a:lvl9pPr>
          </a:lstStyle>
          <a:p>
            <a:endParaRPr/>
          </a:p>
        </p:txBody>
      </p:sp>
      <p:sp>
        <p:nvSpPr>
          <p:cNvPr id="353" name="Google Shape;353;p22"/>
          <p:cNvSpPr txBox="1">
            <a:spLocks noGrp="1"/>
          </p:cNvSpPr>
          <p:nvPr>
            <p:ph type="sldNum" idx="12"/>
          </p:nvPr>
        </p:nvSpPr>
        <p:spPr>
          <a:xfrm>
            <a:off x="11044810" y="6091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354" name="Google Shape;354;p22"/>
          <p:cNvGrpSpPr/>
          <p:nvPr/>
        </p:nvGrpSpPr>
        <p:grpSpPr>
          <a:xfrm>
            <a:off x="415585" y="6427302"/>
            <a:ext cx="1329629" cy="189008"/>
            <a:chOff x="237650" y="2349675"/>
            <a:chExt cx="7144700" cy="1015625"/>
          </a:xfrm>
        </p:grpSpPr>
        <p:sp>
          <p:nvSpPr>
            <p:cNvPr id="355" name="Google Shape;355;p22"/>
            <p:cNvSpPr/>
            <p:nvPr/>
          </p:nvSpPr>
          <p:spPr>
            <a:xfrm>
              <a:off x="3096625" y="2466575"/>
              <a:ext cx="156400" cy="841200"/>
            </a:xfrm>
            <a:custGeom>
              <a:avLst/>
              <a:gdLst/>
              <a:ahLst/>
              <a:cxnLst/>
              <a:rect l="l" t="t" r="r" b="b"/>
              <a:pathLst>
                <a:path w="6256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2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1" y="1448"/>
                  </a:lnTo>
                  <a:lnTo>
                    <a:pt x="1" y="32182"/>
                  </a:lnTo>
                  <a:lnTo>
                    <a:pt x="19" y="32479"/>
                  </a:lnTo>
                  <a:lnTo>
                    <a:pt x="242" y="33017"/>
                  </a:lnTo>
                  <a:lnTo>
                    <a:pt x="632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08" y="33648"/>
                  </a:lnTo>
                  <a:lnTo>
                    <a:pt x="5105" y="33629"/>
                  </a:lnTo>
                  <a:lnTo>
                    <a:pt x="5624" y="33406"/>
                  </a:lnTo>
                  <a:lnTo>
                    <a:pt x="6014" y="33017"/>
                  </a:lnTo>
                  <a:lnTo>
                    <a:pt x="6237" y="32479"/>
                  </a:lnTo>
                  <a:lnTo>
                    <a:pt x="6255" y="32182"/>
                  </a:lnTo>
                  <a:lnTo>
                    <a:pt x="6255" y="1448"/>
                  </a:lnTo>
                  <a:lnTo>
                    <a:pt x="6237" y="1151"/>
                  </a:lnTo>
                  <a:lnTo>
                    <a:pt x="6014" y="632"/>
                  </a:lnTo>
                  <a:lnTo>
                    <a:pt x="5624" y="242"/>
                  </a:lnTo>
                  <a:lnTo>
                    <a:pt x="5105" y="19"/>
                  </a:lnTo>
                  <a:lnTo>
                    <a:pt x="4808" y="1"/>
                  </a:lnTo>
                  <a:close/>
                </a:path>
              </a:pathLst>
            </a:custGeom>
            <a:solidFill>
              <a:srgbClr val="F3F3E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356" name="Google Shape;356;p22"/>
            <p:cNvSpPr/>
            <p:nvPr/>
          </p:nvSpPr>
          <p:spPr>
            <a:xfrm>
              <a:off x="1673175" y="2466575"/>
              <a:ext cx="655150" cy="841200"/>
            </a:xfrm>
            <a:custGeom>
              <a:avLst/>
              <a:gdLst/>
              <a:ahLst/>
              <a:cxnLst/>
              <a:rect l="l" t="t" r="r" b="b"/>
              <a:pathLst>
                <a:path w="26206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1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0" y="1448"/>
                  </a:lnTo>
                  <a:lnTo>
                    <a:pt x="0" y="32200"/>
                  </a:lnTo>
                  <a:lnTo>
                    <a:pt x="19" y="32497"/>
                  </a:lnTo>
                  <a:lnTo>
                    <a:pt x="242" y="33017"/>
                  </a:lnTo>
                  <a:lnTo>
                    <a:pt x="631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26" y="33648"/>
                  </a:lnTo>
                  <a:lnTo>
                    <a:pt x="5104" y="33629"/>
                  </a:lnTo>
                  <a:lnTo>
                    <a:pt x="5624" y="33406"/>
                  </a:lnTo>
                  <a:lnTo>
                    <a:pt x="6032" y="33017"/>
                  </a:lnTo>
                  <a:lnTo>
                    <a:pt x="6255" y="32497"/>
                  </a:lnTo>
                  <a:lnTo>
                    <a:pt x="6273" y="32200"/>
                  </a:lnTo>
                  <a:lnTo>
                    <a:pt x="6273" y="18133"/>
                  </a:lnTo>
                  <a:lnTo>
                    <a:pt x="19933" y="18133"/>
                  </a:lnTo>
                  <a:lnTo>
                    <a:pt x="19933" y="32200"/>
                  </a:lnTo>
                  <a:lnTo>
                    <a:pt x="19951" y="32497"/>
                  </a:lnTo>
                  <a:lnTo>
                    <a:pt x="20174" y="33017"/>
                  </a:lnTo>
                  <a:lnTo>
                    <a:pt x="20564" y="33406"/>
                  </a:lnTo>
                  <a:lnTo>
                    <a:pt x="21083" y="33629"/>
                  </a:lnTo>
                  <a:lnTo>
                    <a:pt x="21380" y="33648"/>
                  </a:lnTo>
                  <a:lnTo>
                    <a:pt x="24739" y="33648"/>
                  </a:lnTo>
                  <a:lnTo>
                    <a:pt x="25036" y="33629"/>
                  </a:lnTo>
                  <a:lnTo>
                    <a:pt x="25556" y="33406"/>
                  </a:lnTo>
                  <a:lnTo>
                    <a:pt x="25964" y="33017"/>
                  </a:lnTo>
                  <a:lnTo>
                    <a:pt x="26168" y="32497"/>
                  </a:lnTo>
                  <a:lnTo>
                    <a:pt x="26205" y="32200"/>
                  </a:lnTo>
                  <a:lnTo>
                    <a:pt x="26205" y="1448"/>
                  </a:lnTo>
                  <a:lnTo>
                    <a:pt x="26168" y="1151"/>
                  </a:lnTo>
                  <a:lnTo>
                    <a:pt x="25964" y="632"/>
                  </a:lnTo>
                  <a:lnTo>
                    <a:pt x="25556" y="242"/>
                  </a:lnTo>
                  <a:lnTo>
                    <a:pt x="25036" y="19"/>
                  </a:lnTo>
                  <a:lnTo>
                    <a:pt x="24739" y="1"/>
                  </a:lnTo>
                  <a:lnTo>
                    <a:pt x="21380" y="1"/>
                  </a:lnTo>
                  <a:lnTo>
                    <a:pt x="21083" y="19"/>
                  </a:lnTo>
                  <a:lnTo>
                    <a:pt x="20564" y="242"/>
                  </a:lnTo>
                  <a:lnTo>
                    <a:pt x="20174" y="632"/>
                  </a:lnTo>
                  <a:lnTo>
                    <a:pt x="19951" y="1151"/>
                  </a:lnTo>
                  <a:lnTo>
                    <a:pt x="19933" y="1448"/>
                  </a:lnTo>
                  <a:lnTo>
                    <a:pt x="19933" y="13641"/>
                  </a:lnTo>
                  <a:lnTo>
                    <a:pt x="6273" y="13641"/>
                  </a:lnTo>
                  <a:lnTo>
                    <a:pt x="6273" y="1448"/>
                  </a:lnTo>
                  <a:lnTo>
                    <a:pt x="6255" y="1151"/>
                  </a:lnTo>
                  <a:lnTo>
                    <a:pt x="6032" y="632"/>
                  </a:lnTo>
                  <a:lnTo>
                    <a:pt x="5624" y="242"/>
                  </a:lnTo>
                  <a:lnTo>
                    <a:pt x="5104" y="19"/>
                  </a:lnTo>
                  <a:lnTo>
                    <a:pt x="4826" y="1"/>
                  </a:lnTo>
                  <a:close/>
                </a:path>
              </a:pathLst>
            </a:custGeom>
            <a:solidFill>
              <a:srgbClr val="F3F3E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357" name="Google Shape;357;p22"/>
            <p:cNvSpPr/>
            <p:nvPr/>
          </p:nvSpPr>
          <p:spPr>
            <a:xfrm>
              <a:off x="3382900" y="2466575"/>
              <a:ext cx="156375" cy="841200"/>
            </a:xfrm>
            <a:custGeom>
              <a:avLst/>
              <a:gdLst/>
              <a:ahLst/>
              <a:cxnLst/>
              <a:rect l="l" t="t" r="r" b="b"/>
              <a:pathLst>
                <a:path w="6255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2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1" y="1448"/>
                  </a:lnTo>
                  <a:lnTo>
                    <a:pt x="1" y="32182"/>
                  </a:lnTo>
                  <a:lnTo>
                    <a:pt x="19" y="32479"/>
                  </a:lnTo>
                  <a:lnTo>
                    <a:pt x="242" y="33017"/>
                  </a:lnTo>
                  <a:lnTo>
                    <a:pt x="632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07" y="33648"/>
                  </a:lnTo>
                  <a:lnTo>
                    <a:pt x="5104" y="33629"/>
                  </a:lnTo>
                  <a:lnTo>
                    <a:pt x="5624" y="33406"/>
                  </a:lnTo>
                  <a:lnTo>
                    <a:pt x="6014" y="33017"/>
                  </a:lnTo>
                  <a:lnTo>
                    <a:pt x="6236" y="32479"/>
                  </a:lnTo>
                  <a:lnTo>
                    <a:pt x="6255" y="32182"/>
                  </a:lnTo>
                  <a:lnTo>
                    <a:pt x="6255" y="1448"/>
                  </a:lnTo>
                  <a:lnTo>
                    <a:pt x="6236" y="1151"/>
                  </a:lnTo>
                  <a:lnTo>
                    <a:pt x="6014" y="632"/>
                  </a:lnTo>
                  <a:lnTo>
                    <a:pt x="5624" y="242"/>
                  </a:lnTo>
                  <a:lnTo>
                    <a:pt x="5104" y="19"/>
                  </a:lnTo>
                  <a:lnTo>
                    <a:pt x="4807" y="1"/>
                  </a:lnTo>
                  <a:close/>
                </a:path>
              </a:pathLst>
            </a:custGeom>
            <a:solidFill>
              <a:srgbClr val="F3F3E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358" name="Google Shape;358;p22"/>
            <p:cNvSpPr/>
            <p:nvPr/>
          </p:nvSpPr>
          <p:spPr>
            <a:xfrm>
              <a:off x="3610700" y="2663300"/>
              <a:ext cx="680675" cy="662575"/>
            </a:xfrm>
            <a:custGeom>
              <a:avLst/>
              <a:gdLst/>
              <a:ahLst/>
              <a:cxnLst/>
              <a:rect l="l" t="t" r="r" b="b"/>
              <a:pathLst>
                <a:path w="27227" h="26503" extrusionOk="0">
                  <a:moveTo>
                    <a:pt x="14087" y="5123"/>
                  </a:moveTo>
                  <a:lnTo>
                    <a:pt x="14959" y="5216"/>
                  </a:lnTo>
                  <a:lnTo>
                    <a:pt x="15757" y="5383"/>
                  </a:lnTo>
                  <a:lnTo>
                    <a:pt x="16500" y="5661"/>
                  </a:lnTo>
                  <a:lnTo>
                    <a:pt x="16852" y="5828"/>
                  </a:lnTo>
                  <a:lnTo>
                    <a:pt x="17521" y="6199"/>
                  </a:lnTo>
                  <a:lnTo>
                    <a:pt x="18634" y="7127"/>
                  </a:lnTo>
                  <a:lnTo>
                    <a:pt x="19098" y="7665"/>
                  </a:lnTo>
                  <a:lnTo>
                    <a:pt x="19525" y="8259"/>
                  </a:lnTo>
                  <a:lnTo>
                    <a:pt x="20193" y="9558"/>
                  </a:lnTo>
                  <a:lnTo>
                    <a:pt x="20434" y="10264"/>
                  </a:lnTo>
                  <a:lnTo>
                    <a:pt x="20638" y="10969"/>
                  </a:lnTo>
                  <a:lnTo>
                    <a:pt x="20861" y="12416"/>
                  </a:lnTo>
                  <a:lnTo>
                    <a:pt x="20880" y="13159"/>
                  </a:lnTo>
                  <a:lnTo>
                    <a:pt x="20861" y="13883"/>
                  </a:lnTo>
                  <a:lnTo>
                    <a:pt x="20638" y="15349"/>
                  </a:lnTo>
                  <a:lnTo>
                    <a:pt x="20434" y="16073"/>
                  </a:lnTo>
                  <a:lnTo>
                    <a:pt x="20193" y="16796"/>
                  </a:lnTo>
                  <a:lnTo>
                    <a:pt x="19525" y="18095"/>
                  </a:lnTo>
                  <a:lnTo>
                    <a:pt x="19098" y="18671"/>
                  </a:lnTo>
                  <a:lnTo>
                    <a:pt x="18634" y="19228"/>
                  </a:lnTo>
                  <a:lnTo>
                    <a:pt x="17521" y="20174"/>
                  </a:lnTo>
                  <a:lnTo>
                    <a:pt x="16852" y="20564"/>
                  </a:lnTo>
                  <a:lnTo>
                    <a:pt x="16500" y="20731"/>
                  </a:lnTo>
                  <a:lnTo>
                    <a:pt x="15757" y="21009"/>
                  </a:lnTo>
                  <a:lnTo>
                    <a:pt x="14959" y="21195"/>
                  </a:lnTo>
                  <a:lnTo>
                    <a:pt x="14087" y="21269"/>
                  </a:lnTo>
                  <a:lnTo>
                    <a:pt x="13623" y="21288"/>
                  </a:lnTo>
                  <a:lnTo>
                    <a:pt x="13159" y="21269"/>
                  </a:lnTo>
                  <a:lnTo>
                    <a:pt x="12287" y="21195"/>
                  </a:lnTo>
                  <a:lnTo>
                    <a:pt x="11470" y="21009"/>
                  </a:lnTo>
                  <a:lnTo>
                    <a:pt x="10728" y="20731"/>
                  </a:lnTo>
                  <a:lnTo>
                    <a:pt x="10394" y="20564"/>
                  </a:lnTo>
                  <a:lnTo>
                    <a:pt x="9726" y="20174"/>
                  </a:lnTo>
                  <a:lnTo>
                    <a:pt x="8612" y="19228"/>
                  </a:lnTo>
                  <a:lnTo>
                    <a:pt x="8148" y="18671"/>
                  </a:lnTo>
                  <a:lnTo>
                    <a:pt x="7721" y="18095"/>
                  </a:lnTo>
                  <a:lnTo>
                    <a:pt x="7053" y="16778"/>
                  </a:lnTo>
                  <a:lnTo>
                    <a:pt x="6812" y="16073"/>
                  </a:lnTo>
                  <a:lnTo>
                    <a:pt x="6608" y="15349"/>
                  </a:lnTo>
                  <a:lnTo>
                    <a:pt x="6385" y="13883"/>
                  </a:lnTo>
                  <a:lnTo>
                    <a:pt x="6367" y="13159"/>
                  </a:lnTo>
                  <a:lnTo>
                    <a:pt x="6385" y="12416"/>
                  </a:lnTo>
                  <a:lnTo>
                    <a:pt x="6608" y="10969"/>
                  </a:lnTo>
                  <a:lnTo>
                    <a:pt x="6812" y="10264"/>
                  </a:lnTo>
                  <a:lnTo>
                    <a:pt x="7053" y="9558"/>
                  </a:lnTo>
                  <a:lnTo>
                    <a:pt x="7721" y="8259"/>
                  </a:lnTo>
                  <a:lnTo>
                    <a:pt x="8148" y="7665"/>
                  </a:lnTo>
                  <a:lnTo>
                    <a:pt x="8612" y="7127"/>
                  </a:lnTo>
                  <a:lnTo>
                    <a:pt x="9726" y="6199"/>
                  </a:lnTo>
                  <a:lnTo>
                    <a:pt x="10394" y="5828"/>
                  </a:lnTo>
                  <a:lnTo>
                    <a:pt x="10728" y="5661"/>
                  </a:lnTo>
                  <a:lnTo>
                    <a:pt x="11470" y="5383"/>
                  </a:lnTo>
                  <a:lnTo>
                    <a:pt x="12287" y="5216"/>
                  </a:lnTo>
                  <a:lnTo>
                    <a:pt x="13159" y="5123"/>
                  </a:lnTo>
                  <a:close/>
                  <a:moveTo>
                    <a:pt x="13623" y="1"/>
                  </a:moveTo>
                  <a:lnTo>
                    <a:pt x="12918" y="19"/>
                  </a:lnTo>
                  <a:lnTo>
                    <a:pt x="11545" y="131"/>
                  </a:lnTo>
                  <a:lnTo>
                    <a:pt x="10227" y="372"/>
                  </a:lnTo>
                  <a:lnTo>
                    <a:pt x="8928" y="724"/>
                  </a:lnTo>
                  <a:lnTo>
                    <a:pt x="8297" y="947"/>
                  </a:lnTo>
                  <a:lnTo>
                    <a:pt x="7684" y="1188"/>
                  </a:lnTo>
                  <a:lnTo>
                    <a:pt x="6515" y="1745"/>
                  </a:lnTo>
                  <a:lnTo>
                    <a:pt x="5439" y="2413"/>
                  </a:lnTo>
                  <a:lnTo>
                    <a:pt x="4437" y="3174"/>
                  </a:lnTo>
                  <a:lnTo>
                    <a:pt x="3973" y="3601"/>
                  </a:lnTo>
                  <a:lnTo>
                    <a:pt x="3527" y="4046"/>
                  </a:lnTo>
                  <a:lnTo>
                    <a:pt x="2692" y="4993"/>
                  </a:lnTo>
                  <a:lnTo>
                    <a:pt x="1968" y="6032"/>
                  </a:lnTo>
                  <a:lnTo>
                    <a:pt x="1356" y="7146"/>
                  </a:lnTo>
                  <a:lnTo>
                    <a:pt x="1077" y="7758"/>
                  </a:lnTo>
                  <a:lnTo>
                    <a:pt x="818" y="8371"/>
                  </a:lnTo>
                  <a:lnTo>
                    <a:pt x="409" y="9651"/>
                  </a:lnTo>
                  <a:lnTo>
                    <a:pt x="149" y="10987"/>
                  </a:lnTo>
                  <a:lnTo>
                    <a:pt x="20" y="12416"/>
                  </a:lnTo>
                  <a:lnTo>
                    <a:pt x="1" y="13159"/>
                  </a:lnTo>
                  <a:lnTo>
                    <a:pt x="20" y="13883"/>
                  </a:lnTo>
                  <a:lnTo>
                    <a:pt x="149" y="15312"/>
                  </a:lnTo>
                  <a:lnTo>
                    <a:pt x="409" y="16666"/>
                  </a:lnTo>
                  <a:lnTo>
                    <a:pt x="818" y="17947"/>
                  </a:lnTo>
                  <a:lnTo>
                    <a:pt x="1077" y="18578"/>
                  </a:lnTo>
                  <a:lnTo>
                    <a:pt x="1356" y="19172"/>
                  </a:lnTo>
                  <a:lnTo>
                    <a:pt x="1968" y="20322"/>
                  </a:lnTo>
                  <a:lnTo>
                    <a:pt x="2692" y="21362"/>
                  </a:lnTo>
                  <a:lnTo>
                    <a:pt x="3527" y="22327"/>
                  </a:lnTo>
                  <a:lnTo>
                    <a:pt x="3973" y="22772"/>
                  </a:lnTo>
                  <a:lnTo>
                    <a:pt x="4437" y="23199"/>
                  </a:lnTo>
                  <a:lnTo>
                    <a:pt x="5439" y="23979"/>
                  </a:lnTo>
                  <a:lnTo>
                    <a:pt x="6515" y="24665"/>
                  </a:lnTo>
                  <a:lnTo>
                    <a:pt x="7684" y="25259"/>
                  </a:lnTo>
                  <a:lnTo>
                    <a:pt x="8297" y="25519"/>
                  </a:lnTo>
                  <a:lnTo>
                    <a:pt x="8928" y="25742"/>
                  </a:lnTo>
                  <a:lnTo>
                    <a:pt x="10227" y="26113"/>
                  </a:lnTo>
                  <a:lnTo>
                    <a:pt x="11545" y="26373"/>
                  </a:lnTo>
                  <a:lnTo>
                    <a:pt x="12918" y="26484"/>
                  </a:lnTo>
                  <a:lnTo>
                    <a:pt x="13623" y="26503"/>
                  </a:lnTo>
                  <a:lnTo>
                    <a:pt x="14328" y="26484"/>
                  </a:lnTo>
                  <a:lnTo>
                    <a:pt x="15683" y="26373"/>
                  </a:lnTo>
                  <a:lnTo>
                    <a:pt x="17019" y="26113"/>
                  </a:lnTo>
                  <a:lnTo>
                    <a:pt x="18300" y="25742"/>
                  </a:lnTo>
                  <a:lnTo>
                    <a:pt x="18931" y="25519"/>
                  </a:lnTo>
                  <a:lnTo>
                    <a:pt x="19562" y="25259"/>
                  </a:lnTo>
                  <a:lnTo>
                    <a:pt x="20731" y="24665"/>
                  </a:lnTo>
                  <a:lnTo>
                    <a:pt x="21808" y="23979"/>
                  </a:lnTo>
                  <a:lnTo>
                    <a:pt x="22810" y="23199"/>
                  </a:lnTo>
                  <a:lnTo>
                    <a:pt x="23274" y="22772"/>
                  </a:lnTo>
                  <a:lnTo>
                    <a:pt x="23719" y="22327"/>
                  </a:lnTo>
                  <a:lnTo>
                    <a:pt x="24536" y="21362"/>
                  </a:lnTo>
                  <a:lnTo>
                    <a:pt x="25260" y="20322"/>
                  </a:lnTo>
                  <a:lnTo>
                    <a:pt x="25891" y="19172"/>
                  </a:lnTo>
                  <a:lnTo>
                    <a:pt x="26169" y="18578"/>
                  </a:lnTo>
                  <a:lnTo>
                    <a:pt x="26429" y="17947"/>
                  </a:lnTo>
                  <a:lnTo>
                    <a:pt x="26818" y="16666"/>
                  </a:lnTo>
                  <a:lnTo>
                    <a:pt x="27097" y="15312"/>
                  </a:lnTo>
                  <a:lnTo>
                    <a:pt x="27227" y="13883"/>
                  </a:lnTo>
                  <a:lnTo>
                    <a:pt x="27227" y="13159"/>
                  </a:lnTo>
                  <a:lnTo>
                    <a:pt x="27227" y="12416"/>
                  </a:lnTo>
                  <a:lnTo>
                    <a:pt x="27097" y="10987"/>
                  </a:lnTo>
                  <a:lnTo>
                    <a:pt x="26818" y="9651"/>
                  </a:lnTo>
                  <a:lnTo>
                    <a:pt x="26429" y="8371"/>
                  </a:lnTo>
                  <a:lnTo>
                    <a:pt x="26169" y="7758"/>
                  </a:lnTo>
                  <a:lnTo>
                    <a:pt x="25891" y="7146"/>
                  </a:lnTo>
                  <a:lnTo>
                    <a:pt x="25260" y="6032"/>
                  </a:lnTo>
                  <a:lnTo>
                    <a:pt x="24536" y="4993"/>
                  </a:lnTo>
                  <a:lnTo>
                    <a:pt x="23719" y="4046"/>
                  </a:lnTo>
                  <a:lnTo>
                    <a:pt x="23274" y="3601"/>
                  </a:lnTo>
                  <a:lnTo>
                    <a:pt x="22810" y="3174"/>
                  </a:lnTo>
                  <a:lnTo>
                    <a:pt x="21808" y="2413"/>
                  </a:lnTo>
                  <a:lnTo>
                    <a:pt x="20731" y="1745"/>
                  </a:lnTo>
                  <a:lnTo>
                    <a:pt x="19562" y="1188"/>
                  </a:lnTo>
                  <a:lnTo>
                    <a:pt x="18931" y="947"/>
                  </a:lnTo>
                  <a:lnTo>
                    <a:pt x="18300" y="724"/>
                  </a:lnTo>
                  <a:lnTo>
                    <a:pt x="17019" y="372"/>
                  </a:lnTo>
                  <a:lnTo>
                    <a:pt x="15683" y="131"/>
                  </a:lnTo>
                  <a:lnTo>
                    <a:pt x="14328" y="19"/>
                  </a:lnTo>
                  <a:lnTo>
                    <a:pt x="13623" y="1"/>
                  </a:lnTo>
                  <a:close/>
                </a:path>
              </a:pathLst>
            </a:custGeom>
            <a:solidFill>
              <a:srgbClr val="F3F3E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359" name="Google Shape;359;p22"/>
            <p:cNvSpPr/>
            <p:nvPr/>
          </p:nvSpPr>
          <p:spPr>
            <a:xfrm>
              <a:off x="5231350" y="2663300"/>
              <a:ext cx="633825" cy="662575"/>
            </a:xfrm>
            <a:custGeom>
              <a:avLst/>
              <a:gdLst/>
              <a:ahLst/>
              <a:cxnLst/>
              <a:rect l="l" t="t" r="r" b="b"/>
              <a:pathLst>
                <a:path w="25353" h="26503" extrusionOk="0">
                  <a:moveTo>
                    <a:pt x="13196" y="4696"/>
                  </a:moveTo>
                  <a:lnTo>
                    <a:pt x="13939" y="4715"/>
                  </a:lnTo>
                  <a:lnTo>
                    <a:pt x="15256" y="4974"/>
                  </a:lnTo>
                  <a:lnTo>
                    <a:pt x="15832" y="5197"/>
                  </a:lnTo>
                  <a:lnTo>
                    <a:pt x="16388" y="5457"/>
                  </a:lnTo>
                  <a:lnTo>
                    <a:pt x="17298" y="6125"/>
                  </a:lnTo>
                  <a:lnTo>
                    <a:pt x="17687" y="6515"/>
                  </a:lnTo>
                  <a:lnTo>
                    <a:pt x="18040" y="6942"/>
                  </a:lnTo>
                  <a:lnTo>
                    <a:pt x="18578" y="7907"/>
                  </a:lnTo>
                  <a:lnTo>
                    <a:pt x="18764" y="8445"/>
                  </a:lnTo>
                  <a:lnTo>
                    <a:pt x="18912" y="9002"/>
                  </a:lnTo>
                  <a:lnTo>
                    <a:pt x="19079" y="10152"/>
                  </a:lnTo>
                  <a:lnTo>
                    <a:pt x="19098" y="10746"/>
                  </a:lnTo>
                  <a:lnTo>
                    <a:pt x="6274" y="10746"/>
                  </a:lnTo>
                  <a:lnTo>
                    <a:pt x="6329" y="10097"/>
                  </a:lnTo>
                  <a:lnTo>
                    <a:pt x="6664" y="8890"/>
                  </a:lnTo>
                  <a:lnTo>
                    <a:pt x="7202" y="7795"/>
                  </a:lnTo>
                  <a:lnTo>
                    <a:pt x="7963" y="6830"/>
                  </a:lnTo>
                  <a:lnTo>
                    <a:pt x="8427" y="6403"/>
                  </a:lnTo>
                  <a:lnTo>
                    <a:pt x="8928" y="5995"/>
                  </a:lnTo>
                  <a:lnTo>
                    <a:pt x="10023" y="5346"/>
                  </a:lnTo>
                  <a:lnTo>
                    <a:pt x="11210" y="4937"/>
                  </a:lnTo>
                  <a:lnTo>
                    <a:pt x="12510" y="4715"/>
                  </a:lnTo>
                  <a:lnTo>
                    <a:pt x="13196" y="4696"/>
                  </a:lnTo>
                  <a:close/>
                  <a:moveTo>
                    <a:pt x="13252" y="1"/>
                  </a:moveTo>
                  <a:lnTo>
                    <a:pt x="12565" y="19"/>
                  </a:lnTo>
                  <a:lnTo>
                    <a:pt x="11192" y="131"/>
                  </a:lnTo>
                  <a:lnTo>
                    <a:pt x="9893" y="372"/>
                  </a:lnTo>
                  <a:lnTo>
                    <a:pt x="8631" y="743"/>
                  </a:lnTo>
                  <a:lnTo>
                    <a:pt x="8018" y="966"/>
                  </a:lnTo>
                  <a:lnTo>
                    <a:pt x="7406" y="1226"/>
                  </a:lnTo>
                  <a:lnTo>
                    <a:pt x="6292" y="1801"/>
                  </a:lnTo>
                  <a:lnTo>
                    <a:pt x="5235" y="2469"/>
                  </a:lnTo>
                  <a:lnTo>
                    <a:pt x="4269" y="3248"/>
                  </a:lnTo>
                  <a:lnTo>
                    <a:pt x="3824" y="3675"/>
                  </a:lnTo>
                  <a:lnTo>
                    <a:pt x="3379" y="4121"/>
                  </a:lnTo>
                  <a:lnTo>
                    <a:pt x="2581" y="5086"/>
                  </a:lnTo>
                  <a:lnTo>
                    <a:pt x="1894" y="6144"/>
                  </a:lnTo>
                  <a:lnTo>
                    <a:pt x="1281" y="7294"/>
                  </a:lnTo>
                  <a:lnTo>
                    <a:pt x="1022" y="7907"/>
                  </a:lnTo>
                  <a:lnTo>
                    <a:pt x="780" y="8538"/>
                  </a:lnTo>
                  <a:lnTo>
                    <a:pt x="391" y="9837"/>
                  </a:lnTo>
                  <a:lnTo>
                    <a:pt x="149" y="11210"/>
                  </a:lnTo>
                  <a:lnTo>
                    <a:pt x="19" y="12658"/>
                  </a:lnTo>
                  <a:lnTo>
                    <a:pt x="1" y="13400"/>
                  </a:lnTo>
                  <a:lnTo>
                    <a:pt x="19" y="14161"/>
                  </a:lnTo>
                  <a:lnTo>
                    <a:pt x="149" y="15609"/>
                  </a:lnTo>
                  <a:lnTo>
                    <a:pt x="391" y="17000"/>
                  </a:lnTo>
                  <a:lnTo>
                    <a:pt x="780" y="18300"/>
                  </a:lnTo>
                  <a:lnTo>
                    <a:pt x="1022" y="18912"/>
                  </a:lnTo>
                  <a:lnTo>
                    <a:pt x="1281" y="19506"/>
                  </a:lnTo>
                  <a:lnTo>
                    <a:pt x="1894" y="20619"/>
                  </a:lnTo>
                  <a:lnTo>
                    <a:pt x="2599" y="21659"/>
                  </a:lnTo>
                  <a:lnTo>
                    <a:pt x="3397" y="22587"/>
                  </a:lnTo>
                  <a:lnTo>
                    <a:pt x="3843" y="23013"/>
                  </a:lnTo>
                  <a:lnTo>
                    <a:pt x="4288" y="23422"/>
                  </a:lnTo>
                  <a:lnTo>
                    <a:pt x="5272" y="24146"/>
                  </a:lnTo>
                  <a:lnTo>
                    <a:pt x="6348" y="24795"/>
                  </a:lnTo>
                  <a:lnTo>
                    <a:pt x="7480" y="25352"/>
                  </a:lnTo>
                  <a:lnTo>
                    <a:pt x="8093" y="25593"/>
                  </a:lnTo>
                  <a:lnTo>
                    <a:pt x="8705" y="25797"/>
                  </a:lnTo>
                  <a:lnTo>
                    <a:pt x="10004" y="26150"/>
                  </a:lnTo>
                  <a:lnTo>
                    <a:pt x="11340" y="26373"/>
                  </a:lnTo>
                  <a:lnTo>
                    <a:pt x="12732" y="26484"/>
                  </a:lnTo>
                  <a:lnTo>
                    <a:pt x="13475" y="26503"/>
                  </a:lnTo>
                  <a:lnTo>
                    <a:pt x="14236" y="26484"/>
                  </a:lnTo>
                  <a:lnTo>
                    <a:pt x="15683" y="26373"/>
                  </a:lnTo>
                  <a:lnTo>
                    <a:pt x="17075" y="26131"/>
                  </a:lnTo>
                  <a:lnTo>
                    <a:pt x="18374" y="25760"/>
                  </a:lnTo>
                  <a:lnTo>
                    <a:pt x="19599" y="25296"/>
                  </a:lnTo>
                  <a:lnTo>
                    <a:pt x="20731" y="24684"/>
                  </a:lnTo>
                  <a:lnTo>
                    <a:pt x="21789" y="23960"/>
                  </a:lnTo>
                  <a:lnTo>
                    <a:pt x="22773" y="23125"/>
                  </a:lnTo>
                  <a:lnTo>
                    <a:pt x="23237" y="22661"/>
                  </a:lnTo>
                  <a:lnTo>
                    <a:pt x="23422" y="22420"/>
                  </a:lnTo>
                  <a:lnTo>
                    <a:pt x="23608" y="21863"/>
                  </a:lnTo>
                  <a:lnTo>
                    <a:pt x="23552" y="21288"/>
                  </a:lnTo>
                  <a:lnTo>
                    <a:pt x="23274" y="20768"/>
                  </a:lnTo>
                  <a:lnTo>
                    <a:pt x="23051" y="20564"/>
                  </a:lnTo>
                  <a:lnTo>
                    <a:pt x="21158" y="19042"/>
                  </a:lnTo>
                  <a:lnTo>
                    <a:pt x="20935" y="18875"/>
                  </a:lnTo>
                  <a:lnTo>
                    <a:pt x="20434" y="18726"/>
                  </a:lnTo>
                  <a:lnTo>
                    <a:pt x="19915" y="18745"/>
                  </a:lnTo>
                  <a:lnTo>
                    <a:pt x="19432" y="18949"/>
                  </a:lnTo>
                  <a:lnTo>
                    <a:pt x="19246" y="19135"/>
                  </a:lnTo>
                  <a:lnTo>
                    <a:pt x="18820" y="19543"/>
                  </a:lnTo>
                  <a:lnTo>
                    <a:pt x="17892" y="20230"/>
                  </a:lnTo>
                  <a:lnTo>
                    <a:pt x="17372" y="20527"/>
                  </a:lnTo>
                  <a:lnTo>
                    <a:pt x="16964" y="20731"/>
                  </a:lnTo>
                  <a:lnTo>
                    <a:pt x="16073" y="21046"/>
                  </a:lnTo>
                  <a:lnTo>
                    <a:pt x="15071" y="21269"/>
                  </a:lnTo>
                  <a:lnTo>
                    <a:pt x="13994" y="21380"/>
                  </a:lnTo>
                  <a:lnTo>
                    <a:pt x="13419" y="21380"/>
                  </a:lnTo>
                  <a:lnTo>
                    <a:pt x="12732" y="21362"/>
                  </a:lnTo>
                  <a:lnTo>
                    <a:pt x="11433" y="21120"/>
                  </a:lnTo>
                  <a:lnTo>
                    <a:pt x="10802" y="20916"/>
                  </a:lnTo>
                  <a:lnTo>
                    <a:pt x="10190" y="20657"/>
                  </a:lnTo>
                  <a:lnTo>
                    <a:pt x="9076" y="20026"/>
                  </a:lnTo>
                  <a:lnTo>
                    <a:pt x="8557" y="19636"/>
                  </a:lnTo>
                  <a:lnTo>
                    <a:pt x="8074" y="19209"/>
                  </a:lnTo>
                  <a:lnTo>
                    <a:pt x="7295" y="18244"/>
                  </a:lnTo>
                  <a:lnTo>
                    <a:pt x="6979" y="17706"/>
                  </a:lnTo>
                  <a:lnTo>
                    <a:pt x="6682" y="17130"/>
                  </a:lnTo>
                  <a:lnTo>
                    <a:pt x="6329" y="15905"/>
                  </a:lnTo>
                  <a:lnTo>
                    <a:pt x="6274" y="15237"/>
                  </a:lnTo>
                  <a:lnTo>
                    <a:pt x="23905" y="15237"/>
                  </a:lnTo>
                  <a:lnTo>
                    <a:pt x="24202" y="15200"/>
                  </a:lnTo>
                  <a:lnTo>
                    <a:pt x="24721" y="14996"/>
                  </a:lnTo>
                  <a:lnTo>
                    <a:pt x="25111" y="14606"/>
                  </a:lnTo>
                  <a:lnTo>
                    <a:pt x="25334" y="14087"/>
                  </a:lnTo>
                  <a:lnTo>
                    <a:pt x="25352" y="13790"/>
                  </a:lnTo>
                  <a:lnTo>
                    <a:pt x="25352" y="13567"/>
                  </a:lnTo>
                  <a:lnTo>
                    <a:pt x="25352" y="12713"/>
                  </a:lnTo>
                  <a:lnTo>
                    <a:pt x="25222" y="11136"/>
                  </a:lnTo>
                  <a:lnTo>
                    <a:pt x="25000" y="9651"/>
                  </a:lnTo>
                  <a:lnTo>
                    <a:pt x="24666" y="8278"/>
                  </a:lnTo>
                  <a:lnTo>
                    <a:pt x="24443" y="7647"/>
                  </a:lnTo>
                  <a:lnTo>
                    <a:pt x="24202" y="7016"/>
                  </a:lnTo>
                  <a:lnTo>
                    <a:pt x="23663" y="5847"/>
                  </a:lnTo>
                  <a:lnTo>
                    <a:pt x="23032" y="4807"/>
                  </a:lnTo>
                  <a:lnTo>
                    <a:pt x="22309" y="3842"/>
                  </a:lnTo>
                  <a:lnTo>
                    <a:pt x="21919" y="3415"/>
                  </a:lnTo>
                  <a:lnTo>
                    <a:pt x="21511" y="3007"/>
                  </a:lnTo>
                  <a:lnTo>
                    <a:pt x="20620" y="2265"/>
                  </a:lnTo>
                  <a:lnTo>
                    <a:pt x="19655" y="1615"/>
                  </a:lnTo>
                  <a:lnTo>
                    <a:pt x="18634" y="1096"/>
                  </a:lnTo>
                  <a:lnTo>
                    <a:pt x="18077" y="873"/>
                  </a:lnTo>
                  <a:lnTo>
                    <a:pt x="17520" y="650"/>
                  </a:lnTo>
                  <a:lnTo>
                    <a:pt x="16370" y="335"/>
                  </a:lnTo>
                  <a:lnTo>
                    <a:pt x="15163" y="112"/>
                  </a:lnTo>
                  <a:lnTo>
                    <a:pt x="13901" y="19"/>
                  </a:lnTo>
                  <a:lnTo>
                    <a:pt x="13252" y="1"/>
                  </a:lnTo>
                  <a:close/>
                </a:path>
              </a:pathLst>
            </a:custGeom>
            <a:solidFill>
              <a:srgbClr val="F3F3E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360" name="Google Shape;360;p22"/>
            <p:cNvSpPr/>
            <p:nvPr/>
          </p:nvSpPr>
          <p:spPr>
            <a:xfrm>
              <a:off x="5884625" y="2663300"/>
              <a:ext cx="579075" cy="659800"/>
            </a:xfrm>
            <a:custGeom>
              <a:avLst/>
              <a:gdLst/>
              <a:ahLst/>
              <a:cxnLst/>
              <a:rect l="l" t="t" r="r" b="b"/>
              <a:pathLst>
                <a:path w="23163" h="26392" extrusionOk="0">
                  <a:moveTo>
                    <a:pt x="17223" y="14347"/>
                  </a:moveTo>
                  <a:lnTo>
                    <a:pt x="17223" y="15237"/>
                  </a:lnTo>
                  <a:lnTo>
                    <a:pt x="17205" y="15961"/>
                  </a:lnTo>
                  <a:lnTo>
                    <a:pt x="17001" y="17297"/>
                  </a:lnTo>
                  <a:lnTo>
                    <a:pt x="16574" y="18467"/>
                  </a:lnTo>
                  <a:lnTo>
                    <a:pt x="15943" y="19487"/>
                  </a:lnTo>
                  <a:lnTo>
                    <a:pt x="15553" y="19933"/>
                  </a:lnTo>
                  <a:lnTo>
                    <a:pt x="15108" y="20341"/>
                  </a:lnTo>
                  <a:lnTo>
                    <a:pt x="14087" y="20991"/>
                  </a:lnTo>
                  <a:lnTo>
                    <a:pt x="12862" y="21417"/>
                  </a:lnTo>
                  <a:lnTo>
                    <a:pt x="11433" y="21640"/>
                  </a:lnTo>
                  <a:lnTo>
                    <a:pt x="10653" y="21659"/>
                  </a:lnTo>
                  <a:lnTo>
                    <a:pt x="9855" y="21622"/>
                  </a:lnTo>
                  <a:lnTo>
                    <a:pt x="9076" y="21492"/>
                  </a:lnTo>
                  <a:lnTo>
                    <a:pt x="8705" y="21417"/>
                  </a:lnTo>
                  <a:lnTo>
                    <a:pt x="8000" y="21158"/>
                  </a:lnTo>
                  <a:lnTo>
                    <a:pt x="7666" y="20972"/>
                  </a:lnTo>
                  <a:lnTo>
                    <a:pt x="7369" y="20786"/>
                  </a:lnTo>
                  <a:lnTo>
                    <a:pt x="6867" y="20304"/>
                  </a:lnTo>
                  <a:lnTo>
                    <a:pt x="6645" y="20007"/>
                  </a:lnTo>
                  <a:lnTo>
                    <a:pt x="6478" y="19691"/>
                  </a:lnTo>
                  <a:lnTo>
                    <a:pt x="6274" y="18949"/>
                  </a:lnTo>
                  <a:lnTo>
                    <a:pt x="6255" y="18522"/>
                  </a:lnTo>
                  <a:lnTo>
                    <a:pt x="6274" y="18170"/>
                  </a:lnTo>
                  <a:lnTo>
                    <a:pt x="6385" y="17557"/>
                  </a:lnTo>
                  <a:lnTo>
                    <a:pt x="6626" y="17000"/>
                  </a:lnTo>
                  <a:lnTo>
                    <a:pt x="6979" y="16518"/>
                  </a:lnTo>
                  <a:lnTo>
                    <a:pt x="7202" y="16314"/>
                  </a:lnTo>
                  <a:lnTo>
                    <a:pt x="7684" y="15924"/>
                  </a:lnTo>
                  <a:lnTo>
                    <a:pt x="8872" y="15293"/>
                  </a:lnTo>
                  <a:lnTo>
                    <a:pt x="9540" y="15052"/>
                  </a:lnTo>
                  <a:lnTo>
                    <a:pt x="10264" y="14848"/>
                  </a:lnTo>
                  <a:lnTo>
                    <a:pt x="11804" y="14551"/>
                  </a:lnTo>
                  <a:lnTo>
                    <a:pt x="12621" y="14476"/>
                  </a:lnTo>
                  <a:lnTo>
                    <a:pt x="14272" y="14365"/>
                  </a:lnTo>
                  <a:lnTo>
                    <a:pt x="15813" y="14347"/>
                  </a:lnTo>
                  <a:close/>
                  <a:moveTo>
                    <a:pt x="12008" y="1"/>
                  </a:moveTo>
                  <a:lnTo>
                    <a:pt x="11284" y="19"/>
                  </a:lnTo>
                  <a:lnTo>
                    <a:pt x="9855" y="131"/>
                  </a:lnTo>
                  <a:lnTo>
                    <a:pt x="8445" y="390"/>
                  </a:lnTo>
                  <a:lnTo>
                    <a:pt x="7035" y="762"/>
                  </a:lnTo>
                  <a:lnTo>
                    <a:pt x="6348" y="1003"/>
                  </a:lnTo>
                  <a:lnTo>
                    <a:pt x="5327" y="1374"/>
                  </a:lnTo>
                  <a:lnTo>
                    <a:pt x="3434" y="2376"/>
                  </a:lnTo>
                  <a:lnTo>
                    <a:pt x="2580" y="3007"/>
                  </a:lnTo>
                  <a:lnTo>
                    <a:pt x="2339" y="3193"/>
                  </a:lnTo>
                  <a:lnTo>
                    <a:pt x="2061" y="3712"/>
                  </a:lnTo>
                  <a:lnTo>
                    <a:pt x="2005" y="4269"/>
                  </a:lnTo>
                  <a:lnTo>
                    <a:pt x="2191" y="4845"/>
                  </a:lnTo>
                  <a:lnTo>
                    <a:pt x="2358" y="5086"/>
                  </a:lnTo>
                  <a:lnTo>
                    <a:pt x="3712" y="6663"/>
                  </a:lnTo>
                  <a:lnTo>
                    <a:pt x="3898" y="6867"/>
                  </a:lnTo>
                  <a:lnTo>
                    <a:pt x="4381" y="7127"/>
                  </a:lnTo>
                  <a:lnTo>
                    <a:pt x="4900" y="7183"/>
                  </a:lnTo>
                  <a:lnTo>
                    <a:pt x="5420" y="7053"/>
                  </a:lnTo>
                  <a:lnTo>
                    <a:pt x="5661" y="6905"/>
                  </a:lnTo>
                  <a:lnTo>
                    <a:pt x="6107" y="6589"/>
                  </a:lnTo>
                  <a:lnTo>
                    <a:pt x="7127" y="5995"/>
                  </a:lnTo>
                  <a:lnTo>
                    <a:pt x="7684" y="5735"/>
                  </a:lnTo>
                  <a:lnTo>
                    <a:pt x="8129" y="5550"/>
                  </a:lnTo>
                  <a:lnTo>
                    <a:pt x="9057" y="5234"/>
                  </a:lnTo>
                  <a:lnTo>
                    <a:pt x="10022" y="5012"/>
                  </a:lnTo>
                  <a:lnTo>
                    <a:pt x="10988" y="4919"/>
                  </a:lnTo>
                  <a:lnTo>
                    <a:pt x="11489" y="4900"/>
                  </a:lnTo>
                  <a:lnTo>
                    <a:pt x="12064" y="4919"/>
                  </a:lnTo>
                  <a:lnTo>
                    <a:pt x="13159" y="5049"/>
                  </a:lnTo>
                  <a:lnTo>
                    <a:pt x="14161" y="5346"/>
                  </a:lnTo>
                  <a:lnTo>
                    <a:pt x="15089" y="5754"/>
                  </a:lnTo>
                  <a:lnTo>
                    <a:pt x="15534" y="6032"/>
                  </a:lnTo>
                  <a:lnTo>
                    <a:pt x="15924" y="6311"/>
                  </a:lnTo>
                  <a:lnTo>
                    <a:pt x="16574" y="7034"/>
                  </a:lnTo>
                  <a:lnTo>
                    <a:pt x="16982" y="7907"/>
                  </a:lnTo>
                  <a:lnTo>
                    <a:pt x="17205" y="8927"/>
                  </a:lnTo>
                  <a:lnTo>
                    <a:pt x="17223" y="9484"/>
                  </a:lnTo>
                  <a:lnTo>
                    <a:pt x="17223" y="10115"/>
                  </a:lnTo>
                  <a:lnTo>
                    <a:pt x="15757" y="10134"/>
                  </a:lnTo>
                  <a:lnTo>
                    <a:pt x="12769" y="10282"/>
                  </a:lnTo>
                  <a:lnTo>
                    <a:pt x="11247" y="10412"/>
                  </a:lnTo>
                  <a:lnTo>
                    <a:pt x="9744" y="10579"/>
                  </a:lnTo>
                  <a:lnTo>
                    <a:pt x="7647" y="11006"/>
                  </a:lnTo>
                  <a:lnTo>
                    <a:pt x="6329" y="11359"/>
                  </a:lnTo>
                  <a:lnTo>
                    <a:pt x="5698" y="11581"/>
                  </a:lnTo>
                  <a:lnTo>
                    <a:pt x="5067" y="11804"/>
                  </a:lnTo>
                  <a:lnTo>
                    <a:pt x="3935" y="12361"/>
                  </a:lnTo>
                  <a:lnTo>
                    <a:pt x="2914" y="12992"/>
                  </a:lnTo>
                  <a:lnTo>
                    <a:pt x="2005" y="13734"/>
                  </a:lnTo>
                  <a:lnTo>
                    <a:pt x="1597" y="14142"/>
                  </a:lnTo>
                  <a:lnTo>
                    <a:pt x="1207" y="14569"/>
                  </a:lnTo>
                  <a:lnTo>
                    <a:pt x="613" y="15553"/>
                  </a:lnTo>
                  <a:lnTo>
                    <a:pt x="223" y="16666"/>
                  </a:lnTo>
                  <a:lnTo>
                    <a:pt x="19" y="17928"/>
                  </a:lnTo>
                  <a:lnTo>
                    <a:pt x="1" y="18615"/>
                  </a:lnTo>
                  <a:lnTo>
                    <a:pt x="19" y="19172"/>
                  </a:lnTo>
                  <a:lnTo>
                    <a:pt x="131" y="20174"/>
                  </a:lnTo>
                  <a:lnTo>
                    <a:pt x="353" y="21083"/>
                  </a:lnTo>
                  <a:lnTo>
                    <a:pt x="706" y="21919"/>
                  </a:lnTo>
                  <a:lnTo>
                    <a:pt x="910" y="22308"/>
                  </a:lnTo>
                  <a:lnTo>
                    <a:pt x="1151" y="22661"/>
                  </a:lnTo>
                  <a:lnTo>
                    <a:pt x="1671" y="23348"/>
                  </a:lnTo>
                  <a:lnTo>
                    <a:pt x="2246" y="23941"/>
                  </a:lnTo>
                  <a:lnTo>
                    <a:pt x="2877" y="24461"/>
                  </a:lnTo>
                  <a:lnTo>
                    <a:pt x="3211" y="24702"/>
                  </a:lnTo>
                  <a:lnTo>
                    <a:pt x="3917" y="25129"/>
                  </a:lnTo>
                  <a:lnTo>
                    <a:pt x="5420" y="25779"/>
                  </a:lnTo>
                  <a:lnTo>
                    <a:pt x="6236" y="26001"/>
                  </a:lnTo>
                  <a:lnTo>
                    <a:pt x="7053" y="26187"/>
                  </a:lnTo>
                  <a:lnTo>
                    <a:pt x="8631" y="26373"/>
                  </a:lnTo>
                  <a:lnTo>
                    <a:pt x="9391" y="26391"/>
                  </a:lnTo>
                  <a:lnTo>
                    <a:pt x="10060" y="26391"/>
                  </a:lnTo>
                  <a:lnTo>
                    <a:pt x="11303" y="26243"/>
                  </a:lnTo>
                  <a:lnTo>
                    <a:pt x="12491" y="25983"/>
                  </a:lnTo>
                  <a:lnTo>
                    <a:pt x="13604" y="25575"/>
                  </a:lnTo>
                  <a:lnTo>
                    <a:pt x="14143" y="25315"/>
                  </a:lnTo>
                  <a:lnTo>
                    <a:pt x="14644" y="25055"/>
                  </a:lnTo>
                  <a:lnTo>
                    <a:pt x="15553" y="24442"/>
                  </a:lnTo>
                  <a:lnTo>
                    <a:pt x="16314" y="23756"/>
                  </a:lnTo>
                  <a:lnTo>
                    <a:pt x="16926" y="22995"/>
                  </a:lnTo>
                  <a:lnTo>
                    <a:pt x="17168" y="22587"/>
                  </a:lnTo>
                  <a:lnTo>
                    <a:pt x="17316" y="22587"/>
                  </a:lnTo>
                  <a:lnTo>
                    <a:pt x="17316" y="24313"/>
                  </a:lnTo>
                  <a:lnTo>
                    <a:pt x="17335" y="24610"/>
                  </a:lnTo>
                  <a:lnTo>
                    <a:pt x="17557" y="25129"/>
                  </a:lnTo>
                  <a:lnTo>
                    <a:pt x="17947" y="25519"/>
                  </a:lnTo>
                  <a:lnTo>
                    <a:pt x="18467" y="25742"/>
                  </a:lnTo>
                  <a:lnTo>
                    <a:pt x="18764" y="25760"/>
                  </a:lnTo>
                  <a:lnTo>
                    <a:pt x="21715" y="25760"/>
                  </a:lnTo>
                  <a:lnTo>
                    <a:pt x="22011" y="25742"/>
                  </a:lnTo>
                  <a:lnTo>
                    <a:pt x="22531" y="25519"/>
                  </a:lnTo>
                  <a:lnTo>
                    <a:pt x="22921" y="25129"/>
                  </a:lnTo>
                  <a:lnTo>
                    <a:pt x="23144" y="24610"/>
                  </a:lnTo>
                  <a:lnTo>
                    <a:pt x="23162" y="24313"/>
                  </a:lnTo>
                  <a:lnTo>
                    <a:pt x="23162" y="10542"/>
                  </a:lnTo>
                  <a:lnTo>
                    <a:pt x="23144" y="9596"/>
                  </a:lnTo>
                  <a:lnTo>
                    <a:pt x="22902" y="7721"/>
                  </a:lnTo>
                  <a:lnTo>
                    <a:pt x="22661" y="6775"/>
                  </a:lnTo>
                  <a:lnTo>
                    <a:pt x="22531" y="6311"/>
                  </a:lnTo>
                  <a:lnTo>
                    <a:pt x="22197" y="5420"/>
                  </a:lnTo>
                  <a:lnTo>
                    <a:pt x="21752" y="4566"/>
                  </a:lnTo>
                  <a:lnTo>
                    <a:pt x="21232" y="3768"/>
                  </a:lnTo>
                  <a:lnTo>
                    <a:pt x="20917" y="3378"/>
                  </a:lnTo>
                  <a:lnTo>
                    <a:pt x="20917" y="3397"/>
                  </a:lnTo>
                  <a:lnTo>
                    <a:pt x="20601" y="3026"/>
                  </a:lnTo>
                  <a:lnTo>
                    <a:pt x="19859" y="2339"/>
                  </a:lnTo>
                  <a:lnTo>
                    <a:pt x="19005" y="1727"/>
                  </a:lnTo>
                  <a:lnTo>
                    <a:pt x="18040" y="1188"/>
                  </a:lnTo>
                  <a:lnTo>
                    <a:pt x="17502" y="947"/>
                  </a:lnTo>
                  <a:lnTo>
                    <a:pt x="16945" y="724"/>
                  </a:lnTo>
                  <a:lnTo>
                    <a:pt x="15720" y="372"/>
                  </a:lnTo>
                  <a:lnTo>
                    <a:pt x="14347" y="131"/>
                  </a:lnTo>
                  <a:lnTo>
                    <a:pt x="12825" y="19"/>
                  </a:lnTo>
                  <a:lnTo>
                    <a:pt x="12008" y="1"/>
                  </a:lnTo>
                  <a:close/>
                </a:path>
              </a:pathLst>
            </a:custGeom>
            <a:solidFill>
              <a:srgbClr val="F3F3E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361" name="Google Shape;361;p22"/>
            <p:cNvSpPr/>
            <p:nvPr/>
          </p:nvSpPr>
          <p:spPr>
            <a:xfrm>
              <a:off x="6545800" y="2664225"/>
              <a:ext cx="373975" cy="643550"/>
            </a:xfrm>
            <a:custGeom>
              <a:avLst/>
              <a:gdLst/>
              <a:ahLst/>
              <a:cxnLst/>
              <a:rect l="l" t="t" r="r" b="b"/>
              <a:pathLst>
                <a:path w="14959" h="25742" extrusionOk="0">
                  <a:moveTo>
                    <a:pt x="13400" y="1"/>
                  </a:moveTo>
                  <a:lnTo>
                    <a:pt x="13400" y="19"/>
                  </a:lnTo>
                  <a:lnTo>
                    <a:pt x="12639" y="75"/>
                  </a:lnTo>
                  <a:lnTo>
                    <a:pt x="11339" y="279"/>
                  </a:lnTo>
                  <a:lnTo>
                    <a:pt x="10300" y="613"/>
                  </a:lnTo>
                  <a:lnTo>
                    <a:pt x="9409" y="1059"/>
                  </a:lnTo>
                  <a:lnTo>
                    <a:pt x="9020" y="1318"/>
                  </a:lnTo>
                  <a:lnTo>
                    <a:pt x="8556" y="1671"/>
                  </a:lnTo>
                  <a:lnTo>
                    <a:pt x="7721" y="2451"/>
                  </a:lnTo>
                  <a:lnTo>
                    <a:pt x="6997" y="3341"/>
                  </a:lnTo>
                  <a:lnTo>
                    <a:pt x="6366" y="4325"/>
                  </a:lnTo>
                  <a:lnTo>
                    <a:pt x="6106" y="4863"/>
                  </a:lnTo>
                  <a:lnTo>
                    <a:pt x="5995" y="4863"/>
                  </a:lnTo>
                  <a:lnTo>
                    <a:pt x="5995" y="2135"/>
                  </a:lnTo>
                  <a:lnTo>
                    <a:pt x="5976" y="1838"/>
                  </a:lnTo>
                  <a:lnTo>
                    <a:pt x="5753" y="1318"/>
                  </a:lnTo>
                  <a:lnTo>
                    <a:pt x="5364" y="929"/>
                  </a:lnTo>
                  <a:lnTo>
                    <a:pt x="4844" y="706"/>
                  </a:lnTo>
                  <a:lnTo>
                    <a:pt x="4547" y="687"/>
                  </a:lnTo>
                  <a:lnTo>
                    <a:pt x="1448" y="687"/>
                  </a:lnTo>
                  <a:lnTo>
                    <a:pt x="1151" y="706"/>
                  </a:lnTo>
                  <a:lnTo>
                    <a:pt x="631" y="929"/>
                  </a:lnTo>
                  <a:lnTo>
                    <a:pt x="241" y="1318"/>
                  </a:lnTo>
                  <a:lnTo>
                    <a:pt x="19" y="1838"/>
                  </a:lnTo>
                  <a:lnTo>
                    <a:pt x="0" y="2135"/>
                  </a:lnTo>
                  <a:lnTo>
                    <a:pt x="0" y="24276"/>
                  </a:lnTo>
                  <a:lnTo>
                    <a:pt x="19" y="24573"/>
                  </a:lnTo>
                  <a:lnTo>
                    <a:pt x="241" y="25092"/>
                  </a:lnTo>
                  <a:lnTo>
                    <a:pt x="631" y="25500"/>
                  </a:lnTo>
                  <a:lnTo>
                    <a:pt x="1151" y="25705"/>
                  </a:lnTo>
                  <a:lnTo>
                    <a:pt x="1448" y="25742"/>
                  </a:lnTo>
                  <a:lnTo>
                    <a:pt x="4807" y="25742"/>
                  </a:lnTo>
                  <a:lnTo>
                    <a:pt x="5104" y="25705"/>
                  </a:lnTo>
                  <a:lnTo>
                    <a:pt x="5623" y="25500"/>
                  </a:lnTo>
                  <a:lnTo>
                    <a:pt x="6013" y="25092"/>
                  </a:lnTo>
                  <a:lnTo>
                    <a:pt x="6236" y="24573"/>
                  </a:lnTo>
                  <a:lnTo>
                    <a:pt x="6254" y="24276"/>
                  </a:lnTo>
                  <a:lnTo>
                    <a:pt x="6254" y="12324"/>
                  </a:lnTo>
                  <a:lnTo>
                    <a:pt x="6273" y="11971"/>
                  </a:lnTo>
                  <a:lnTo>
                    <a:pt x="6403" y="11062"/>
                  </a:lnTo>
                  <a:lnTo>
                    <a:pt x="6514" y="10505"/>
                  </a:lnTo>
                  <a:lnTo>
                    <a:pt x="6663" y="9930"/>
                  </a:lnTo>
                  <a:lnTo>
                    <a:pt x="7164" y="8816"/>
                  </a:lnTo>
                  <a:lnTo>
                    <a:pt x="7516" y="8259"/>
                  </a:lnTo>
                  <a:lnTo>
                    <a:pt x="7906" y="7721"/>
                  </a:lnTo>
                  <a:lnTo>
                    <a:pt x="8908" y="6775"/>
                  </a:lnTo>
                  <a:lnTo>
                    <a:pt x="9539" y="6385"/>
                  </a:lnTo>
                  <a:lnTo>
                    <a:pt x="10170" y="6014"/>
                  </a:lnTo>
                  <a:lnTo>
                    <a:pt x="11636" y="5439"/>
                  </a:lnTo>
                  <a:lnTo>
                    <a:pt x="12917" y="5142"/>
                  </a:lnTo>
                  <a:lnTo>
                    <a:pt x="13678" y="5030"/>
                  </a:lnTo>
                  <a:lnTo>
                    <a:pt x="13938" y="4993"/>
                  </a:lnTo>
                  <a:lnTo>
                    <a:pt x="14420" y="4752"/>
                  </a:lnTo>
                  <a:lnTo>
                    <a:pt x="14754" y="4344"/>
                  </a:lnTo>
                  <a:lnTo>
                    <a:pt x="14940" y="3861"/>
                  </a:lnTo>
                  <a:lnTo>
                    <a:pt x="14958" y="3583"/>
                  </a:lnTo>
                  <a:lnTo>
                    <a:pt x="14940" y="1430"/>
                  </a:lnTo>
                  <a:lnTo>
                    <a:pt x="14903" y="1133"/>
                  </a:lnTo>
                  <a:lnTo>
                    <a:pt x="14661" y="595"/>
                  </a:lnTo>
                  <a:lnTo>
                    <a:pt x="14253" y="205"/>
                  </a:lnTo>
                  <a:lnTo>
                    <a:pt x="13696" y="1"/>
                  </a:lnTo>
                  <a:close/>
                </a:path>
              </a:pathLst>
            </a:custGeom>
            <a:solidFill>
              <a:srgbClr val="F3F3E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362" name="Google Shape;362;p22"/>
            <p:cNvSpPr/>
            <p:nvPr/>
          </p:nvSpPr>
          <p:spPr>
            <a:xfrm>
              <a:off x="6961975" y="2500450"/>
              <a:ext cx="420375" cy="820325"/>
            </a:xfrm>
            <a:custGeom>
              <a:avLst/>
              <a:gdLst/>
              <a:ahLst/>
              <a:cxnLst/>
              <a:rect l="l" t="t" r="r" b="b"/>
              <a:pathLst>
                <a:path w="16815" h="32813" extrusionOk="0">
                  <a:moveTo>
                    <a:pt x="5846" y="1"/>
                  </a:moveTo>
                  <a:lnTo>
                    <a:pt x="5549" y="19"/>
                  </a:lnTo>
                  <a:lnTo>
                    <a:pt x="5030" y="242"/>
                  </a:lnTo>
                  <a:lnTo>
                    <a:pt x="4621" y="632"/>
                  </a:lnTo>
                  <a:lnTo>
                    <a:pt x="4417" y="1151"/>
                  </a:lnTo>
                  <a:lnTo>
                    <a:pt x="4399" y="1448"/>
                  </a:lnTo>
                  <a:lnTo>
                    <a:pt x="4399" y="6515"/>
                  </a:lnTo>
                  <a:lnTo>
                    <a:pt x="1448" y="6515"/>
                  </a:lnTo>
                  <a:lnTo>
                    <a:pt x="1169" y="6533"/>
                  </a:lnTo>
                  <a:lnTo>
                    <a:pt x="650" y="6756"/>
                  </a:lnTo>
                  <a:lnTo>
                    <a:pt x="242" y="7146"/>
                  </a:lnTo>
                  <a:lnTo>
                    <a:pt x="19" y="7665"/>
                  </a:lnTo>
                  <a:lnTo>
                    <a:pt x="0" y="7962"/>
                  </a:lnTo>
                  <a:lnTo>
                    <a:pt x="0" y="10078"/>
                  </a:lnTo>
                  <a:lnTo>
                    <a:pt x="19" y="10375"/>
                  </a:lnTo>
                  <a:lnTo>
                    <a:pt x="242" y="10895"/>
                  </a:lnTo>
                  <a:lnTo>
                    <a:pt x="650" y="11284"/>
                  </a:lnTo>
                  <a:lnTo>
                    <a:pt x="1169" y="11507"/>
                  </a:lnTo>
                  <a:lnTo>
                    <a:pt x="1448" y="11526"/>
                  </a:lnTo>
                  <a:lnTo>
                    <a:pt x="4399" y="11526"/>
                  </a:lnTo>
                  <a:lnTo>
                    <a:pt x="4399" y="23941"/>
                  </a:lnTo>
                  <a:lnTo>
                    <a:pt x="4399" y="24851"/>
                  </a:lnTo>
                  <a:lnTo>
                    <a:pt x="4566" y="26558"/>
                  </a:lnTo>
                  <a:lnTo>
                    <a:pt x="4733" y="27356"/>
                  </a:lnTo>
                  <a:lnTo>
                    <a:pt x="4918" y="28136"/>
                  </a:lnTo>
                  <a:lnTo>
                    <a:pt x="5549" y="29546"/>
                  </a:lnTo>
                  <a:lnTo>
                    <a:pt x="5976" y="30177"/>
                  </a:lnTo>
                  <a:lnTo>
                    <a:pt x="6217" y="30474"/>
                  </a:lnTo>
                  <a:lnTo>
                    <a:pt x="6756" y="31031"/>
                  </a:lnTo>
                  <a:lnTo>
                    <a:pt x="7368" y="31513"/>
                  </a:lnTo>
                  <a:lnTo>
                    <a:pt x="8073" y="31922"/>
                  </a:lnTo>
                  <a:lnTo>
                    <a:pt x="8463" y="32107"/>
                  </a:lnTo>
                  <a:lnTo>
                    <a:pt x="8853" y="32274"/>
                  </a:lnTo>
                  <a:lnTo>
                    <a:pt x="9762" y="32534"/>
                  </a:lnTo>
                  <a:lnTo>
                    <a:pt x="10783" y="32720"/>
                  </a:lnTo>
                  <a:lnTo>
                    <a:pt x="11915" y="32794"/>
                  </a:lnTo>
                  <a:lnTo>
                    <a:pt x="12527" y="32812"/>
                  </a:lnTo>
                  <a:lnTo>
                    <a:pt x="13047" y="32794"/>
                  </a:lnTo>
                  <a:lnTo>
                    <a:pt x="14142" y="32701"/>
                  </a:lnTo>
                  <a:lnTo>
                    <a:pt x="14717" y="32627"/>
                  </a:lnTo>
                  <a:lnTo>
                    <a:pt x="15274" y="32534"/>
                  </a:lnTo>
                  <a:lnTo>
                    <a:pt x="16276" y="32274"/>
                  </a:lnTo>
                  <a:lnTo>
                    <a:pt x="16703" y="32126"/>
                  </a:lnTo>
                  <a:lnTo>
                    <a:pt x="16499" y="27226"/>
                  </a:lnTo>
                  <a:lnTo>
                    <a:pt x="15887" y="27467"/>
                  </a:lnTo>
                  <a:lnTo>
                    <a:pt x="15181" y="27616"/>
                  </a:lnTo>
                  <a:lnTo>
                    <a:pt x="14476" y="27727"/>
                  </a:lnTo>
                  <a:lnTo>
                    <a:pt x="13827" y="27746"/>
                  </a:lnTo>
                  <a:lnTo>
                    <a:pt x="13326" y="27746"/>
                  </a:lnTo>
                  <a:lnTo>
                    <a:pt x="12472" y="27597"/>
                  </a:lnTo>
                  <a:lnTo>
                    <a:pt x="11804" y="27319"/>
                  </a:lnTo>
                  <a:lnTo>
                    <a:pt x="11303" y="26911"/>
                  </a:lnTo>
                  <a:lnTo>
                    <a:pt x="11154" y="26651"/>
                  </a:lnTo>
                  <a:lnTo>
                    <a:pt x="11006" y="26372"/>
                  </a:lnTo>
                  <a:lnTo>
                    <a:pt x="10783" y="25760"/>
                  </a:lnTo>
                  <a:lnTo>
                    <a:pt x="10560" y="24702"/>
                  </a:lnTo>
                  <a:lnTo>
                    <a:pt x="10542" y="23886"/>
                  </a:lnTo>
                  <a:lnTo>
                    <a:pt x="10542" y="11526"/>
                  </a:lnTo>
                  <a:lnTo>
                    <a:pt x="15367" y="11526"/>
                  </a:lnTo>
                  <a:lnTo>
                    <a:pt x="15645" y="11507"/>
                  </a:lnTo>
                  <a:lnTo>
                    <a:pt x="16165" y="11284"/>
                  </a:lnTo>
                  <a:lnTo>
                    <a:pt x="16573" y="10895"/>
                  </a:lnTo>
                  <a:lnTo>
                    <a:pt x="16796" y="10375"/>
                  </a:lnTo>
                  <a:lnTo>
                    <a:pt x="16815" y="10078"/>
                  </a:lnTo>
                  <a:lnTo>
                    <a:pt x="16815" y="7962"/>
                  </a:lnTo>
                  <a:lnTo>
                    <a:pt x="16796" y="7665"/>
                  </a:lnTo>
                  <a:lnTo>
                    <a:pt x="16573" y="7146"/>
                  </a:lnTo>
                  <a:lnTo>
                    <a:pt x="16165" y="6756"/>
                  </a:lnTo>
                  <a:lnTo>
                    <a:pt x="15645" y="6533"/>
                  </a:lnTo>
                  <a:lnTo>
                    <a:pt x="15367" y="6515"/>
                  </a:lnTo>
                  <a:lnTo>
                    <a:pt x="10542" y="6515"/>
                  </a:lnTo>
                  <a:lnTo>
                    <a:pt x="10542" y="1448"/>
                  </a:lnTo>
                  <a:lnTo>
                    <a:pt x="10523" y="1151"/>
                  </a:lnTo>
                  <a:lnTo>
                    <a:pt x="10300" y="632"/>
                  </a:lnTo>
                  <a:lnTo>
                    <a:pt x="9911" y="242"/>
                  </a:lnTo>
                  <a:lnTo>
                    <a:pt x="9391" y="19"/>
                  </a:lnTo>
                  <a:lnTo>
                    <a:pt x="9094" y="1"/>
                  </a:lnTo>
                  <a:close/>
                </a:path>
              </a:pathLst>
            </a:custGeom>
            <a:solidFill>
              <a:srgbClr val="F3F3E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363" name="Google Shape;363;p22"/>
            <p:cNvSpPr/>
            <p:nvPr/>
          </p:nvSpPr>
          <p:spPr>
            <a:xfrm>
              <a:off x="4511750" y="2466575"/>
              <a:ext cx="655150" cy="841200"/>
            </a:xfrm>
            <a:custGeom>
              <a:avLst/>
              <a:gdLst/>
              <a:ahLst/>
              <a:cxnLst/>
              <a:rect l="l" t="t" r="r" b="b"/>
              <a:pathLst>
                <a:path w="26206" h="33648" extrusionOk="0">
                  <a:moveTo>
                    <a:pt x="1466" y="1"/>
                  </a:moveTo>
                  <a:lnTo>
                    <a:pt x="1169" y="19"/>
                  </a:lnTo>
                  <a:lnTo>
                    <a:pt x="650" y="242"/>
                  </a:lnTo>
                  <a:lnTo>
                    <a:pt x="241" y="632"/>
                  </a:lnTo>
                  <a:lnTo>
                    <a:pt x="19" y="1151"/>
                  </a:lnTo>
                  <a:lnTo>
                    <a:pt x="0" y="1448"/>
                  </a:lnTo>
                  <a:lnTo>
                    <a:pt x="0" y="32200"/>
                  </a:lnTo>
                  <a:lnTo>
                    <a:pt x="19" y="32497"/>
                  </a:lnTo>
                  <a:lnTo>
                    <a:pt x="241" y="33017"/>
                  </a:lnTo>
                  <a:lnTo>
                    <a:pt x="650" y="33406"/>
                  </a:lnTo>
                  <a:lnTo>
                    <a:pt x="1169" y="33629"/>
                  </a:lnTo>
                  <a:lnTo>
                    <a:pt x="1466" y="33648"/>
                  </a:lnTo>
                  <a:lnTo>
                    <a:pt x="4825" y="33648"/>
                  </a:lnTo>
                  <a:lnTo>
                    <a:pt x="5122" y="33629"/>
                  </a:lnTo>
                  <a:lnTo>
                    <a:pt x="5642" y="33406"/>
                  </a:lnTo>
                  <a:lnTo>
                    <a:pt x="6032" y="33017"/>
                  </a:lnTo>
                  <a:lnTo>
                    <a:pt x="6255" y="32497"/>
                  </a:lnTo>
                  <a:lnTo>
                    <a:pt x="6273" y="32200"/>
                  </a:lnTo>
                  <a:lnTo>
                    <a:pt x="6273" y="18133"/>
                  </a:lnTo>
                  <a:lnTo>
                    <a:pt x="19932" y="18133"/>
                  </a:lnTo>
                  <a:lnTo>
                    <a:pt x="19932" y="32200"/>
                  </a:lnTo>
                  <a:lnTo>
                    <a:pt x="19951" y="32497"/>
                  </a:lnTo>
                  <a:lnTo>
                    <a:pt x="20174" y="33017"/>
                  </a:lnTo>
                  <a:lnTo>
                    <a:pt x="20563" y="33406"/>
                  </a:lnTo>
                  <a:lnTo>
                    <a:pt x="21083" y="33629"/>
                  </a:lnTo>
                  <a:lnTo>
                    <a:pt x="21380" y="33648"/>
                  </a:lnTo>
                  <a:lnTo>
                    <a:pt x="24758" y="33648"/>
                  </a:lnTo>
                  <a:lnTo>
                    <a:pt x="25036" y="33629"/>
                  </a:lnTo>
                  <a:lnTo>
                    <a:pt x="25556" y="33406"/>
                  </a:lnTo>
                  <a:lnTo>
                    <a:pt x="25964" y="33017"/>
                  </a:lnTo>
                  <a:lnTo>
                    <a:pt x="26187" y="32497"/>
                  </a:lnTo>
                  <a:lnTo>
                    <a:pt x="26205" y="32200"/>
                  </a:lnTo>
                  <a:lnTo>
                    <a:pt x="26205" y="1448"/>
                  </a:lnTo>
                  <a:lnTo>
                    <a:pt x="26187" y="1151"/>
                  </a:lnTo>
                  <a:lnTo>
                    <a:pt x="25964" y="632"/>
                  </a:lnTo>
                  <a:lnTo>
                    <a:pt x="25556" y="242"/>
                  </a:lnTo>
                  <a:lnTo>
                    <a:pt x="25036" y="19"/>
                  </a:lnTo>
                  <a:lnTo>
                    <a:pt x="24758" y="1"/>
                  </a:lnTo>
                  <a:lnTo>
                    <a:pt x="21380" y="1"/>
                  </a:lnTo>
                  <a:lnTo>
                    <a:pt x="21083" y="19"/>
                  </a:lnTo>
                  <a:lnTo>
                    <a:pt x="20563" y="242"/>
                  </a:lnTo>
                  <a:lnTo>
                    <a:pt x="20174" y="632"/>
                  </a:lnTo>
                  <a:lnTo>
                    <a:pt x="19951" y="1151"/>
                  </a:lnTo>
                  <a:lnTo>
                    <a:pt x="19932" y="1448"/>
                  </a:lnTo>
                  <a:lnTo>
                    <a:pt x="19932" y="13641"/>
                  </a:lnTo>
                  <a:lnTo>
                    <a:pt x="6273" y="13641"/>
                  </a:lnTo>
                  <a:lnTo>
                    <a:pt x="6273" y="1448"/>
                  </a:lnTo>
                  <a:lnTo>
                    <a:pt x="6255" y="1151"/>
                  </a:lnTo>
                  <a:lnTo>
                    <a:pt x="6032" y="632"/>
                  </a:lnTo>
                  <a:lnTo>
                    <a:pt x="5642" y="242"/>
                  </a:lnTo>
                  <a:lnTo>
                    <a:pt x="5122" y="19"/>
                  </a:lnTo>
                  <a:lnTo>
                    <a:pt x="4825" y="1"/>
                  </a:lnTo>
                  <a:close/>
                </a:path>
              </a:pathLst>
            </a:custGeom>
            <a:solidFill>
              <a:srgbClr val="F3F3E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364" name="Google Shape;364;p22"/>
            <p:cNvSpPr/>
            <p:nvPr/>
          </p:nvSpPr>
          <p:spPr>
            <a:xfrm>
              <a:off x="2392800" y="2663300"/>
              <a:ext cx="633800" cy="662575"/>
            </a:xfrm>
            <a:custGeom>
              <a:avLst/>
              <a:gdLst/>
              <a:ahLst/>
              <a:cxnLst/>
              <a:rect l="l" t="t" r="r" b="b"/>
              <a:pathLst>
                <a:path w="25352" h="26503" extrusionOk="0">
                  <a:moveTo>
                    <a:pt x="13195" y="4696"/>
                  </a:moveTo>
                  <a:lnTo>
                    <a:pt x="13938" y="4715"/>
                  </a:lnTo>
                  <a:lnTo>
                    <a:pt x="15255" y="4974"/>
                  </a:lnTo>
                  <a:lnTo>
                    <a:pt x="15831" y="5197"/>
                  </a:lnTo>
                  <a:lnTo>
                    <a:pt x="16369" y="5457"/>
                  </a:lnTo>
                  <a:lnTo>
                    <a:pt x="17297" y="6125"/>
                  </a:lnTo>
                  <a:lnTo>
                    <a:pt x="17687" y="6515"/>
                  </a:lnTo>
                  <a:lnTo>
                    <a:pt x="18039" y="6942"/>
                  </a:lnTo>
                  <a:lnTo>
                    <a:pt x="18559" y="7907"/>
                  </a:lnTo>
                  <a:lnTo>
                    <a:pt x="18745" y="8445"/>
                  </a:lnTo>
                  <a:lnTo>
                    <a:pt x="18912" y="9002"/>
                  </a:lnTo>
                  <a:lnTo>
                    <a:pt x="19079" y="10152"/>
                  </a:lnTo>
                  <a:lnTo>
                    <a:pt x="19097" y="10746"/>
                  </a:lnTo>
                  <a:lnTo>
                    <a:pt x="6254" y="10746"/>
                  </a:lnTo>
                  <a:lnTo>
                    <a:pt x="6329" y="10097"/>
                  </a:lnTo>
                  <a:lnTo>
                    <a:pt x="6663" y="8890"/>
                  </a:lnTo>
                  <a:lnTo>
                    <a:pt x="7201" y="7795"/>
                  </a:lnTo>
                  <a:lnTo>
                    <a:pt x="7962" y="6830"/>
                  </a:lnTo>
                  <a:lnTo>
                    <a:pt x="8426" y="6403"/>
                  </a:lnTo>
                  <a:lnTo>
                    <a:pt x="8927" y="5995"/>
                  </a:lnTo>
                  <a:lnTo>
                    <a:pt x="10003" y="5346"/>
                  </a:lnTo>
                  <a:lnTo>
                    <a:pt x="11210" y="4937"/>
                  </a:lnTo>
                  <a:lnTo>
                    <a:pt x="12509" y="4715"/>
                  </a:lnTo>
                  <a:lnTo>
                    <a:pt x="13195" y="4696"/>
                  </a:lnTo>
                  <a:close/>
                  <a:moveTo>
                    <a:pt x="13251" y="1"/>
                  </a:moveTo>
                  <a:lnTo>
                    <a:pt x="12546" y="19"/>
                  </a:lnTo>
                  <a:lnTo>
                    <a:pt x="11191" y="131"/>
                  </a:lnTo>
                  <a:lnTo>
                    <a:pt x="9873" y="372"/>
                  </a:lnTo>
                  <a:lnTo>
                    <a:pt x="8611" y="743"/>
                  </a:lnTo>
                  <a:lnTo>
                    <a:pt x="8018" y="966"/>
                  </a:lnTo>
                  <a:lnTo>
                    <a:pt x="7405" y="1226"/>
                  </a:lnTo>
                  <a:lnTo>
                    <a:pt x="6273" y="1801"/>
                  </a:lnTo>
                  <a:lnTo>
                    <a:pt x="5234" y="2469"/>
                  </a:lnTo>
                  <a:lnTo>
                    <a:pt x="4269" y="3248"/>
                  </a:lnTo>
                  <a:lnTo>
                    <a:pt x="3805" y="3675"/>
                  </a:lnTo>
                  <a:lnTo>
                    <a:pt x="3378" y="4121"/>
                  </a:lnTo>
                  <a:lnTo>
                    <a:pt x="2580" y="5086"/>
                  </a:lnTo>
                  <a:lnTo>
                    <a:pt x="1875" y="6144"/>
                  </a:lnTo>
                  <a:lnTo>
                    <a:pt x="1281" y="7294"/>
                  </a:lnTo>
                  <a:lnTo>
                    <a:pt x="1021" y="7907"/>
                  </a:lnTo>
                  <a:lnTo>
                    <a:pt x="780" y="8538"/>
                  </a:lnTo>
                  <a:lnTo>
                    <a:pt x="390" y="9837"/>
                  </a:lnTo>
                  <a:lnTo>
                    <a:pt x="130" y="11210"/>
                  </a:lnTo>
                  <a:lnTo>
                    <a:pt x="19" y="12658"/>
                  </a:lnTo>
                  <a:lnTo>
                    <a:pt x="0" y="13400"/>
                  </a:lnTo>
                  <a:lnTo>
                    <a:pt x="19" y="14161"/>
                  </a:lnTo>
                  <a:lnTo>
                    <a:pt x="130" y="15609"/>
                  </a:lnTo>
                  <a:lnTo>
                    <a:pt x="390" y="17000"/>
                  </a:lnTo>
                  <a:lnTo>
                    <a:pt x="780" y="18300"/>
                  </a:lnTo>
                  <a:lnTo>
                    <a:pt x="1021" y="18912"/>
                  </a:lnTo>
                  <a:lnTo>
                    <a:pt x="1281" y="19506"/>
                  </a:lnTo>
                  <a:lnTo>
                    <a:pt x="1893" y="20619"/>
                  </a:lnTo>
                  <a:lnTo>
                    <a:pt x="2598" y="21659"/>
                  </a:lnTo>
                  <a:lnTo>
                    <a:pt x="3396" y="22587"/>
                  </a:lnTo>
                  <a:lnTo>
                    <a:pt x="3842" y="23013"/>
                  </a:lnTo>
                  <a:lnTo>
                    <a:pt x="4287" y="23422"/>
                  </a:lnTo>
                  <a:lnTo>
                    <a:pt x="5271" y="24146"/>
                  </a:lnTo>
                  <a:lnTo>
                    <a:pt x="6329" y="24795"/>
                  </a:lnTo>
                  <a:lnTo>
                    <a:pt x="7479" y="25352"/>
                  </a:lnTo>
                  <a:lnTo>
                    <a:pt x="8092" y="25593"/>
                  </a:lnTo>
                  <a:lnTo>
                    <a:pt x="8704" y="25797"/>
                  </a:lnTo>
                  <a:lnTo>
                    <a:pt x="9985" y="26150"/>
                  </a:lnTo>
                  <a:lnTo>
                    <a:pt x="11340" y="26373"/>
                  </a:lnTo>
                  <a:lnTo>
                    <a:pt x="12731" y="26484"/>
                  </a:lnTo>
                  <a:lnTo>
                    <a:pt x="13455" y="26503"/>
                  </a:lnTo>
                  <a:lnTo>
                    <a:pt x="14216" y="26484"/>
                  </a:lnTo>
                  <a:lnTo>
                    <a:pt x="15682" y="26373"/>
                  </a:lnTo>
                  <a:lnTo>
                    <a:pt x="17074" y="26131"/>
                  </a:lnTo>
                  <a:lnTo>
                    <a:pt x="18373" y="25760"/>
                  </a:lnTo>
                  <a:lnTo>
                    <a:pt x="19598" y="25296"/>
                  </a:lnTo>
                  <a:lnTo>
                    <a:pt x="20730" y="24684"/>
                  </a:lnTo>
                  <a:lnTo>
                    <a:pt x="21788" y="23960"/>
                  </a:lnTo>
                  <a:lnTo>
                    <a:pt x="22772" y="23125"/>
                  </a:lnTo>
                  <a:lnTo>
                    <a:pt x="23236" y="22661"/>
                  </a:lnTo>
                  <a:lnTo>
                    <a:pt x="23421" y="22420"/>
                  </a:lnTo>
                  <a:lnTo>
                    <a:pt x="23607" y="21863"/>
                  </a:lnTo>
                  <a:lnTo>
                    <a:pt x="23551" y="21288"/>
                  </a:lnTo>
                  <a:lnTo>
                    <a:pt x="23273" y="20768"/>
                  </a:lnTo>
                  <a:lnTo>
                    <a:pt x="23050" y="20564"/>
                  </a:lnTo>
                  <a:lnTo>
                    <a:pt x="21139" y="19042"/>
                  </a:lnTo>
                  <a:lnTo>
                    <a:pt x="20916" y="18875"/>
                  </a:lnTo>
                  <a:lnTo>
                    <a:pt x="20415" y="18726"/>
                  </a:lnTo>
                  <a:lnTo>
                    <a:pt x="19914" y="18745"/>
                  </a:lnTo>
                  <a:lnTo>
                    <a:pt x="19431" y="18949"/>
                  </a:lnTo>
                  <a:lnTo>
                    <a:pt x="19227" y="19135"/>
                  </a:lnTo>
                  <a:lnTo>
                    <a:pt x="18819" y="19543"/>
                  </a:lnTo>
                  <a:lnTo>
                    <a:pt x="17891" y="20230"/>
                  </a:lnTo>
                  <a:lnTo>
                    <a:pt x="17371" y="20527"/>
                  </a:lnTo>
                  <a:lnTo>
                    <a:pt x="16963" y="20731"/>
                  </a:lnTo>
                  <a:lnTo>
                    <a:pt x="16053" y="21046"/>
                  </a:lnTo>
                  <a:lnTo>
                    <a:pt x="15070" y="21269"/>
                  </a:lnTo>
                  <a:lnTo>
                    <a:pt x="13993" y="21380"/>
                  </a:lnTo>
                  <a:lnTo>
                    <a:pt x="13400" y="21380"/>
                  </a:lnTo>
                  <a:lnTo>
                    <a:pt x="12731" y="21362"/>
                  </a:lnTo>
                  <a:lnTo>
                    <a:pt x="11432" y="21120"/>
                  </a:lnTo>
                  <a:lnTo>
                    <a:pt x="10801" y="20916"/>
                  </a:lnTo>
                  <a:lnTo>
                    <a:pt x="10189" y="20657"/>
                  </a:lnTo>
                  <a:lnTo>
                    <a:pt x="9057" y="20026"/>
                  </a:lnTo>
                  <a:lnTo>
                    <a:pt x="8556" y="19636"/>
                  </a:lnTo>
                  <a:lnTo>
                    <a:pt x="8073" y="19209"/>
                  </a:lnTo>
                  <a:lnTo>
                    <a:pt x="7275" y="18244"/>
                  </a:lnTo>
                  <a:lnTo>
                    <a:pt x="6960" y="17706"/>
                  </a:lnTo>
                  <a:lnTo>
                    <a:pt x="6681" y="17130"/>
                  </a:lnTo>
                  <a:lnTo>
                    <a:pt x="6329" y="15905"/>
                  </a:lnTo>
                  <a:lnTo>
                    <a:pt x="6254" y="15237"/>
                  </a:lnTo>
                  <a:lnTo>
                    <a:pt x="23904" y="15237"/>
                  </a:lnTo>
                  <a:lnTo>
                    <a:pt x="24201" y="15200"/>
                  </a:lnTo>
                  <a:lnTo>
                    <a:pt x="24702" y="14996"/>
                  </a:lnTo>
                  <a:lnTo>
                    <a:pt x="25110" y="14606"/>
                  </a:lnTo>
                  <a:lnTo>
                    <a:pt x="25333" y="14087"/>
                  </a:lnTo>
                  <a:lnTo>
                    <a:pt x="25351" y="13790"/>
                  </a:lnTo>
                  <a:lnTo>
                    <a:pt x="25351" y="13567"/>
                  </a:lnTo>
                  <a:lnTo>
                    <a:pt x="25333" y="12713"/>
                  </a:lnTo>
                  <a:lnTo>
                    <a:pt x="25222" y="11136"/>
                  </a:lnTo>
                  <a:lnTo>
                    <a:pt x="24999" y="9651"/>
                  </a:lnTo>
                  <a:lnTo>
                    <a:pt x="24665" y="8278"/>
                  </a:lnTo>
                  <a:lnTo>
                    <a:pt x="24442" y="7647"/>
                  </a:lnTo>
                  <a:lnTo>
                    <a:pt x="24201" y="7016"/>
                  </a:lnTo>
                  <a:lnTo>
                    <a:pt x="23663" y="5847"/>
                  </a:lnTo>
                  <a:lnTo>
                    <a:pt x="23032" y="4807"/>
                  </a:lnTo>
                  <a:lnTo>
                    <a:pt x="22308" y="3842"/>
                  </a:lnTo>
                  <a:lnTo>
                    <a:pt x="21900" y="3415"/>
                  </a:lnTo>
                  <a:lnTo>
                    <a:pt x="21918" y="3415"/>
                  </a:lnTo>
                  <a:lnTo>
                    <a:pt x="21491" y="3007"/>
                  </a:lnTo>
                  <a:lnTo>
                    <a:pt x="20619" y="2265"/>
                  </a:lnTo>
                  <a:lnTo>
                    <a:pt x="19654" y="1615"/>
                  </a:lnTo>
                  <a:lnTo>
                    <a:pt x="18633" y="1096"/>
                  </a:lnTo>
                  <a:lnTo>
                    <a:pt x="18076" y="873"/>
                  </a:lnTo>
                  <a:lnTo>
                    <a:pt x="17520" y="650"/>
                  </a:lnTo>
                  <a:lnTo>
                    <a:pt x="16369" y="335"/>
                  </a:lnTo>
                  <a:lnTo>
                    <a:pt x="15163" y="112"/>
                  </a:lnTo>
                  <a:lnTo>
                    <a:pt x="13901" y="19"/>
                  </a:lnTo>
                  <a:lnTo>
                    <a:pt x="13251" y="1"/>
                  </a:lnTo>
                  <a:close/>
                </a:path>
              </a:pathLst>
            </a:custGeom>
            <a:solidFill>
              <a:srgbClr val="F3F3E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365" name="Google Shape;365;p22"/>
            <p:cNvSpPr/>
            <p:nvPr/>
          </p:nvSpPr>
          <p:spPr>
            <a:xfrm>
              <a:off x="237650" y="2349675"/>
              <a:ext cx="1219800" cy="1015625"/>
            </a:xfrm>
            <a:custGeom>
              <a:avLst/>
              <a:gdLst/>
              <a:ahLst/>
              <a:cxnLst/>
              <a:rect l="l" t="t" r="r" b="b"/>
              <a:pathLst>
                <a:path w="48792" h="40625" extrusionOk="0">
                  <a:moveTo>
                    <a:pt x="11915" y="0"/>
                  </a:moveTo>
                  <a:lnTo>
                    <a:pt x="10746" y="93"/>
                  </a:lnTo>
                  <a:lnTo>
                    <a:pt x="9614" y="297"/>
                  </a:lnTo>
                  <a:lnTo>
                    <a:pt x="8500" y="612"/>
                  </a:lnTo>
                  <a:lnTo>
                    <a:pt x="7443" y="1039"/>
                  </a:lnTo>
                  <a:lnTo>
                    <a:pt x="6422" y="1559"/>
                  </a:lnTo>
                  <a:lnTo>
                    <a:pt x="5457" y="2171"/>
                  </a:lnTo>
                  <a:lnTo>
                    <a:pt x="4547" y="2858"/>
                  </a:lnTo>
                  <a:lnTo>
                    <a:pt x="3712" y="3638"/>
                  </a:lnTo>
                  <a:lnTo>
                    <a:pt x="2933" y="4491"/>
                  </a:lnTo>
                  <a:lnTo>
                    <a:pt x="2246" y="5419"/>
                  </a:lnTo>
                  <a:lnTo>
                    <a:pt x="1634" y="6403"/>
                  </a:lnTo>
                  <a:lnTo>
                    <a:pt x="1114" y="7442"/>
                  </a:lnTo>
                  <a:lnTo>
                    <a:pt x="687" y="8556"/>
                  </a:lnTo>
                  <a:lnTo>
                    <a:pt x="372" y="9688"/>
                  </a:lnTo>
                  <a:lnTo>
                    <a:pt x="149" y="10875"/>
                  </a:lnTo>
                  <a:lnTo>
                    <a:pt x="75" y="11488"/>
                  </a:lnTo>
                  <a:lnTo>
                    <a:pt x="0" y="12583"/>
                  </a:lnTo>
                  <a:lnTo>
                    <a:pt x="130" y="14736"/>
                  </a:lnTo>
                  <a:lnTo>
                    <a:pt x="539" y="16870"/>
                  </a:lnTo>
                  <a:lnTo>
                    <a:pt x="1225" y="18967"/>
                  </a:lnTo>
                  <a:lnTo>
                    <a:pt x="2116" y="21008"/>
                  </a:lnTo>
                  <a:lnTo>
                    <a:pt x="3230" y="23013"/>
                  </a:lnTo>
                  <a:lnTo>
                    <a:pt x="4510" y="24961"/>
                  </a:lnTo>
                  <a:lnTo>
                    <a:pt x="5921" y="26836"/>
                  </a:lnTo>
                  <a:lnTo>
                    <a:pt x="7461" y="28636"/>
                  </a:lnTo>
                  <a:lnTo>
                    <a:pt x="9076" y="30362"/>
                  </a:lnTo>
                  <a:lnTo>
                    <a:pt x="11600" y="32793"/>
                  </a:lnTo>
                  <a:lnTo>
                    <a:pt x="14996" y="35688"/>
                  </a:lnTo>
                  <a:lnTo>
                    <a:pt x="18188" y="38120"/>
                  </a:lnTo>
                  <a:lnTo>
                    <a:pt x="19617" y="39140"/>
                  </a:lnTo>
                  <a:lnTo>
                    <a:pt x="20155" y="39493"/>
                  </a:lnTo>
                  <a:lnTo>
                    <a:pt x="21325" y="40050"/>
                  </a:lnTo>
                  <a:lnTo>
                    <a:pt x="22531" y="40439"/>
                  </a:lnTo>
                  <a:lnTo>
                    <a:pt x="23774" y="40625"/>
                  </a:lnTo>
                  <a:lnTo>
                    <a:pt x="25036" y="40625"/>
                  </a:lnTo>
                  <a:lnTo>
                    <a:pt x="26280" y="40439"/>
                  </a:lnTo>
                  <a:lnTo>
                    <a:pt x="27486" y="40050"/>
                  </a:lnTo>
                  <a:lnTo>
                    <a:pt x="28637" y="39493"/>
                  </a:lnTo>
                  <a:lnTo>
                    <a:pt x="29193" y="39140"/>
                  </a:lnTo>
                  <a:lnTo>
                    <a:pt x="30567" y="38157"/>
                  </a:lnTo>
                  <a:lnTo>
                    <a:pt x="33648" y="35818"/>
                  </a:lnTo>
                  <a:lnTo>
                    <a:pt x="36914" y="33053"/>
                  </a:lnTo>
                  <a:lnTo>
                    <a:pt x="39364" y="30733"/>
                  </a:lnTo>
                  <a:lnTo>
                    <a:pt x="40941" y="29081"/>
                  </a:lnTo>
                  <a:lnTo>
                    <a:pt x="42444" y="27356"/>
                  </a:lnTo>
                  <a:lnTo>
                    <a:pt x="43855" y="25555"/>
                  </a:lnTo>
                  <a:lnTo>
                    <a:pt x="45135" y="23699"/>
                  </a:lnTo>
                  <a:lnTo>
                    <a:pt x="46268" y="21788"/>
                  </a:lnTo>
                  <a:lnTo>
                    <a:pt x="47233" y="19839"/>
                  </a:lnTo>
                  <a:lnTo>
                    <a:pt x="47994" y="17835"/>
                  </a:lnTo>
                  <a:lnTo>
                    <a:pt x="48513" y="15793"/>
                  </a:lnTo>
                  <a:lnTo>
                    <a:pt x="48773" y="13715"/>
                  </a:lnTo>
                  <a:lnTo>
                    <a:pt x="48792" y="12676"/>
                  </a:lnTo>
                  <a:lnTo>
                    <a:pt x="48773" y="12082"/>
                  </a:lnTo>
                  <a:lnTo>
                    <a:pt x="48736" y="11488"/>
                  </a:lnTo>
                  <a:lnTo>
                    <a:pt x="48662" y="10820"/>
                  </a:lnTo>
                  <a:lnTo>
                    <a:pt x="48272" y="9224"/>
                  </a:lnTo>
                  <a:lnTo>
                    <a:pt x="47845" y="8017"/>
                  </a:lnTo>
                  <a:lnTo>
                    <a:pt x="47270" y="6830"/>
                  </a:lnTo>
                  <a:lnTo>
                    <a:pt x="46509" y="5753"/>
                  </a:lnTo>
                  <a:lnTo>
                    <a:pt x="45785" y="5104"/>
                  </a:lnTo>
                  <a:lnTo>
                    <a:pt x="45247" y="4788"/>
                  </a:lnTo>
                  <a:lnTo>
                    <a:pt x="44653" y="4547"/>
                  </a:lnTo>
                  <a:lnTo>
                    <a:pt x="44003" y="4417"/>
                  </a:lnTo>
                  <a:lnTo>
                    <a:pt x="43242" y="4417"/>
                  </a:lnTo>
                  <a:lnTo>
                    <a:pt x="42444" y="4565"/>
                  </a:lnTo>
                  <a:lnTo>
                    <a:pt x="41684" y="4881"/>
                  </a:lnTo>
                  <a:lnTo>
                    <a:pt x="40997" y="5345"/>
                  </a:lnTo>
                  <a:lnTo>
                    <a:pt x="40681" y="5642"/>
                  </a:lnTo>
                  <a:lnTo>
                    <a:pt x="27616" y="18707"/>
                  </a:lnTo>
                  <a:lnTo>
                    <a:pt x="27393" y="18930"/>
                  </a:lnTo>
                  <a:lnTo>
                    <a:pt x="27059" y="19450"/>
                  </a:lnTo>
                  <a:lnTo>
                    <a:pt x="26836" y="20006"/>
                  </a:lnTo>
                  <a:lnTo>
                    <a:pt x="26725" y="20582"/>
                  </a:lnTo>
                  <a:lnTo>
                    <a:pt x="26725" y="21175"/>
                  </a:lnTo>
                  <a:lnTo>
                    <a:pt x="26836" y="21751"/>
                  </a:lnTo>
                  <a:lnTo>
                    <a:pt x="27059" y="22308"/>
                  </a:lnTo>
                  <a:lnTo>
                    <a:pt x="27393" y="22809"/>
                  </a:lnTo>
                  <a:lnTo>
                    <a:pt x="27616" y="23050"/>
                  </a:lnTo>
                  <a:lnTo>
                    <a:pt x="27839" y="23254"/>
                  </a:lnTo>
                  <a:lnTo>
                    <a:pt x="28358" y="23607"/>
                  </a:lnTo>
                  <a:lnTo>
                    <a:pt x="28915" y="23829"/>
                  </a:lnTo>
                  <a:lnTo>
                    <a:pt x="29490" y="23941"/>
                  </a:lnTo>
                  <a:lnTo>
                    <a:pt x="30084" y="23941"/>
                  </a:lnTo>
                  <a:lnTo>
                    <a:pt x="30660" y="23829"/>
                  </a:lnTo>
                  <a:lnTo>
                    <a:pt x="31216" y="23607"/>
                  </a:lnTo>
                  <a:lnTo>
                    <a:pt x="31717" y="23254"/>
                  </a:lnTo>
                  <a:lnTo>
                    <a:pt x="31959" y="23050"/>
                  </a:lnTo>
                  <a:lnTo>
                    <a:pt x="43075" y="11933"/>
                  </a:lnTo>
                  <a:lnTo>
                    <a:pt x="43168" y="11840"/>
                  </a:lnTo>
                  <a:lnTo>
                    <a:pt x="43410" y="11748"/>
                  </a:lnTo>
                  <a:lnTo>
                    <a:pt x="43651" y="11748"/>
                  </a:lnTo>
                  <a:lnTo>
                    <a:pt x="43873" y="11840"/>
                  </a:lnTo>
                  <a:lnTo>
                    <a:pt x="43966" y="11933"/>
                  </a:lnTo>
                  <a:lnTo>
                    <a:pt x="44727" y="12694"/>
                  </a:lnTo>
                  <a:lnTo>
                    <a:pt x="44820" y="12787"/>
                  </a:lnTo>
                  <a:lnTo>
                    <a:pt x="44913" y="13010"/>
                  </a:lnTo>
                  <a:lnTo>
                    <a:pt x="44913" y="13269"/>
                  </a:lnTo>
                  <a:lnTo>
                    <a:pt x="44820" y="13492"/>
                  </a:lnTo>
                  <a:lnTo>
                    <a:pt x="44727" y="13585"/>
                  </a:lnTo>
                  <a:lnTo>
                    <a:pt x="33703" y="24627"/>
                  </a:lnTo>
                  <a:lnTo>
                    <a:pt x="33314" y="24999"/>
                  </a:lnTo>
                  <a:lnTo>
                    <a:pt x="32441" y="25592"/>
                  </a:lnTo>
                  <a:lnTo>
                    <a:pt x="31476" y="26019"/>
                  </a:lnTo>
                  <a:lnTo>
                    <a:pt x="30455" y="26261"/>
                  </a:lnTo>
                  <a:lnTo>
                    <a:pt x="29936" y="26298"/>
                  </a:lnTo>
                  <a:lnTo>
                    <a:pt x="29360" y="26298"/>
                  </a:lnTo>
                  <a:lnTo>
                    <a:pt x="28247" y="26094"/>
                  </a:lnTo>
                  <a:lnTo>
                    <a:pt x="27208" y="25667"/>
                  </a:lnTo>
                  <a:lnTo>
                    <a:pt x="26280" y="25017"/>
                  </a:lnTo>
                  <a:lnTo>
                    <a:pt x="25871" y="24627"/>
                  </a:lnTo>
                  <a:lnTo>
                    <a:pt x="25500" y="24201"/>
                  </a:lnTo>
                  <a:lnTo>
                    <a:pt x="24925" y="23291"/>
                  </a:lnTo>
                  <a:lnTo>
                    <a:pt x="24572" y="22326"/>
                  </a:lnTo>
                  <a:lnTo>
                    <a:pt x="24405" y="21287"/>
                  </a:lnTo>
                  <a:lnTo>
                    <a:pt x="24424" y="20248"/>
                  </a:lnTo>
                  <a:lnTo>
                    <a:pt x="24647" y="19227"/>
                  </a:lnTo>
                  <a:lnTo>
                    <a:pt x="25055" y="18262"/>
                  </a:lnTo>
                  <a:lnTo>
                    <a:pt x="25649" y="17352"/>
                  </a:lnTo>
                  <a:lnTo>
                    <a:pt x="26038" y="16963"/>
                  </a:lnTo>
                  <a:lnTo>
                    <a:pt x="33351" y="9651"/>
                  </a:lnTo>
                  <a:lnTo>
                    <a:pt x="39011" y="3972"/>
                  </a:lnTo>
                  <a:lnTo>
                    <a:pt x="39456" y="3563"/>
                  </a:lnTo>
                  <a:lnTo>
                    <a:pt x="40422" y="2895"/>
                  </a:lnTo>
                  <a:lnTo>
                    <a:pt x="41479" y="2413"/>
                  </a:lnTo>
                  <a:lnTo>
                    <a:pt x="42611" y="2134"/>
                  </a:lnTo>
                  <a:lnTo>
                    <a:pt x="43205" y="2079"/>
                  </a:lnTo>
                  <a:lnTo>
                    <a:pt x="42444" y="1577"/>
                  </a:lnTo>
                  <a:lnTo>
                    <a:pt x="40811" y="798"/>
                  </a:lnTo>
                  <a:lnTo>
                    <a:pt x="39067" y="260"/>
                  </a:lnTo>
                  <a:lnTo>
                    <a:pt x="37229" y="0"/>
                  </a:lnTo>
                  <a:lnTo>
                    <a:pt x="36283" y="0"/>
                  </a:lnTo>
                  <a:lnTo>
                    <a:pt x="35299" y="56"/>
                  </a:lnTo>
                  <a:lnTo>
                    <a:pt x="33425" y="371"/>
                  </a:lnTo>
                  <a:lnTo>
                    <a:pt x="31643" y="965"/>
                  </a:lnTo>
                  <a:lnTo>
                    <a:pt x="29991" y="1819"/>
                  </a:lnTo>
                  <a:lnTo>
                    <a:pt x="28507" y="2877"/>
                  </a:lnTo>
                  <a:lnTo>
                    <a:pt x="27171" y="4157"/>
                  </a:lnTo>
                  <a:lnTo>
                    <a:pt x="26057" y="5623"/>
                  </a:lnTo>
                  <a:lnTo>
                    <a:pt x="25129" y="7256"/>
                  </a:lnTo>
                  <a:lnTo>
                    <a:pt x="24776" y="8147"/>
                  </a:lnTo>
                  <a:lnTo>
                    <a:pt x="24721" y="8259"/>
                  </a:lnTo>
                  <a:lnTo>
                    <a:pt x="24517" y="8389"/>
                  </a:lnTo>
                  <a:lnTo>
                    <a:pt x="24294" y="8389"/>
                  </a:lnTo>
                  <a:lnTo>
                    <a:pt x="24090" y="8259"/>
                  </a:lnTo>
                  <a:lnTo>
                    <a:pt x="24034" y="8147"/>
                  </a:lnTo>
                  <a:lnTo>
                    <a:pt x="23663" y="7256"/>
                  </a:lnTo>
                  <a:lnTo>
                    <a:pt x="22754" y="5623"/>
                  </a:lnTo>
                  <a:lnTo>
                    <a:pt x="21640" y="4157"/>
                  </a:lnTo>
                  <a:lnTo>
                    <a:pt x="20304" y="2877"/>
                  </a:lnTo>
                  <a:lnTo>
                    <a:pt x="18819" y="1819"/>
                  </a:lnTo>
                  <a:lnTo>
                    <a:pt x="17167" y="965"/>
                  </a:lnTo>
                  <a:lnTo>
                    <a:pt x="15386" y="371"/>
                  </a:lnTo>
                  <a:lnTo>
                    <a:pt x="13493" y="56"/>
                  </a:lnTo>
                  <a:lnTo>
                    <a:pt x="12528" y="0"/>
                  </a:lnTo>
                  <a:close/>
                </a:path>
              </a:pathLst>
            </a:custGeom>
            <a:solidFill>
              <a:srgbClr val="F3F3E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</p:grpSp>
    </p:spTree>
    <p:extLst>
      <p:ext uri="{BB962C8B-B14F-4D97-AF65-F5344CB8AC3E}">
        <p14:creationId xmlns:p14="http://schemas.microsoft.com/office/powerpoint/2010/main" val="70706253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am 4 or C-Level or Advisors of Note">
  <p:cSld name="Team 4 or C-Level or Advisors of Note">
    <p:bg>
      <p:bgPr>
        <a:solidFill>
          <a:schemeClr val="lt2"/>
        </a:solidFill>
        <a:effectLst/>
      </p:bgPr>
    </p:bg>
    <p:spTree>
      <p:nvGrpSpPr>
        <p:cNvPr id="1" name="Shape 3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7" name="Google Shape;367;p23"/>
          <p:cNvSpPr txBox="1">
            <a:spLocks noGrp="1"/>
          </p:cNvSpPr>
          <p:nvPr>
            <p:ph type="body" idx="1"/>
          </p:nvPr>
        </p:nvSpPr>
        <p:spPr>
          <a:xfrm>
            <a:off x="9166530" y="4908467"/>
            <a:ext cx="2650500" cy="141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04800" algn="ctr" rtl="0">
              <a:spcBef>
                <a:spcPts val="0"/>
              </a:spcBef>
              <a:spcAft>
                <a:spcPts val="0"/>
              </a:spcAft>
              <a:buSzPts val="1200"/>
              <a:buChar char="•"/>
              <a:defRPr sz="1200"/>
            </a:lvl1pPr>
            <a:lvl2pPr marL="914400" lvl="1" indent="-304800" algn="ctr" rtl="0">
              <a:spcBef>
                <a:spcPts val="13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ctr" rtl="0">
              <a:spcBef>
                <a:spcPts val="1300"/>
              </a:spcBef>
              <a:spcAft>
                <a:spcPts val="0"/>
              </a:spcAft>
              <a:buSzPts val="1200"/>
              <a:buChar char="•"/>
              <a:defRPr sz="1200"/>
            </a:lvl3pPr>
            <a:lvl4pPr marL="1828800" lvl="3" indent="-304800" algn="ctr" rtl="0">
              <a:spcBef>
                <a:spcPts val="1300"/>
              </a:spcBef>
              <a:spcAft>
                <a:spcPts val="0"/>
              </a:spcAft>
              <a:buSzPts val="1200"/>
              <a:buChar char="◦"/>
              <a:defRPr sz="1200"/>
            </a:lvl4pPr>
            <a:lvl5pPr marL="2286000" lvl="4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/>
            </a:lvl5pPr>
            <a:lvl6pPr marL="2743200" lvl="5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/>
            </a:lvl6pPr>
            <a:lvl7pPr marL="3200400" lvl="6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/>
            </a:lvl7pPr>
            <a:lvl8pPr marL="3657600" lvl="7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 algn="ctr" rtl="0">
              <a:spcBef>
                <a:spcPts val="1300"/>
              </a:spcBef>
              <a:spcAft>
                <a:spcPts val="1300"/>
              </a:spcAft>
              <a:buSzPts val="1100"/>
              <a:buChar char="•"/>
              <a:defRPr/>
            </a:lvl9pPr>
          </a:lstStyle>
          <a:p>
            <a:endParaRPr/>
          </a:p>
        </p:txBody>
      </p:sp>
      <p:sp>
        <p:nvSpPr>
          <p:cNvPr id="368" name="Google Shape;368;p23"/>
          <p:cNvSpPr/>
          <p:nvPr/>
        </p:nvSpPr>
        <p:spPr>
          <a:xfrm>
            <a:off x="-11400" y="0"/>
            <a:ext cx="12214800" cy="3168072"/>
          </a:xfrm>
          <a:prstGeom prst="flowChartDocument">
            <a:avLst/>
          </a:prstGeom>
          <a:solidFill>
            <a:srgbClr val="F7224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9" name="Google Shape;369;p23"/>
          <p:cNvSpPr txBox="1">
            <a:spLocks noGrp="1"/>
          </p:cNvSpPr>
          <p:nvPr>
            <p:ph type="title"/>
          </p:nvPr>
        </p:nvSpPr>
        <p:spPr>
          <a:xfrm>
            <a:off x="606400" y="416600"/>
            <a:ext cx="10979100" cy="3861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>
                <a:solidFill>
                  <a:schemeClr val="lt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>
                <a:solidFill>
                  <a:schemeClr val="lt2"/>
                </a:solidFill>
                <a:latin typeface="Lato"/>
                <a:ea typeface="Lato"/>
                <a:cs typeface="Lato"/>
                <a:sym typeface="La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>
                <a:solidFill>
                  <a:schemeClr val="lt2"/>
                </a:solidFill>
                <a:latin typeface="Lato"/>
                <a:ea typeface="Lato"/>
                <a:cs typeface="Lato"/>
                <a:sym typeface="La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>
                <a:solidFill>
                  <a:schemeClr val="lt2"/>
                </a:solidFill>
                <a:latin typeface="Lato"/>
                <a:ea typeface="Lato"/>
                <a:cs typeface="Lato"/>
                <a:sym typeface="La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>
                <a:solidFill>
                  <a:schemeClr val="lt2"/>
                </a:solidFill>
                <a:latin typeface="Lato"/>
                <a:ea typeface="Lato"/>
                <a:cs typeface="Lato"/>
                <a:sym typeface="La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>
                <a:solidFill>
                  <a:schemeClr val="lt2"/>
                </a:solidFill>
                <a:latin typeface="Lato"/>
                <a:ea typeface="Lato"/>
                <a:cs typeface="Lato"/>
                <a:sym typeface="La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>
                <a:solidFill>
                  <a:schemeClr val="lt2"/>
                </a:solidFill>
                <a:latin typeface="Lato"/>
                <a:ea typeface="Lato"/>
                <a:cs typeface="Lato"/>
                <a:sym typeface="La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>
                <a:solidFill>
                  <a:schemeClr val="lt2"/>
                </a:solidFill>
                <a:latin typeface="Lato"/>
                <a:ea typeface="Lato"/>
                <a:cs typeface="Lato"/>
                <a:sym typeface="La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>
                <a:solidFill>
                  <a:schemeClr val="lt2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370" name="Google Shape;370;p23"/>
          <p:cNvSpPr txBox="1">
            <a:spLocks noGrp="1"/>
          </p:cNvSpPr>
          <p:nvPr>
            <p:ph type="subTitle" idx="2"/>
          </p:nvPr>
        </p:nvSpPr>
        <p:spPr>
          <a:xfrm>
            <a:off x="619267" y="849533"/>
            <a:ext cx="10979100" cy="29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None/>
              <a:defRPr sz="1300">
                <a:solidFill>
                  <a:schemeClr val="lt2"/>
                </a:solidFill>
              </a:defRPr>
            </a:lvl1pPr>
            <a:lvl2pPr lvl="1" rtl="0">
              <a:spcBef>
                <a:spcPts val="1300"/>
              </a:spcBef>
              <a:spcAft>
                <a:spcPts val="0"/>
              </a:spcAft>
              <a:buSzPts val="1200"/>
              <a:buNone/>
              <a:defRPr/>
            </a:lvl2pPr>
            <a:lvl3pPr lvl="2" rtl="0">
              <a:spcBef>
                <a:spcPts val="130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130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130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130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130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130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1300"/>
              </a:spcBef>
              <a:spcAft>
                <a:spcPts val="130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371" name="Google Shape;371;p23"/>
          <p:cNvSpPr txBox="1">
            <a:spLocks noGrp="1"/>
          </p:cNvSpPr>
          <p:nvPr>
            <p:ph type="body" idx="3"/>
          </p:nvPr>
        </p:nvSpPr>
        <p:spPr>
          <a:xfrm>
            <a:off x="595983" y="4181933"/>
            <a:ext cx="2289600" cy="29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3020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1pPr>
            <a:lvl2pPr marL="914400" lvl="1" indent="-3048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  <a:defRPr b="1">
                <a:solidFill>
                  <a:schemeClr val="dk1"/>
                </a:solidFill>
              </a:defRPr>
            </a:lvl2pPr>
            <a:lvl3pPr marL="1371600" lvl="2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3pPr>
            <a:lvl4pPr marL="1828800" lvl="3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◦"/>
              <a:defRPr sz="1600" b="1">
                <a:solidFill>
                  <a:schemeClr val="dk1"/>
                </a:solidFill>
              </a:defRPr>
            </a:lvl4pPr>
            <a:lvl5pPr marL="2286000" lvl="4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5pPr>
            <a:lvl6pPr marL="2743200" lvl="5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◦"/>
              <a:defRPr sz="1600" b="1">
                <a:solidFill>
                  <a:schemeClr val="dk1"/>
                </a:solidFill>
              </a:defRPr>
            </a:lvl6pPr>
            <a:lvl7pPr marL="3200400" lvl="6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7pPr>
            <a:lvl8pPr marL="3657600" lvl="7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○"/>
              <a:defRPr sz="1600" b="1">
                <a:solidFill>
                  <a:schemeClr val="dk1"/>
                </a:solidFill>
              </a:defRPr>
            </a:lvl8pPr>
            <a:lvl9pPr marL="4114800" lvl="8" indent="-330200" algn="ctr" rtl="0">
              <a:spcBef>
                <a:spcPts val="1300"/>
              </a:spcBef>
              <a:spcAft>
                <a:spcPts val="130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372" name="Google Shape;372;p23"/>
          <p:cNvSpPr>
            <a:spLocks noGrp="1"/>
          </p:cNvSpPr>
          <p:nvPr>
            <p:ph type="pic" idx="4"/>
          </p:nvPr>
        </p:nvSpPr>
        <p:spPr>
          <a:xfrm>
            <a:off x="644583" y="1817367"/>
            <a:ext cx="2192400" cy="2192400"/>
          </a:xfrm>
          <a:prstGeom prst="ellipse">
            <a:avLst/>
          </a:prstGeom>
          <a:noFill/>
          <a:ln>
            <a:noFill/>
          </a:ln>
        </p:spPr>
      </p:sp>
      <p:sp>
        <p:nvSpPr>
          <p:cNvPr id="373" name="Google Shape;373;p23"/>
          <p:cNvSpPr txBox="1">
            <a:spLocks noGrp="1"/>
          </p:cNvSpPr>
          <p:nvPr>
            <p:ph type="body" idx="5"/>
          </p:nvPr>
        </p:nvSpPr>
        <p:spPr>
          <a:xfrm>
            <a:off x="604583" y="4442633"/>
            <a:ext cx="2272500" cy="29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98450" algn="ctr" rtl="0">
              <a:spcBef>
                <a:spcPts val="0"/>
              </a:spcBef>
              <a:spcAft>
                <a:spcPts val="0"/>
              </a:spcAft>
              <a:buSzPts val="1100"/>
              <a:buChar char="•"/>
              <a:defRPr sz="1100" b="1"/>
            </a:lvl1pPr>
            <a:lvl2pPr marL="914400" lvl="1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 sz="1100" b="1"/>
            </a:lvl2pPr>
            <a:lvl3pPr marL="1371600" lvl="2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 b="1"/>
            </a:lvl3pPr>
            <a:lvl4pPr marL="1828800" lvl="3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 sz="1100" b="1"/>
            </a:lvl4pPr>
            <a:lvl5pPr marL="2286000" lvl="4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 b="1"/>
            </a:lvl5pPr>
            <a:lvl6pPr marL="2743200" lvl="5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 sz="1100" b="1"/>
            </a:lvl6pPr>
            <a:lvl7pPr marL="3200400" lvl="6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 b="1"/>
            </a:lvl7pPr>
            <a:lvl8pPr marL="3657600" lvl="7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 sz="1100" b="1"/>
            </a:lvl8pPr>
            <a:lvl9pPr marL="4114800" lvl="8" indent="-298450" algn="ctr" rtl="0">
              <a:spcBef>
                <a:spcPts val="1300"/>
              </a:spcBef>
              <a:spcAft>
                <a:spcPts val="1300"/>
              </a:spcAft>
              <a:buSzPts val="1100"/>
              <a:buChar char="•"/>
              <a:defRPr sz="1100" b="1"/>
            </a:lvl9pPr>
          </a:lstStyle>
          <a:p>
            <a:endParaRPr/>
          </a:p>
        </p:txBody>
      </p:sp>
      <p:sp>
        <p:nvSpPr>
          <p:cNvPr id="374" name="Google Shape;374;p23"/>
          <p:cNvSpPr txBox="1">
            <a:spLocks noGrp="1"/>
          </p:cNvSpPr>
          <p:nvPr>
            <p:ph type="body" idx="6"/>
          </p:nvPr>
        </p:nvSpPr>
        <p:spPr>
          <a:xfrm>
            <a:off x="3503817" y="4181933"/>
            <a:ext cx="2289600" cy="29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3020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1pPr>
            <a:lvl2pPr marL="914400" lvl="1" indent="-3048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  <a:defRPr b="1">
                <a:solidFill>
                  <a:schemeClr val="dk1"/>
                </a:solidFill>
              </a:defRPr>
            </a:lvl2pPr>
            <a:lvl3pPr marL="1371600" lvl="2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3pPr>
            <a:lvl4pPr marL="1828800" lvl="3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◦"/>
              <a:defRPr sz="1600" b="1">
                <a:solidFill>
                  <a:schemeClr val="dk1"/>
                </a:solidFill>
              </a:defRPr>
            </a:lvl4pPr>
            <a:lvl5pPr marL="2286000" lvl="4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5pPr>
            <a:lvl6pPr marL="2743200" lvl="5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◦"/>
              <a:defRPr sz="1600" b="1">
                <a:solidFill>
                  <a:schemeClr val="dk1"/>
                </a:solidFill>
              </a:defRPr>
            </a:lvl6pPr>
            <a:lvl7pPr marL="3200400" lvl="6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7pPr>
            <a:lvl8pPr marL="3657600" lvl="7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○"/>
              <a:defRPr sz="1600" b="1">
                <a:solidFill>
                  <a:schemeClr val="dk1"/>
                </a:solidFill>
              </a:defRPr>
            </a:lvl8pPr>
            <a:lvl9pPr marL="4114800" lvl="8" indent="-330200" algn="ctr" rtl="0">
              <a:spcBef>
                <a:spcPts val="1300"/>
              </a:spcBef>
              <a:spcAft>
                <a:spcPts val="130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375" name="Google Shape;375;p23"/>
          <p:cNvSpPr>
            <a:spLocks noGrp="1"/>
          </p:cNvSpPr>
          <p:nvPr>
            <p:ph type="pic" idx="7"/>
          </p:nvPr>
        </p:nvSpPr>
        <p:spPr>
          <a:xfrm>
            <a:off x="3561566" y="1817367"/>
            <a:ext cx="2192400" cy="2192400"/>
          </a:xfrm>
          <a:prstGeom prst="ellipse">
            <a:avLst/>
          </a:prstGeom>
          <a:noFill/>
          <a:ln>
            <a:noFill/>
          </a:ln>
        </p:spPr>
      </p:sp>
      <p:sp>
        <p:nvSpPr>
          <p:cNvPr id="376" name="Google Shape;376;p23"/>
          <p:cNvSpPr txBox="1">
            <a:spLocks noGrp="1"/>
          </p:cNvSpPr>
          <p:nvPr>
            <p:ph type="body" idx="8"/>
          </p:nvPr>
        </p:nvSpPr>
        <p:spPr>
          <a:xfrm>
            <a:off x="3512417" y="4442633"/>
            <a:ext cx="2272500" cy="29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98450" algn="ctr" rtl="0">
              <a:spcBef>
                <a:spcPts val="0"/>
              </a:spcBef>
              <a:spcAft>
                <a:spcPts val="0"/>
              </a:spcAft>
              <a:buSzPts val="1100"/>
              <a:buChar char="•"/>
              <a:defRPr sz="1100" b="1"/>
            </a:lvl1pPr>
            <a:lvl2pPr marL="914400" lvl="1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 sz="1100" b="1"/>
            </a:lvl2pPr>
            <a:lvl3pPr marL="1371600" lvl="2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 b="1"/>
            </a:lvl3pPr>
            <a:lvl4pPr marL="1828800" lvl="3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 sz="1100" b="1"/>
            </a:lvl4pPr>
            <a:lvl5pPr marL="2286000" lvl="4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 b="1"/>
            </a:lvl5pPr>
            <a:lvl6pPr marL="2743200" lvl="5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 sz="1100" b="1"/>
            </a:lvl6pPr>
            <a:lvl7pPr marL="3200400" lvl="6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 b="1"/>
            </a:lvl7pPr>
            <a:lvl8pPr marL="3657600" lvl="7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 sz="1100" b="1"/>
            </a:lvl8pPr>
            <a:lvl9pPr marL="4114800" lvl="8" indent="-298450" algn="ctr" rtl="0">
              <a:spcBef>
                <a:spcPts val="1300"/>
              </a:spcBef>
              <a:spcAft>
                <a:spcPts val="1300"/>
              </a:spcAft>
              <a:buSzPts val="1100"/>
              <a:buChar char="•"/>
              <a:defRPr sz="1100" b="1"/>
            </a:lvl9pPr>
          </a:lstStyle>
          <a:p>
            <a:endParaRPr/>
          </a:p>
        </p:txBody>
      </p:sp>
      <p:sp>
        <p:nvSpPr>
          <p:cNvPr id="377" name="Google Shape;377;p23"/>
          <p:cNvSpPr txBox="1">
            <a:spLocks noGrp="1"/>
          </p:cNvSpPr>
          <p:nvPr>
            <p:ph type="body" idx="9"/>
          </p:nvPr>
        </p:nvSpPr>
        <p:spPr>
          <a:xfrm>
            <a:off x="3323417" y="4890933"/>
            <a:ext cx="2650500" cy="141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04800" algn="ctr" rtl="0">
              <a:spcBef>
                <a:spcPts val="0"/>
              </a:spcBef>
              <a:spcAft>
                <a:spcPts val="0"/>
              </a:spcAft>
              <a:buSzPts val="1200"/>
              <a:buChar char="•"/>
              <a:defRPr sz="1200"/>
            </a:lvl1pPr>
            <a:lvl2pPr marL="914400" lvl="1" indent="-304800" algn="ctr" rtl="0">
              <a:spcBef>
                <a:spcPts val="13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ctr" rtl="0">
              <a:spcBef>
                <a:spcPts val="1300"/>
              </a:spcBef>
              <a:spcAft>
                <a:spcPts val="0"/>
              </a:spcAft>
              <a:buSzPts val="1200"/>
              <a:buChar char="•"/>
              <a:defRPr sz="1200"/>
            </a:lvl3pPr>
            <a:lvl4pPr marL="1828800" lvl="3" indent="-304800" algn="ctr" rtl="0">
              <a:spcBef>
                <a:spcPts val="1300"/>
              </a:spcBef>
              <a:spcAft>
                <a:spcPts val="0"/>
              </a:spcAft>
              <a:buSzPts val="1200"/>
              <a:buChar char="◦"/>
              <a:defRPr sz="1200"/>
            </a:lvl4pPr>
            <a:lvl5pPr marL="2286000" lvl="4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/>
            </a:lvl5pPr>
            <a:lvl6pPr marL="2743200" lvl="5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/>
            </a:lvl6pPr>
            <a:lvl7pPr marL="3200400" lvl="6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/>
            </a:lvl7pPr>
            <a:lvl8pPr marL="3657600" lvl="7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 algn="ctr" rtl="0">
              <a:spcBef>
                <a:spcPts val="1300"/>
              </a:spcBef>
              <a:spcAft>
                <a:spcPts val="1300"/>
              </a:spcAft>
              <a:buSzPts val="1100"/>
              <a:buChar char="•"/>
              <a:defRPr/>
            </a:lvl9pPr>
          </a:lstStyle>
          <a:p>
            <a:endParaRPr/>
          </a:p>
        </p:txBody>
      </p:sp>
      <p:sp>
        <p:nvSpPr>
          <p:cNvPr id="378" name="Google Shape;378;p23"/>
          <p:cNvSpPr txBox="1">
            <a:spLocks noGrp="1"/>
          </p:cNvSpPr>
          <p:nvPr>
            <p:ph type="body" idx="13"/>
          </p:nvPr>
        </p:nvSpPr>
        <p:spPr>
          <a:xfrm>
            <a:off x="6425383" y="4181933"/>
            <a:ext cx="2289600" cy="29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3020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1pPr>
            <a:lvl2pPr marL="914400" lvl="1" indent="-3048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  <a:defRPr b="1">
                <a:solidFill>
                  <a:schemeClr val="dk1"/>
                </a:solidFill>
              </a:defRPr>
            </a:lvl2pPr>
            <a:lvl3pPr marL="1371600" lvl="2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3pPr>
            <a:lvl4pPr marL="1828800" lvl="3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◦"/>
              <a:defRPr sz="1600" b="1">
                <a:solidFill>
                  <a:schemeClr val="dk1"/>
                </a:solidFill>
              </a:defRPr>
            </a:lvl4pPr>
            <a:lvl5pPr marL="2286000" lvl="4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5pPr>
            <a:lvl6pPr marL="2743200" lvl="5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◦"/>
              <a:defRPr sz="1600" b="1">
                <a:solidFill>
                  <a:schemeClr val="dk1"/>
                </a:solidFill>
              </a:defRPr>
            </a:lvl6pPr>
            <a:lvl7pPr marL="3200400" lvl="6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7pPr>
            <a:lvl8pPr marL="3657600" lvl="7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○"/>
              <a:defRPr sz="1600" b="1">
                <a:solidFill>
                  <a:schemeClr val="dk1"/>
                </a:solidFill>
              </a:defRPr>
            </a:lvl8pPr>
            <a:lvl9pPr marL="4114800" lvl="8" indent="-330200" algn="ctr" rtl="0">
              <a:spcBef>
                <a:spcPts val="1300"/>
              </a:spcBef>
              <a:spcAft>
                <a:spcPts val="130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379" name="Google Shape;379;p23"/>
          <p:cNvSpPr>
            <a:spLocks noGrp="1"/>
          </p:cNvSpPr>
          <p:nvPr>
            <p:ph type="pic" idx="14"/>
          </p:nvPr>
        </p:nvSpPr>
        <p:spPr>
          <a:xfrm>
            <a:off x="6478548" y="1817367"/>
            <a:ext cx="2192400" cy="2192400"/>
          </a:xfrm>
          <a:prstGeom prst="ellipse">
            <a:avLst/>
          </a:prstGeom>
          <a:noFill/>
          <a:ln>
            <a:noFill/>
          </a:ln>
        </p:spPr>
      </p:sp>
      <p:sp>
        <p:nvSpPr>
          <p:cNvPr id="380" name="Google Shape;380;p23"/>
          <p:cNvSpPr txBox="1">
            <a:spLocks noGrp="1"/>
          </p:cNvSpPr>
          <p:nvPr>
            <p:ph type="body" idx="15"/>
          </p:nvPr>
        </p:nvSpPr>
        <p:spPr>
          <a:xfrm>
            <a:off x="6433983" y="4442633"/>
            <a:ext cx="2272500" cy="29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98450" algn="ctr" rtl="0">
              <a:spcBef>
                <a:spcPts val="0"/>
              </a:spcBef>
              <a:spcAft>
                <a:spcPts val="0"/>
              </a:spcAft>
              <a:buSzPts val="1100"/>
              <a:buChar char="•"/>
              <a:defRPr sz="1100" b="1"/>
            </a:lvl1pPr>
            <a:lvl2pPr marL="914400" lvl="1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 sz="1100" b="1"/>
            </a:lvl2pPr>
            <a:lvl3pPr marL="1371600" lvl="2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 b="1"/>
            </a:lvl3pPr>
            <a:lvl4pPr marL="1828800" lvl="3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 sz="1100" b="1"/>
            </a:lvl4pPr>
            <a:lvl5pPr marL="2286000" lvl="4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 b="1"/>
            </a:lvl5pPr>
            <a:lvl6pPr marL="2743200" lvl="5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 sz="1100" b="1"/>
            </a:lvl6pPr>
            <a:lvl7pPr marL="3200400" lvl="6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 b="1"/>
            </a:lvl7pPr>
            <a:lvl8pPr marL="3657600" lvl="7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 sz="1100" b="1"/>
            </a:lvl8pPr>
            <a:lvl9pPr marL="4114800" lvl="8" indent="-298450" algn="ctr" rtl="0">
              <a:spcBef>
                <a:spcPts val="1300"/>
              </a:spcBef>
              <a:spcAft>
                <a:spcPts val="1300"/>
              </a:spcAft>
              <a:buSzPts val="1100"/>
              <a:buChar char="•"/>
              <a:defRPr sz="1100" b="1"/>
            </a:lvl9pPr>
          </a:lstStyle>
          <a:p>
            <a:endParaRPr/>
          </a:p>
        </p:txBody>
      </p:sp>
      <p:sp>
        <p:nvSpPr>
          <p:cNvPr id="381" name="Google Shape;381;p23"/>
          <p:cNvSpPr txBox="1">
            <a:spLocks noGrp="1"/>
          </p:cNvSpPr>
          <p:nvPr>
            <p:ph type="body" idx="16"/>
          </p:nvPr>
        </p:nvSpPr>
        <p:spPr>
          <a:xfrm>
            <a:off x="6244983" y="4890933"/>
            <a:ext cx="2650500" cy="141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04800" algn="ctr" rtl="0">
              <a:spcBef>
                <a:spcPts val="0"/>
              </a:spcBef>
              <a:spcAft>
                <a:spcPts val="0"/>
              </a:spcAft>
              <a:buSzPts val="1200"/>
              <a:buChar char="•"/>
              <a:defRPr sz="1200"/>
            </a:lvl1pPr>
            <a:lvl2pPr marL="914400" lvl="1" indent="-304800" algn="ctr" rtl="0">
              <a:spcBef>
                <a:spcPts val="13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ctr" rtl="0">
              <a:spcBef>
                <a:spcPts val="1300"/>
              </a:spcBef>
              <a:spcAft>
                <a:spcPts val="0"/>
              </a:spcAft>
              <a:buSzPts val="1200"/>
              <a:buChar char="•"/>
              <a:defRPr sz="1200"/>
            </a:lvl3pPr>
            <a:lvl4pPr marL="1828800" lvl="3" indent="-304800" algn="ctr" rtl="0">
              <a:spcBef>
                <a:spcPts val="1300"/>
              </a:spcBef>
              <a:spcAft>
                <a:spcPts val="0"/>
              </a:spcAft>
              <a:buSzPts val="1200"/>
              <a:buChar char="◦"/>
              <a:defRPr sz="1200"/>
            </a:lvl4pPr>
            <a:lvl5pPr marL="2286000" lvl="4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/>
            </a:lvl5pPr>
            <a:lvl6pPr marL="2743200" lvl="5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/>
            </a:lvl6pPr>
            <a:lvl7pPr marL="3200400" lvl="6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/>
            </a:lvl7pPr>
            <a:lvl8pPr marL="3657600" lvl="7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 algn="ctr" rtl="0">
              <a:spcBef>
                <a:spcPts val="1300"/>
              </a:spcBef>
              <a:spcAft>
                <a:spcPts val="1300"/>
              </a:spcAft>
              <a:buSzPts val="1100"/>
              <a:buChar char="•"/>
              <a:defRPr/>
            </a:lvl9pPr>
          </a:lstStyle>
          <a:p>
            <a:endParaRPr/>
          </a:p>
        </p:txBody>
      </p:sp>
      <p:sp>
        <p:nvSpPr>
          <p:cNvPr id="382" name="Google Shape;382;p23"/>
          <p:cNvSpPr txBox="1">
            <a:spLocks noGrp="1"/>
          </p:cNvSpPr>
          <p:nvPr>
            <p:ph type="body" idx="17"/>
          </p:nvPr>
        </p:nvSpPr>
        <p:spPr>
          <a:xfrm>
            <a:off x="9346930" y="4199467"/>
            <a:ext cx="2289600" cy="29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3020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1pPr>
            <a:lvl2pPr marL="914400" lvl="1" indent="-3048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  <a:defRPr b="1">
                <a:solidFill>
                  <a:schemeClr val="dk1"/>
                </a:solidFill>
              </a:defRPr>
            </a:lvl2pPr>
            <a:lvl3pPr marL="1371600" lvl="2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3pPr>
            <a:lvl4pPr marL="1828800" lvl="3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◦"/>
              <a:defRPr sz="1600" b="1">
                <a:solidFill>
                  <a:schemeClr val="dk1"/>
                </a:solidFill>
              </a:defRPr>
            </a:lvl4pPr>
            <a:lvl5pPr marL="2286000" lvl="4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5pPr>
            <a:lvl6pPr marL="2743200" lvl="5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◦"/>
              <a:defRPr sz="1600" b="1">
                <a:solidFill>
                  <a:schemeClr val="dk1"/>
                </a:solidFill>
              </a:defRPr>
            </a:lvl6pPr>
            <a:lvl7pPr marL="3200400" lvl="6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7pPr>
            <a:lvl8pPr marL="3657600" lvl="7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○"/>
              <a:defRPr sz="1600" b="1">
                <a:solidFill>
                  <a:schemeClr val="dk1"/>
                </a:solidFill>
              </a:defRPr>
            </a:lvl8pPr>
            <a:lvl9pPr marL="4114800" lvl="8" indent="-330200" algn="ctr" rtl="0">
              <a:spcBef>
                <a:spcPts val="1300"/>
              </a:spcBef>
              <a:spcAft>
                <a:spcPts val="130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383" name="Google Shape;383;p23"/>
          <p:cNvSpPr>
            <a:spLocks noGrp="1"/>
          </p:cNvSpPr>
          <p:nvPr>
            <p:ph type="pic" idx="18"/>
          </p:nvPr>
        </p:nvSpPr>
        <p:spPr>
          <a:xfrm>
            <a:off x="9395530" y="1817367"/>
            <a:ext cx="2192400" cy="2192400"/>
          </a:xfrm>
          <a:prstGeom prst="ellipse">
            <a:avLst/>
          </a:prstGeom>
          <a:noFill/>
          <a:ln>
            <a:noFill/>
          </a:ln>
        </p:spPr>
      </p:sp>
      <p:sp>
        <p:nvSpPr>
          <p:cNvPr id="384" name="Google Shape;384;p23"/>
          <p:cNvSpPr txBox="1">
            <a:spLocks noGrp="1"/>
          </p:cNvSpPr>
          <p:nvPr>
            <p:ph type="body" idx="19"/>
          </p:nvPr>
        </p:nvSpPr>
        <p:spPr>
          <a:xfrm>
            <a:off x="9355530" y="4460167"/>
            <a:ext cx="2272500" cy="29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98450" algn="ctr" rtl="0">
              <a:spcBef>
                <a:spcPts val="0"/>
              </a:spcBef>
              <a:spcAft>
                <a:spcPts val="0"/>
              </a:spcAft>
              <a:buSzPts val="1100"/>
              <a:buChar char="•"/>
              <a:defRPr sz="1100" b="1"/>
            </a:lvl1pPr>
            <a:lvl2pPr marL="914400" lvl="1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 sz="1100" b="1"/>
            </a:lvl2pPr>
            <a:lvl3pPr marL="1371600" lvl="2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 b="1"/>
            </a:lvl3pPr>
            <a:lvl4pPr marL="1828800" lvl="3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 sz="1100" b="1"/>
            </a:lvl4pPr>
            <a:lvl5pPr marL="2286000" lvl="4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 b="1"/>
            </a:lvl5pPr>
            <a:lvl6pPr marL="2743200" lvl="5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 sz="1100" b="1"/>
            </a:lvl6pPr>
            <a:lvl7pPr marL="3200400" lvl="6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 b="1"/>
            </a:lvl7pPr>
            <a:lvl8pPr marL="3657600" lvl="7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 sz="1100" b="1"/>
            </a:lvl8pPr>
            <a:lvl9pPr marL="4114800" lvl="8" indent="-298450" algn="ctr" rtl="0">
              <a:spcBef>
                <a:spcPts val="1300"/>
              </a:spcBef>
              <a:spcAft>
                <a:spcPts val="1300"/>
              </a:spcAft>
              <a:buSzPts val="1100"/>
              <a:buChar char="•"/>
              <a:defRPr sz="1100" b="1"/>
            </a:lvl9pPr>
          </a:lstStyle>
          <a:p>
            <a:endParaRPr/>
          </a:p>
        </p:txBody>
      </p:sp>
      <p:sp>
        <p:nvSpPr>
          <p:cNvPr id="385" name="Google Shape;385;p23"/>
          <p:cNvSpPr txBox="1">
            <a:spLocks noGrp="1"/>
          </p:cNvSpPr>
          <p:nvPr>
            <p:ph type="body" idx="20"/>
          </p:nvPr>
        </p:nvSpPr>
        <p:spPr>
          <a:xfrm>
            <a:off x="415583" y="4890933"/>
            <a:ext cx="2650500" cy="141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04800" algn="ctr" rtl="0">
              <a:spcBef>
                <a:spcPts val="0"/>
              </a:spcBef>
              <a:spcAft>
                <a:spcPts val="0"/>
              </a:spcAft>
              <a:buSzPts val="1200"/>
              <a:buChar char="•"/>
              <a:defRPr sz="1200"/>
            </a:lvl1pPr>
            <a:lvl2pPr marL="914400" lvl="1" indent="-304800" algn="ctr" rtl="0">
              <a:spcBef>
                <a:spcPts val="13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ctr" rtl="0">
              <a:spcBef>
                <a:spcPts val="1300"/>
              </a:spcBef>
              <a:spcAft>
                <a:spcPts val="0"/>
              </a:spcAft>
              <a:buSzPts val="1200"/>
              <a:buChar char="•"/>
              <a:defRPr sz="1200"/>
            </a:lvl3pPr>
            <a:lvl4pPr marL="1828800" lvl="3" indent="-304800" algn="ctr" rtl="0">
              <a:spcBef>
                <a:spcPts val="1300"/>
              </a:spcBef>
              <a:spcAft>
                <a:spcPts val="0"/>
              </a:spcAft>
              <a:buSzPts val="1200"/>
              <a:buChar char="◦"/>
              <a:defRPr sz="1200"/>
            </a:lvl4pPr>
            <a:lvl5pPr marL="2286000" lvl="4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/>
            </a:lvl5pPr>
            <a:lvl6pPr marL="2743200" lvl="5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/>
            </a:lvl6pPr>
            <a:lvl7pPr marL="3200400" lvl="6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/>
            </a:lvl7pPr>
            <a:lvl8pPr marL="3657600" lvl="7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 algn="ctr" rtl="0">
              <a:spcBef>
                <a:spcPts val="1300"/>
              </a:spcBef>
              <a:spcAft>
                <a:spcPts val="1300"/>
              </a:spcAft>
              <a:buSzPts val="1100"/>
              <a:buChar char="•"/>
              <a:defRPr/>
            </a:lvl9pPr>
          </a:lstStyle>
          <a:p>
            <a:endParaRPr/>
          </a:p>
        </p:txBody>
      </p:sp>
      <p:sp>
        <p:nvSpPr>
          <p:cNvPr id="386" name="Google Shape;386;p23"/>
          <p:cNvSpPr txBox="1">
            <a:spLocks noGrp="1"/>
          </p:cNvSpPr>
          <p:nvPr>
            <p:ph type="sldNum" idx="12"/>
          </p:nvPr>
        </p:nvSpPr>
        <p:spPr>
          <a:xfrm>
            <a:off x="11044810" y="6091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2pPr>
            <a:lvl3pPr lvl="2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3pPr>
            <a:lvl4pPr lvl="3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4pPr>
            <a:lvl5pPr lvl="4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5pPr>
            <a:lvl6pPr lvl="5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6pPr>
            <a:lvl7pPr lvl="6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7pPr>
            <a:lvl8pPr lvl="7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8pPr>
            <a:lvl9pPr lvl="8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167767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am 6">
  <p:cSld name="Team 6">
    <p:bg>
      <p:bgPr>
        <a:solidFill>
          <a:schemeClr val="lt2"/>
        </a:solidFill>
        <a:effectLst/>
      </p:bgPr>
    </p:bg>
    <p:spTree>
      <p:nvGrpSpPr>
        <p:cNvPr id="1" name="Shape 3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8" name="Google Shape;388;p24"/>
          <p:cNvSpPr txBox="1">
            <a:spLocks noGrp="1"/>
          </p:cNvSpPr>
          <p:nvPr>
            <p:ph type="body" idx="1"/>
          </p:nvPr>
        </p:nvSpPr>
        <p:spPr>
          <a:xfrm>
            <a:off x="353889" y="3659600"/>
            <a:ext cx="1610100" cy="29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3020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1pPr>
            <a:lvl2pPr marL="914400" lvl="1" indent="-3048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  <a:defRPr b="1">
                <a:solidFill>
                  <a:schemeClr val="dk1"/>
                </a:solidFill>
              </a:defRPr>
            </a:lvl2pPr>
            <a:lvl3pPr marL="1371600" lvl="2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3pPr>
            <a:lvl4pPr marL="1828800" lvl="3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◦"/>
              <a:defRPr sz="1600" b="1">
                <a:solidFill>
                  <a:schemeClr val="dk1"/>
                </a:solidFill>
              </a:defRPr>
            </a:lvl4pPr>
            <a:lvl5pPr marL="2286000" lvl="4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5pPr>
            <a:lvl6pPr marL="2743200" lvl="5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◦"/>
              <a:defRPr sz="1600" b="1">
                <a:solidFill>
                  <a:schemeClr val="dk1"/>
                </a:solidFill>
              </a:defRPr>
            </a:lvl6pPr>
            <a:lvl7pPr marL="3200400" lvl="6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7pPr>
            <a:lvl8pPr marL="3657600" lvl="7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○"/>
              <a:defRPr sz="1600" b="1">
                <a:solidFill>
                  <a:schemeClr val="dk1"/>
                </a:solidFill>
              </a:defRPr>
            </a:lvl8pPr>
            <a:lvl9pPr marL="4114800" lvl="8" indent="-330200" algn="ctr" rtl="0">
              <a:spcBef>
                <a:spcPts val="1300"/>
              </a:spcBef>
              <a:spcAft>
                <a:spcPts val="130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389" name="Google Shape;389;p24"/>
          <p:cNvSpPr txBox="1">
            <a:spLocks noGrp="1"/>
          </p:cNvSpPr>
          <p:nvPr>
            <p:ph type="body" idx="2"/>
          </p:nvPr>
        </p:nvSpPr>
        <p:spPr>
          <a:xfrm>
            <a:off x="363089" y="3888133"/>
            <a:ext cx="1591500" cy="29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98450" algn="ctr" rtl="0">
              <a:spcBef>
                <a:spcPts val="0"/>
              </a:spcBef>
              <a:spcAft>
                <a:spcPts val="0"/>
              </a:spcAft>
              <a:buSzPts val="1100"/>
              <a:buChar char="•"/>
              <a:defRPr sz="1100" b="1"/>
            </a:lvl1pPr>
            <a:lvl2pPr marL="914400" lvl="1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 sz="1100" b="1"/>
            </a:lvl2pPr>
            <a:lvl3pPr marL="1371600" lvl="2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 b="1"/>
            </a:lvl3pPr>
            <a:lvl4pPr marL="1828800" lvl="3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 sz="1100" b="1"/>
            </a:lvl4pPr>
            <a:lvl5pPr marL="2286000" lvl="4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 b="1"/>
            </a:lvl5pPr>
            <a:lvl6pPr marL="2743200" lvl="5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 sz="1100" b="1"/>
            </a:lvl6pPr>
            <a:lvl7pPr marL="3200400" lvl="6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 b="1"/>
            </a:lvl7pPr>
            <a:lvl8pPr marL="3657600" lvl="7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 sz="1100" b="1"/>
            </a:lvl8pPr>
            <a:lvl9pPr marL="4114800" lvl="8" indent="-298450" algn="ctr" rtl="0">
              <a:spcBef>
                <a:spcPts val="1300"/>
              </a:spcBef>
              <a:spcAft>
                <a:spcPts val="1300"/>
              </a:spcAft>
              <a:buSzPts val="1100"/>
              <a:buChar char="•"/>
              <a:defRPr sz="1100" b="1"/>
            </a:lvl9pPr>
          </a:lstStyle>
          <a:p>
            <a:endParaRPr/>
          </a:p>
        </p:txBody>
      </p:sp>
      <p:sp>
        <p:nvSpPr>
          <p:cNvPr id="390" name="Google Shape;390;p24"/>
          <p:cNvSpPr txBox="1">
            <a:spLocks noGrp="1"/>
          </p:cNvSpPr>
          <p:nvPr>
            <p:ph type="body" idx="3"/>
          </p:nvPr>
        </p:nvSpPr>
        <p:spPr>
          <a:xfrm>
            <a:off x="2323939" y="3659600"/>
            <a:ext cx="1610100" cy="29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3020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1pPr>
            <a:lvl2pPr marL="914400" lvl="1" indent="-3048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  <a:defRPr b="1">
                <a:solidFill>
                  <a:schemeClr val="dk1"/>
                </a:solidFill>
              </a:defRPr>
            </a:lvl2pPr>
            <a:lvl3pPr marL="1371600" lvl="2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3pPr>
            <a:lvl4pPr marL="1828800" lvl="3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◦"/>
              <a:defRPr sz="1600" b="1">
                <a:solidFill>
                  <a:schemeClr val="dk1"/>
                </a:solidFill>
              </a:defRPr>
            </a:lvl4pPr>
            <a:lvl5pPr marL="2286000" lvl="4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5pPr>
            <a:lvl6pPr marL="2743200" lvl="5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◦"/>
              <a:defRPr sz="1600" b="1">
                <a:solidFill>
                  <a:schemeClr val="dk1"/>
                </a:solidFill>
              </a:defRPr>
            </a:lvl6pPr>
            <a:lvl7pPr marL="3200400" lvl="6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7pPr>
            <a:lvl8pPr marL="3657600" lvl="7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○"/>
              <a:defRPr sz="1600" b="1">
                <a:solidFill>
                  <a:schemeClr val="dk1"/>
                </a:solidFill>
              </a:defRPr>
            </a:lvl8pPr>
            <a:lvl9pPr marL="4114800" lvl="8" indent="-330200" algn="ctr" rtl="0">
              <a:spcBef>
                <a:spcPts val="1300"/>
              </a:spcBef>
              <a:spcAft>
                <a:spcPts val="130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391" name="Google Shape;391;p24"/>
          <p:cNvSpPr txBox="1">
            <a:spLocks noGrp="1"/>
          </p:cNvSpPr>
          <p:nvPr>
            <p:ph type="body" idx="4"/>
          </p:nvPr>
        </p:nvSpPr>
        <p:spPr>
          <a:xfrm>
            <a:off x="2333139" y="3888133"/>
            <a:ext cx="1591500" cy="29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98450" algn="ctr" rtl="0">
              <a:spcBef>
                <a:spcPts val="0"/>
              </a:spcBef>
              <a:spcAft>
                <a:spcPts val="0"/>
              </a:spcAft>
              <a:buSzPts val="1100"/>
              <a:buChar char="•"/>
              <a:defRPr sz="1100" b="1"/>
            </a:lvl1pPr>
            <a:lvl2pPr marL="914400" lvl="1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 sz="1100" b="1"/>
            </a:lvl2pPr>
            <a:lvl3pPr marL="1371600" lvl="2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 b="1"/>
            </a:lvl3pPr>
            <a:lvl4pPr marL="1828800" lvl="3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 sz="1100" b="1"/>
            </a:lvl4pPr>
            <a:lvl5pPr marL="2286000" lvl="4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 b="1"/>
            </a:lvl5pPr>
            <a:lvl6pPr marL="2743200" lvl="5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 sz="1100" b="1"/>
            </a:lvl6pPr>
            <a:lvl7pPr marL="3200400" lvl="6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 b="1"/>
            </a:lvl7pPr>
            <a:lvl8pPr marL="3657600" lvl="7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 sz="1100" b="1"/>
            </a:lvl8pPr>
            <a:lvl9pPr marL="4114800" lvl="8" indent="-298450" algn="ctr" rtl="0">
              <a:spcBef>
                <a:spcPts val="1300"/>
              </a:spcBef>
              <a:spcAft>
                <a:spcPts val="1300"/>
              </a:spcAft>
              <a:buSzPts val="1100"/>
              <a:buChar char="•"/>
              <a:defRPr sz="1100" b="1"/>
            </a:lvl9pPr>
          </a:lstStyle>
          <a:p>
            <a:endParaRPr/>
          </a:p>
        </p:txBody>
      </p:sp>
      <p:sp>
        <p:nvSpPr>
          <p:cNvPr id="392" name="Google Shape;392;p24"/>
          <p:cNvSpPr txBox="1">
            <a:spLocks noGrp="1"/>
          </p:cNvSpPr>
          <p:nvPr>
            <p:ph type="body" idx="5"/>
          </p:nvPr>
        </p:nvSpPr>
        <p:spPr>
          <a:xfrm>
            <a:off x="4329789" y="3659600"/>
            <a:ext cx="1610100" cy="29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3020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1pPr>
            <a:lvl2pPr marL="914400" lvl="1" indent="-3048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  <a:defRPr b="1">
                <a:solidFill>
                  <a:schemeClr val="dk1"/>
                </a:solidFill>
              </a:defRPr>
            </a:lvl2pPr>
            <a:lvl3pPr marL="1371600" lvl="2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3pPr>
            <a:lvl4pPr marL="1828800" lvl="3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◦"/>
              <a:defRPr sz="1600" b="1">
                <a:solidFill>
                  <a:schemeClr val="dk1"/>
                </a:solidFill>
              </a:defRPr>
            </a:lvl4pPr>
            <a:lvl5pPr marL="2286000" lvl="4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5pPr>
            <a:lvl6pPr marL="2743200" lvl="5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◦"/>
              <a:defRPr sz="1600" b="1">
                <a:solidFill>
                  <a:schemeClr val="dk1"/>
                </a:solidFill>
              </a:defRPr>
            </a:lvl6pPr>
            <a:lvl7pPr marL="3200400" lvl="6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7pPr>
            <a:lvl8pPr marL="3657600" lvl="7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○"/>
              <a:defRPr sz="1600" b="1">
                <a:solidFill>
                  <a:schemeClr val="dk1"/>
                </a:solidFill>
              </a:defRPr>
            </a:lvl8pPr>
            <a:lvl9pPr marL="4114800" lvl="8" indent="-330200" algn="ctr" rtl="0">
              <a:spcBef>
                <a:spcPts val="1300"/>
              </a:spcBef>
              <a:spcAft>
                <a:spcPts val="130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393" name="Google Shape;393;p24"/>
          <p:cNvSpPr txBox="1">
            <a:spLocks noGrp="1"/>
          </p:cNvSpPr>
          <p:nvPr>
            <p:ph type="body" idx="6"/>
          </p:nvPr>
        </p:nvSpPr>
        <p:spPr>
          <a:xfrm>
            <a:off x="4338989" y="3888133"/>
            <a:ext cx="1591500" cy="29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98450" algn="ctr" rtl="0">
              <a:spcBef>
                <a:spcPts val="0"/>
              </a:spcBef>
              <a:spcAft>
                <a:spcPts val="0"/>
              </a:spcAft>
              <a:buSzPts val="1100"/>
              <a:buChar char="•"/>
              <a:defRPr sz="1100" b="1"/>
            </a:lvl1pPr>
            <a:lvl2pPr marL="914400" lvl="1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 sz="1100" b="1"/>
            </a:lvl2pPr>
            <a:lvl3pPr marL="1371600" lvl="2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 b="1"/>
            </a:lvl3pPr>
            <a:lvl4pPr marL="1828800" lvl="3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 sz="1100" b="1"/>
            </a:lvl4pPr>
            <a:lvl5pPr marL="2286000" lvl="4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 b="1"/>
            </a:lvl5pPr>
            <a:lvl6pPr marL="2743200" lvl="5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 sz="1100" b="1"/>
            </a:lvl6pPr>
            <a:lvl7pPr marL="3200400" lvl="6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 b="1"/>
            </a:lvl7pPr>
            <a:lvl8pPr marL="3657600" lvl="7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 sz="1100" b="1"/>
            </a:lvl8pPr>
            <a:lvl9pPr marL="4114800" lvl="8" indent="-298450" algn="ctr" rtl="0">
              <a:spcBef>
                <a:spcPts val="1300"/>
              </a:spcBef>
              <a:spcAft>
                <a:spcPts val="1300"/>
              </a:spcAft>
              <a:buSzPts val="1100"/>
              <a:buChar char="•"/>
              <a:defRPr sz="1100" b="1"/>
            </a:lvl9pPr>
          </a:lstStyle>
          <a:p>
            <a:endParaRPr/>
          </a:p>
        </p:txBody>
      </p:sp>
      <p:sp>
        <p:nvSpPr>
          <p:cNvPr id="394" name="Google Shape;394;p24"/>
          <p:cNvSpPr txBox="1">
            <a:spLocks noGrp="1"/>
          </p:cNvSpPr>
          <p:nvPr>
            <p:ph type="body" idx="7"/>
          </p:nvPr>
        </p:nvSpPr>
        <p:spPr>
          <a:xfrm>
            <a:off x="8287694" y="3659600"/>
            <a:ext cx="1610100" cy="29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3020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1pPr>
            <a:lvl2pPr marL="914400" lvl="1" indent="-3048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  <a:defRPr b="1">
                <a:solidFill>
                  <a:schemeClr val="dk1"/>
                </a:solidFill>
              </a:defRPr>
            </a:lvl2pPr>
            <a:lvl3pPr marL="1371600" lvl="2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3pPr>
            <a:lvl4pPr marL="1828800" lvl="3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◦"/>
              <a:defRPr sz="1600" b="1">
                <a:solidFill>
                  <a:schemeClr val="dk1"/>
                </a:solidFill>
              </a:defRPr>
            </a:lvl4pPr>
            <a:lvl5pPr marL="2286000" lvl="4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5pPr>
            <a:lvl6pPr marL="2743200" lvl="5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◦"/>
              <a:defRPr sz="1600" b="1">
                <a:solidFill>
                  <a:schemeClr val="dk1"/>
                </a:solidFill>
              </a:defRPr>
            </a:lvl6pPr>
            <a:lvl7pPr marL="3200400" lvl="6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7pPr>
            <a:lvl8pPr marL="3657600" lvl="7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○"/>
              <a:defRPr sz="1600" b="1">
                <a:solidFill>
                  <a:schemeClr val="dk1"/>
                </a:solidFill>
              </a:defRPr>
            </a:lvl8pPr>
            <a:lvl9pPr marL="4114800" lvl="8" indent="-330200" algn="ctr" rtl="0">
              <a:spcBef>
                <a:spcPts val="1300"/>
              </a:spcBef>
              <a:spcAft>
                <a:spcPts val="130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395" name="Google Shape;395;p24"/>
          <p:cNvSpPr txBox="1">
            <a:spLocks noGrp="1"/>
          </p:cNvSpPr>
          <p:nvPr>
            <p:ph type="body" idx="8"/>
          </p:nvPr>
        </p:nvSpPr>
        <p:spPr>
          <a:xfrm>
            <a:off x="8296894" y="3888133"/>
            <a:ext cx="1591500" cy="29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98450" algn="ctr" rtl="0">
              <a:spcBef>
                <a:spcPts val="0"/>
              </a:spcBef>
              <a:spcAft>
                <a:spcPts val="0"/>
              </a:spcAft>
              <a:buSzPts val="1100"/>
              <a:buChar char="•"/>
              <a:defRPr sz="1100" b="1"/>
            </a:lvl1pPr>
            <a:lvl2pPr marL="914400" lvl="1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 sz="1100" b="1"/>
            </a:lvl2pPr>
            <a:lvl3pPr marL="1371600" lvl="2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 b="1"/>
            </a:lvl3pPr>
            <a:lvl4pPr marL="1828800" lvl="3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 sz="1100" b="1"/>
            </a:lvl4pPr>
            <a:lvl5pPr marL="2286000" lvl="4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 b="1"/>
            </a:lvl5pPr>
            <a:lvl6pPr marL="2743200" lvl="5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 sz="1100" b="1"/>
            </a:lvl6pPr>
            <a:lvl7pPr marL="3200400" lvl="6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 b="1"/>
            </a:lvl7pPr>
            <a:lvl8pPr marL="3657600" lvl="7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 sz="1100" b="1"/>
            </a:lvl8pPr>
            <a:lvl9pPr marL="4114800" lvl="8" indent="-298450" algn="ctr" rtl="0">
              <a:spcBef>
                <a:spcPts val="1300"/>
              </a:spcBef>
              <a:spcAft>
                <a:spcPts val="1300"/>
              </a:spcAft>
              <a:buSzPts val="1100"/>
              <a:buChar char="•"/>
              <a:defRPr sz="1100" b="1"/>
            </a:lvl9pPr>
          </a:lstStyle>
          <a:p>
            <a:endParaRPr/>
          </a:p>
        </p:txBody>
      </p:sp>
      <p:sp>
        <p:nvSpPr>
          <p:cNvPr id="396" name="Google Shape;396;p24"/>
          <p:cNvSpPr txBox="1">
            <a:spLocks noGrp="1"/>
          </p:cNvSpPr>
          <p:nvPr>
            <p:ph type="body" idx="9"/>
          </p:nvPr>
        </p:nvSpPr>
        <p:spPr>
          <a:xfrm>
            <a:off x="6308751" y="3659600"/>
            <a:ext cx="1610100" cy="29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3020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1pPr>
            <a:lvl2pPr marL="914400" lvl="1" indent="-3048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  <a:defRPr b="1">
                <a:solidFill>
                  <a:schemeClr val="dk1"/>
                </a:solidFill>
              </a:defRPr>
            </a:lvl2pPr>
            <a:lvl3pPr marL="1371600" lvl="2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3pPr>
            <a:lvl4pPr marL="1828800" lvl="3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◦"/>
              <a:defRPr sz="1600" b="1">
                <a:solidFill>
                  <a:schemeClr val="dk1"/>
                </a:solidFill>
              </a:defRPr>
            </a:lvl4pPr>
            <a:lvl5pPr marL="2286000" lvl="4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5pPr>
            <a:lvl6pPr marL="2743200" lvl="5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◦"/>
              <a:defRPr sz="1600" b="1">
                <a:solidFill>
                  <a:schemeClr val="dk1"/>
                </a:solidFill>
              </a:defRPr>
            </a:lvl6pPr>
            <a:lvl7pPr marL="3200400" lvl="6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7pPr>
            <a:lvl8pPr marL="3657600" lvl="7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○"/>
              <a:defRPr sz="1600" b="1">
                <a:solidFill>
                  <a:schemeClr val="dk1"/>
                </a:solidFill>
              </a:defRPr>
            </a:lvl8pPr>
            <a:lvl9pPr marL="4114800" lvl="8" indent="-330200" algn="ctr" rtl="0">
              <a:spcBef>
                <a:spcPts val="1300"/>
              </a:spcBef>
              <a:spcAft>
                <a:spcPts val="130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397" name="Google Shape;397;p24"/>
          <p:cNvSpPr txBox="1">
            <a:spLocks noGrp="1"/>
          </p:cNvSpPr>
          <p:nvPr>
            <p:ph type="body" idx="13"/>
          </p:nvPr>
        </p:nvSpPr>
        <p:spPr>
          <a:xfrm>
            <a:off x="6317951" y="3888133"/>
            <a:ext cx="1591500" cy="29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98450" algn="ctr" rtl="0">
              <a:spcBef>
                <a:spcPts val="0"/>
              </a:spcBef>
              <a:spcAft>
                <a:spcPts val="0"/>
              </a:spcAft>
              <a:buSzPts val="1100"/>
              <a:buChar char="•"/>
              <a:defRPr sz="1100" b="1"/>
            </a:lvl1pPr>
            <a:lvl2pPr marL="914400" lvl="1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 sz="1100" b="1"/>
            </a:lvl2pPr>
            <a:lvl3pPr marL="1371600" lvl="2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 b="1"/>
            </a:lvl3pPr>
            <a:lvl4pPr marL="1828800" lvl="3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 sz="1100" b="1"/>
            </a:lvl4pPr>
            <a:lvl5pPr marL="2286000" lvl="4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 b="1"/>
            </a:lvl5pPr>
            <a:lvl6pPr marL="2743200" lvl="5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 sz="1100" b="1"/>
            </a:lvl6pPr>
            <a:lvl7pPr marL="3200400" lvl="6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 b="1"/>
            </a:lvl7pPr>
            <a:lvl8pPr marL="3657600" lvl="7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 sz="1100" b="1"/>
            </a:lvl8pPr>
            <a:lvl9pPr marL="4114800" lvl="8" indent="-298450" algn="ctr" rtl="0">
              <a:spcBef>
                <a:spcPts val="1300"/>
              </a:spcBef>
              <a:spcAft>
                <a:spcPts val="1300"/>
              </a:spcAft>
              <a:buSzPts val="1100"/>
              <a:buChar char="•"/>
              <a:defRPr sz="1100" b="1"/>
            </a:lvl9pPr>
          </a:lstStyle>
          <a:p>
            <a:endParaRPr/>
          </a:p>
        </p:txBody>
      </p:sp>
      <p:sp>
        <p:nvSpPr>
          <p:cNvPr id="398" name="Google Shape;398;p24"/>
          <p:cNvSpPr txBox="1">
            <a:spLocks noGrp="1"/>
          </p:cNvSpPr>
          <p:nvPr>
            <p:ph type="body" idx="14"/>
          </p:nvPr>
        </p:nvSpPr>
        <p:spPr>
          <a:xfrm>
            <a:off x="10239756" y="3659600"/>
            <a:ext cx="1610100" cy="29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3020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1pPr>
            <a:lvl2pPr marL="914400" lvl="1" indent="-3048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200"/>
              <a:buChar char="○"/>
              <a:defRPr b="1">
                <a:solidFill>
                  <a:schemeClr val="dk1"/>
                </a:solidFill>
              </a:defRPr>
            </a:lvl2pPr>
            <a:lvl3pPr marL="1371600" lvl="2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3pPr>
            <a:lvl4pPr marL="1828800" lvl="3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◦"/>
              <a:defRPr sz="1600" b="1">
                <a:solidFill>
                  <a:schemeClr val="dk1"/>
                </a:solidFill>
              </a:defRPr>
            </a:lvl4pPr>
            <a:lvl5pPr marL="2286000" lvl="4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5pPr>
            <a:lvl6pPr marL="2743200" lvl="5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◦"/>
              <a:defRPr sz="1600" b="1">
                <a:solidFill>
                  <a:schemeClr val="dk1"/>
                </a:solidFill>
              </a:defRPr>
            </a:lvl6pPr>
            <a:lvl7pPr marL="3200400" lvl="6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7pPr>
            <a:lvl8pPr marL="3657600" lvl="7" indent="-3302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Char char="○"/>
              <a:defRPr sz="1600" b="1">
                <a:solidFill>
                  <a:schemeClr val="dk1"/>
                </a:solidFill>
              </a:defRPr>
            </a:lvl8pPr>
            <a:lvl9pPr marL="4114800" lvl="8" indent="-330200" algn="ctr" rtl="0">
              <a:spcBef>
                <a:spcPts val="1300"/>
              </a:spcBef>
              <a:spcAft>
                <a:spcPts val="1300"/>
              </a:spcAft>
              <a:buClr>
                <a:schemeClr val="dk1"/>
              </a:buClr>
              <a:buSzPts val="1600"/>
              <a:buChar char="•"/>
              <a:defRPr sz="1600" b="1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399" name="Google Shape;399;p24"/>
          <p:cNvSpPr txBox="1">
            <a:spLocks noGrp="1"/>
          </p:cNvSpPr>
          <p:nvPr>
            <p:ph type="body" idx="15"/>
          </p:nvPr>
        </p:nvSpPr>
        <p:spPr>
          <a:xfrm>
            <a:off x="10248956" y="3888133"/>
            <a:ext cx="1591500" cy="29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98450" algn="ctr" rtl="0">
              <a:spcBef>
                <a:spcPts val="0"/>
              </a:spcBef>
              <a:spcAft>
                <a:spcPts val="0"/>
              </a:spcAft>
              <a:buSzPts val="1100"/>
              <a:buChar char="•"/>
              <a:defRPr sz="1100" b="1"/>
            </a:lvl1pPr>
            <a:lvl2pPr marL="914400" lvl="1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 sz="1100" b="1"/>
            </a:lvl2pPr>
            <a:lvl3pPr marL="1371600" lvl="2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 b="1"/>
            </a:lvl3pPr>
            <a:lvl4pPr marL="1828800" lvl="3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 sz="1100" b="1"/>
            </a:lvl4pPr>
            <a:lvl5pPr marL="2286000" lvl="4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 b="1"/>
            </a:lvl5pPr>
            <a:lvl6pPr marL="2743200" lvl="5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 sz="1100" b="1"/>
            </a:lvl6pPr>
            <a:lvl7pPr marL="3200400" lvl="6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 b="1"/>
            </a:lvl7pPr>
            <a:lvl8pPr marL="3657600" lvl="7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 sz="1100" b="1"/>
            </a:lvl8pPr>
            <a:lvl9pPr marL="4114800" lvl="8" indent="-298450" algn="ctr" rtl="0">
              <a:spcBef>
                <a:spcPts val="1300"/>
              </a:spcBef>
              <a:spcAft>
                <a:spcPts val="1300"/>
              </a:spcAft>
              <a:buSzPts val="1100"/>
              <a:buChar char="•"/>
              <a:defRPr sz="1100" b="1"/>
            </a:lvl9pPr>
          </a:lstStyle>
          <a:p>
            <a:endParaRPr/>
          </a:p>
        </p:txBody>
      </p:sp>
      <p:sp>
        <p:nvSpPr>
          <p:cNvPr id="400" name="Google Shape;400;p24"/>
          <p:cNvSpPr txBox="1">
            <a:spLocks noGrp="1"/>
          </p:cNvSpPr>
          <p:nvPr>
            <p:ph type="body" idx="16"/>
          </p:nvPr>
        </p:nvSpPr>
        <p:spPr>
          <a:xfrm>
            <a:off x="10159356" y="4266933"/>
            <a:ext cx="1770900" cy="141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98450" algn="ctr" rtl="0">
              <a:spcBef>
                <a:spcPts val="0"/>
              </a:spcBef>
              <a:spcAft>
                <a:spcPts val="0"/>
              </a:spcAft>
              <a:buSzPts val="1100"/>
              <a:buChar char="•"/>
              <a:defRPr sz="1100"/>
            </a:lvl1pPr>
            <a:lvl2pPr marL="914400" lvl="1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/>
            </a:lvl3pPr>
            <a:lvl4pPr marL="1828800" lvl="3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 sz="1100"/>
            </a:lvl4pPr>
            <a:lvl5pPr marL="2286000" lvl="4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/>
            </a:lvl5pPr>
            <a:lvl6pPr marL="2743200" lvl="5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 sz="1100"/>
            </a:lvl6pPr>
            <a:lvl7pPr marL="3200400" lvl="6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/>
            </a:lvl7pPr>
            <a:lvl8pPr marL="3657600" lvl="7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 algn="ctr" rtl="0">
              <a:spcBef>
                <a:spcPts val="1300"/>
              </a:spcBef>
              <a:spcAft>
                <a:spcPts val="1300"/>
              </a:spcAft>
              <a:buSzPts val="1100"/>
              <a:buChar char="•"/>
              <a:defRPr sz="1100"/>
            </a:lvl9pPr>
          </a:lstStyle>
          <a:p>
            <a:endParaRPr/>
          </a:p>
        </p:txBody>
      </p:sp>
      <p:sp>
        <p:nvSpPr>
          <p:cNvPr id="401" name="Google Shape;401;p24"/>
          <p:cNvSpPr/>
          <p:nvPr/>
        </p:nvSpPr>
        <p:spPr>
          <a:xfrm>
            <a:off x="-11400" y="0"/>
            <a:ext cx="12214800" cy="2937114"/>
          </a:xfrm>
          <a:prstGeom prst="flowChartDocument">
            <a:avLst/>
          </a:prstGeom>
          <a:solidFill>
            <a:srgbClr val="F7224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900"/>
          </a:p>
        </p:txBody>
      </p:sp>
      <p:sp>
        <p:nvSpPr>
          <p:cNvPr id="402" name="Google Shape;402;p24"/>
          <p:cNvSpPr>
            <a:spLocks noGrp="1"/>
          </p:cNvSpPr>
          <p:nvPr>
            <p:ph type="pic" idx="17"/>
          </p:nvPr>
        </p:nvSpPr>
        <p:spPr>
          <a:xfrm>
            <a:off x="410089" y="1965000"/>
            <a:ext cx="1497600" cy="1497600"/>
          </a:xfrm>
          <a:prstGeom prst="ellipse">
            <a:avLst/>
          </a:prstGeom>
          <a:noFill/>
          <a:ln>
            <a:noFill/>
          </a:ln>
        </p:spPr>
      </p:sp>
      <p:sp>
        <p:nvSpPr>
          <p:cNvPr id="403" name="Google Shape;403;p24"/>
          <p:cNvSpPr>
            <a:spLocks noGrp="1"/>
          </p:cNvSpPr>
          <p:nvPr>
            <p:ph type="pic" idx="18"/>
          </p:nvPr>
        </p:nvSpPr>
        <p:spPr>
          <a:xfrm>
            <a:off x="2387262" y="1965000"/>
            <a:ext cx="1497600" cy="1497600"/>
          </a:xfrm>
          <a:prstGeom prst="ellipse">
            <a:avLst/>
          </a:prstGeom>
          <a:noFill/>
          <a:ln>
            <a:noFill/>
          </a:ln>
        </p:spPr>
      </p:sp>
      <p:sp>
        <p:nvSpPr>
          <p:cNvPr id="404" name="Google Shape;404;p24"/>
          <p:cNvSpPr txBox="1">
            <a:spLocks noGrp="1"/>
          </p:cNvSpPr>
          <p:nvPr>
            <p:ph type="body" idx="19"/>
          </p:nvPr>
        </p:nvSpPr>
        <p:spPr>
          <a:xfrm>
            <a:off x="2243539" y="4266933"/>
            <a:ext cx="1770900" cy="141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98450" algn="ctr" rtl="0">
              <a:spcBef>
                <a:spcPts val="0"/>
              </a:spcBef>
              <a:spcAft>
                <a:spcPts val="0"/>
              </a:spcAft>
              <a:buSzPts val="1100"/>
              <a:buChar char="•"/>
              <a:defRPr sz="1100"/>
            </a:lvl1pPr>
            <a:lvl2pPr marL="914400" lvl="1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/>
            </a:lvl3pPr>
            <a:lvl4pPr marL="1828800" lvl="3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 sz="1100"/>
            </a:lvl4pPr>
            <a:lvl5pPr marL="2286000" lvl="4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/>
            </a:lvl5pPr>
            <a:lvl6pPr marL="2743200" lvl="5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 sz="1100"/>
            </a:lvl6pPr>
            <a:lvl7pPr marL="3200400" lvl="6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/>
            </a:lvl7pPr>
            <a:lvl8pPr marL="3657600" lvl="7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 algn="ctr" rtl="0">
              <a:spcBef>
                <a:spcPts val="1300"/>
              </a:spcBef>
              <a:spcAft>
                <a:spcPts val="1300"/>
              </a:spcAft>
              <a:buSzPts val="1100"/>
              <a:buChar char="•"/>
              <a:defRPr sz="1100"/>
            </a:lvl9pPr>
          </a:lstStyle>
          <a:p>
            <a:endParaRPr/>
          </a:p>
        </p:txBody>
      </p:sp>
      <p:sp>
        <p:nvSpPr>
          <p:cNvPr id="405" name="Google Shape;405;p24"/>
          <p:cNvSpPr>
            <a:spLocks noGrp="1"/>
          </p:cNvSpPr>
          <p:nvPr>
            <p:ph type="pic" idx="20"/>
          </p:nvPr>
        </p:nvSpPr>
        <p:spPr>
          <a:xfrm>
            <a:off x="4364436" y="1965000"/>
            <a:ext cx="1497600" cy="1497600"/>
          </a:xfrm>
          <a:prstGeom prst="ellipse">
            <a:avLst/>
          </a:prstGeom>
          <a:noFill/>
          <a:ln>
            <a:noFill/>
          </a:ln>
        </p:spPr>
      </p:sp>
      <p:sp>
        <p:nvSpPr>
          <p:cNvPr id="406" name="Google Shape;406;p24"/>
          <p:cNvSpPr txBox="1">
            <a:spLocks noGrp="1"/>
          </p:cNvSpPr>
          <p:nvPr>
            <p:ph type="body" idx="21"/>
          </p:nvPr>
        </p:nvSpPr>
        <p:spPr>
          <a:xfrm>
            <a:off x="4249389" y="4266933"/>
            <a:ext cx="1770900" cy="141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98450" algn="ctr" rtl="0">
              <a:spcBef>
                <a:spcPts val="0"/>
              </a:spcBef>
              <a:spcAft>
                <a:spcPts val="0"/>
              </a:spcAft>
              <a:buSzPts val="1100"/>
              <a:buChar char="•"/>
              <a:defRPr sz="1100"/>
            </a:lvl1pPr>
            <a:lvl2pPr marL="914400" lvl="1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/>
            </a:lvl3pPr>
            <a:lvl4pPr marL="1828800" lvl="3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 sz="1100"/>
            </a:lvl4pPr>
            <a:lvl5pPr marL="2286000" lvl="4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/>
            </a:lvl5pPr>
            <a:lvl6pPr marL="2743200" lvl="5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 sz="1100"/>
            </a:lvl6pPr>
            <a:lvl7pPr marL="3200400" lvl="6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/>
            </a:lvl7pPr>
            <a:lvl8pPr marL="3657600" lvl="7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 algn="ctr" rtl="0">
              <a:spcBef>
                <a:spcPts val="1300"/>
              </a:spcBef>
              <a:spcAft>
                <a:spcPts val="1300"/>
              </a:spcAft>
              <a:buSzPts val="1100"/>
              <a:buChar char="•"/>
              <a:defRPr sz="1100"/>
            </a:lvl9pPr>
          </a:lstStyle>
          <a:p>
            <a:endParaRPr/>
          </a:p>
        </p:txBody>
      </p:sp>
      <p:sp>
        <p:nvSpPr>
          <p:cNvPr id="407" name="Google Shape;407;p24"/>
          <p:cNvSpPr>
            <a:spLocks noGrp="1"/>
          </p:cNvSpPr>
          <p:nvPr>
            <p:ph type="pic" idx="22"/>
          </p:nvPr>
        </p:nvSpPr>
        <p:spPr>
          <a:xfrm>
            <a:off x="6341609" y="1965000"/>
            <a:ext cx="1497600" cy="1497600"/>
          </a:xfrm>
          <a:prstGeom prst="ellipse">
            <a:avLst/>
          </a:prstGeom>
          <a:noFill/>
          <a:ln>
            <a:noFill/>
          </a:ln>
        </p:spPr>
      </p:sp>
      <p:sp>
        <p:nvSpPr>
          <p:cNvPr id="408" name="Google Shape;408;p24"/>
          <p:cNvSpPr txBox="1">
            <a:spLocks noGrp="1"/>
          </p:cNvSpPr>
          <p:nvPr>
            <p:ph type="body" idx="23"/>
          </p:nvPr>
        </p:nvSpPr>
        <p:spPr>
          <a:xfrm>
            <a:off x="273489" y="4266933"/>
            <a:ext cx="1770900" cy="141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98450" algn="ctr" rtl="0">
              <a:spcBef>
                <a:spcPts val="0"/>
              </a:spcBef>
              <a:spcAft>
                <a:spcPts val="0"/>
              </a:spcAft>
              <a:buSzPts val="1100"/>
              <a:buChar char="•"/>
              <a:defRPr sz="1100"/>
            </a:lvl1pPr>
            <a:lvl2pPr marL="914400" lvl="1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/>
            </a:lvl3pPr>
            <a:lvl4pPr marL="1828800" lvl="3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 sz="1100"/>
            </a:lvl4pPr>
            <a:lvl5pPr marL="2286000" lvl="4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/>
            </a:lvl5pPr>
            <a:lvl6pPr marL="2743200" lvl="5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 sz="1100"/>
            </a:lvl6pPr>
            <a:lvl7pPr marL="3200400" lvl="6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/>
            </a:lvl7pPr>
            <a:lvl8pPr marL="3657600" lvl="7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 algn="ctr" rtl="0">
              <a:spcBef>
                <a:spcPts val="1300"/>
              </a:spcBef>
              <a:spcAft>
                <a:spcPts val="1300"/>
              </a:spcAft>
              <a:buSzPts val="1100"/>
              <a:buChar char="•"/>
              <a:defRPr sz="1100"/>
            </a:lvl9pPr>
          </a:lstStyle>
          <a:p>
            <a:endParaRPr/>
          </a:p>
        </p:txBody>
      </p:sp>
      <p:sp>
        <p:nvSpPr>
          <p:cNvPr id="409" name="Google Shape;409;p24"/>
          <p:cNvSpPr>
            <a:spLocks noGrp="1"/>
          </p:cNvSpPr>
          <p:nvPr>
            <p:ph type="pic" idx="24"/>
          </p:nvPr>
        </p:nvSpPr>
        <p:spPr>
          <a:xfrm>
            <a:off x="8318783" y="1965000"/>
            <a:ext cx="1497600" cy="1497600"/>
          </a:xfrm>
          <a:prstGeom prst="ellipse">
            <a:avLst/>
          </a:prstGeom>
          <a:noFill/>
          <a:ln>
            <a:noFill/>
          </a:ln>
        </p:spPr>
      </p:sp>
      <p:sp>
        <p:nvSpPr>
          <p:cNvPr id="410" name="Google Shape;410;p24"/>
          <p:cNvSpPr>
            <a:spLocks noGrp="1"/>
          </p:cNvSpPr>
          <p:nvPr>
            <p:ph type="pic" idx="25"/>
          </p:nvPr>
        </p:nvSpPr>
        <p:spPr>
          <a:xfrm>
            <a:off x="10295956" y="1965000"/>
            <a:ext cx="1497600" cy="1497600"/>
          </a:xfrm>
          <a:prstGeom prst="ellipse">
            <a:avLst/>
          </a:prstGeom>
          <a:noFill/>
          <a:ln>
            <a:noFill/>
          </a:ln>
        </p:spPr>
      </p:sp>
      <p:sp>
        <p:nvSpPr>
          <p:cNvPr id="411" name="Google Shape;411;p24"/>
          <p:cNvSpPr txBox="1">
            <a:spLocks noGrp="1"/>
          </p:cNvSpPr>
          <p:nvPr>
            <p:ph type="body" idx="26"/>
          </p:nvPr>
        </p:nvSpPr>
        <p:spPr>
          <a:xfrm>
            <a:off x="8207294" y="4266933"/>
            <a:ext cx="1770900" cy="141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98450" algn="ctr" rtl="0">
              <a:spcBef>
                <a:spcPts val="0"/>
              </a:spcBef>
              <a:spcAft>
                <a:spcPts val="0"/>
              </a:spcAft>
              <a:buSzPts val="1100"/>
              <a:buChar char="•"/>
              <a:defRPr sz="1100"/>
            </a:lvl1pPr>
            <a:lvl2pPr marL="914400" lvl="1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/>
            </a:lvl3pPr>
            <a:lvl4pPr marL="1828800" lvl="3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 sz="1100"/>
            </a:lvl4pPr>
            <a:lvl5pPr marL="2286000" lvl="4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/>
            </a:lvl5pPr>
            <a:lvl6pPr marL="2743200" lvl="5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 sz="1100"/>
            </a:lvl6pPr>
            <a:lvl7pPr marL="3200400" lvl="6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/>
            </a:lvl7pPr>
            <a:lvl8pPr marL="3657600" lvl="7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 algn="ctr" rtl="0">
              <a:spcBef>
                <a:spcPts val="1300"/>
              </a:spcBef>
              <a:spcAft>
                <a:spcPts val="1300"/>
              </a:spcAft>
              <a:buSzPts val="1100"/>
              <a:buChar char="•"/>
              <a:defRPr sz="1100"/>
            </a:lvl9pPr>
          </a:lstStyle>
          <a:p>
            <a:endParaRPr/>
          </a:p>
        </p:txBody>
      </p:sp>
      <p:sp>
        <p:nvSpPr>
          <p:cNvPr id="412" name="Google Shape;412;p24"/>
          <p:cNvSpPr txBox="1">
            <a:spLocks noGrp="1"/>
          </p:cNvSpPr>
          <p:nvPr>
            <p:ph type="body" idx="27"/>
          </p:nvPr>
        </p:nvSpPr>
        <p:spPr>
          <a:xfrm>
            <a:off x="6228351" y="4266933"/>
            <a:ext cx="1770900" cy="1410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98450" algn="ctr" rtl="0">
              <a:spcBef>
                <a:spcPts val="0"/>
              </a:spcBef>
              <a:spcAft>
                <a:spcPts val="0"/>
              </a:spcAft>
              <a:buSzPts val="1100"/>
              <a:buChar char="•"/>
              <a:defRPr sz="1100"/>
            </a:lvl1pPr>
            <a:lvl2pPr marL="914400" lvl="1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/>
            </a:lvl3pPr>
            <a:lvl4pPr marL="1828800" lvl="3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 sz="1100"/>
            </a:lvl4pPr>
            <a:lvl5pPr marL="2286000" lvl="4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/>
            </a:lvl5pPr>
            <a:lvl6pPr marL="2743200" lvl="5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 sz="1100"/>
            </a:lvl6pPr>
            <a:lvl7pPr marL="3200400" lvl="6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/>
            </a:lvl7pPr>
            <a:lvl8pPr marL="3657600" lvl="7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 algn="ctr" rtl="0">
              <a:spcBef>
                <a:spcPts val="1300"/>
              </a:spcBef>
              <a:spcAft>
                <a:spcPts val="1300"/>
              </a:spcAft>
              <a:buSzPts val="1100"/>
              <a:buChar char="•"/>
              <a:defRPr sz="1100"/>
            </a:lvl9pPr>
          </a:lstStyle>
          <a:p>
            <a:endParaRPr/>
          </a:p>
        </p:txBody>
      </p:sp>
      <p:sp>
        <p:nvSpPr>
          <p:cNvPr id="413" name="Google Shape;413;p24"/>
          <p:cNvSpPr txBox="1">
            <a:spLocks noGrp="1"/>
          </p:cNvSpPr>
          <p:nvPr>
            <p:ph type="title"/>
          </p:nvPr>
        </p:nvSpPr>
        <p:spPr>
          <a:xfrm>
            <a:off x="606400" y="416600"/>
            <a:ext cx="10979100" cy="3861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>
                <a:solidFill>
                  <a:schemeClr val="lt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>
                <a:solidFill>
                  <a:schemeClr val="lt2"/>
                </a:solidFill>
                <a:latin typeface="Lato"/>
                <a:ea typeface="Lato"/>
                <a:cs typeface="Lato"/>
                <a:sym typeface="La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>
                <a:solidFill>
                  <a:schemeClr val="lt2"/>
                </a:solidFill>
                <a:latin typeface="Lato"/>
                <a:ea typeface="Lato"/>
                <a:cs typeface="Lato"/>
                <a:sym typeface="La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>
                <a:solidFill>
                  <a:schemeClr val="lt2"/>
                </a:solidFill>
                <a:latin typeface="Lato"/>
                <a:ea typeface="Lato"/>
                <a:cs typeface="Lato"/>
                <a:sym typeface="La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>
                <a:solidFill>
                  <a:schemeClr val="lt2"/>
                </a:solidFill>
                <a:latin typeface="Lato"/>
                <a:ea typeface="Lato"/>
                <a:cs typeface="Lato"/>
                <a:sym typeface="La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>
                <a:solidFill>
                  <a:schemeClr val="lt2"/>
                </a:solidFill>
                <a:latin typeface="Lato"/>
                <a:ea typeface="Lato"/>
                <a:cs typeface="Lato"/>
                <a:sym typeface="La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>
                <a:solidFill>
                  <a:schemeClr val="lt2"/>
                </a:solidFill>
                <a:latin typeface="Lato"/>
                <a:ea typeface="Lato"/>
                <a:cs typeface="Lato"/>
                <a:sym typeface="La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>
                <a:solidFill>
                  <a:schemeClr val="lt2"/>
                </a:solidFill>
                <a:latin typeface="Lato"/>
                <a:ea typeface="Lato"/>
                <a:cs typeface="Lato"/>
                <a:sym typeface="La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>
                <a:solidFill>
                  <a:schemeClr val="lt2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414" name="Google Shape;414;p24"/>
          <p:cNvSpPr txBox="1">
            <a:spLocks noGrp="1"/>
          </p:cNvSpPr>
          <p:nvPr>
            <p:ph type="subTitle" idx="28"/>
          </p:nvPr>
        </p:nvSpPr>
        <p:spPr>
          <a:xfrm>
            <a:off x="619267" y="849533"/>
            <a:ext cx="10979100" cy="297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300"/>
              <a:buNone/>
              <a:defRPr sz="1300">
                <a:solidFill>
                  <a:schemeClr val="lt2"/>
                </a:solidFill>
              </a:defRPr>
            </a:lvl1pPr>
            <a:lvl2pPr lvl="1" rtl="0">
              <a:spcBef>
                <a:spcPts val="1300"/>
              </a:spcBef>
              <a:spcAft>
                <a:spcPts val="0"/>
              </a:spcAft>
              <a:buSzPts val="1200"/>
              <a:buNone/>
              <a:defRPr/>
            </a:lvl2pPr>
            <a:lvl3pPr lvl="2" rtl="0">
              <a:spcBef>
                <a:spcPts val="130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130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130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130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130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130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1300"/>
              </a:spcBef>
              <a:spcAft>
                <a:spcPts val="130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415" name="Google Shape;415;p24"/>
          <p:cNvSpPr txBox="1">
            <a:spLocks noGrp="1"/>
          </p:cNvSpPr>
          <p:nvPr>
            <p:ph type="sldNum" idx="12"/>
          </p:nvPr>
        </p:nvSpPr>
        <p:spPr>
          <a:xfrm>
            <a:off x="11044810" y="6091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2pPr>
            <a:lvl3pPr lvl="2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3pPr>
            <a:lvl4pPr lvl="3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4pPr>
            <a:lvl5pPr lvl="4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5pPr>
            <a:lvl6pPr lvl="5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6pPr>
            <a:lvl7pPr lvl="6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7pPr>
            <a:lvl8pPr lvl="7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8pPr>
            <a:lvl9pPr lvl="8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4673100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ream Footer Only">
  <p:cSld name="Cream Footer Only">
    <p:bg>
      <p:bgPr>
        <a:solidFill>
          <a:schemeClr val="lt2"/>
        </a:solidFill>
        <a:effectLst/>
      </p:bgPr>
    </p:bg>
    <p:spTree>
      <p:nvGrpSpPr>
        <p:cNvPr id="1" name="Shape 4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7" name="Google Shape;417;p25"/>
          <p:cNvSpPr txBox="1">
            <a:spLocks noGrp="1"/>
          </p:cNvSpPr>
          <p:nvPr>
            <p:ph type="sldNum" idx="12"/>
          </p:nvPr>
        </p:nvSpPr>
        <p:spPr>
          <a:xfrm>
            <a:off x="11044810" y="6091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418" name="Google Shape;418;p25"/>
          <p:cNvGrpSpPr/>
          <p:nvPr/>
        </p:nvGrpSpPr>
        <p:grpSpPr>
          <a:xfrm>
            <a:off x="415598" y="6427310"/>
            <a:ext cx="1329629" cy="189008"/>
            <a:chOff x="237650" y="2349675"/>
            <a:chExt cx="7144700" cy="1015625"/>
          </a:xfrm>
        </p:grpSpPr>
        <p:sp>
          <p:nvSpPr>
            <p:cNvPr id="419" name="Google Shape;419;p25"/>
            <p:cNvSpPr/>
            <p:nvPr/>
          </p:nvSpPr>
          <p:spPr>
            <a:xfrm>
              <a:off x="3096625" y="2466575"/>
              <a:ext cx="156400" cy="841200"/>
            </a:xfrm>
            <a:custGeom>
              <a:avLst/>
              <a:gdLst/>
              <a:ahLst/>
              <a:cxnLst/>
              <a:rect l="l" t="t" r="r" b="b"/>
              <a:pathLst>
                <a:path w="6256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2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1" y="1448"/>
                  </a:lnTo>
                  <a:lnTo>
                    <a:pt x="1" y="32182"/>
                  </a:lnTo>
                  <a:lnTo>
                    <a:pt x="19" y="32479"/>
                  </a:lnTo>
                  <a:lnTo>
                    <a:pt x="242" y="33017"/>
                  </a:lnTo>
                  <a:lnTo>
                    <a:pt x="632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08" y="33648"/>
                  </a:lnTo>
                  <a:lnTo>
                    <a:pt x="5105" y="33629"/>
                  </a:lnTo>
                  <a:lnTo>
                    <a:pt x="5624" y="33406"/>
                  </a:lnTo>
                  <a:lnTo>
                    <a:pt x="6014" y="33017"/>
                  </a:lnTo>
                  <a:lnTo>
                    <a:pt x="6237" y="32479"/>
                  </a:lnTo>
                  <a:lnTo>
                    <a:pt x="6255" y="32182"/>
                  </a:lnTo>
                  <a:lnTo>
                    <a:pt x="6255" y="1448"/>
                  </a:lnTo>
                  <a:lnTo>
                    <a:pt x="6237" y="1151"/>
                  </a:lnTo>
                  <a:lnTo>
                    <a:pt x="6014" y="632"/>
                  </a:lnTo>
                  <a:lnTo>
                    <a:pt x="5624" y="242"/>
                  </a:lnTo>
                  <a:lnTo>
                    <a:pt x="5105" y="19"/>
                  </a:lnTo>
                  <a:lnTo>
                    <a:pt x="4808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" name="Google Shape;420;p25"/>
            <p:cNvSpPr/>
            <p:nvPr/>
          </p:nvSpPr>
          <p:spPr>
            <a:xfrm>
              <a:off x="1673175" y="2466575"/>
              <a:ext cx="655150" cy="841200"/>
            </a:xfrm>
            <a:custGeom>
              <a:avLst/>
              <a:gdLst/>
              <a:ahLst/>
              <a:cxnLst/>
              <a:rect l="l" t="t" r="r" b="b"/>
              <a:pathLst>
                <a:path w="26206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1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0" y="1448"/>
                  </a:lnTo>
                  <a:lnTo>
                    <a:pt x="0" y="32200"/>
                  </a:lnTo>
                  <a:lnTo>
                    <a:pt x="19" y="32497"/>
                  </a:lnTo>
                  <a:lnTo>
                    <a:pt x="242" y="33017"/>
                  </a:lnTo>
                  <a:lnTo>
                    <a:pt x="631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26" y="33648"/>
                  </a:lnTo>
                  <a:lnTo>
                    <a:pt x="5104" y="33629"/>
                  </a:lnTo>
                  <a:lnTo>
                    <a:pt x="5624" y="33406"/>
                  </a:lnTo>
                  <a:lnTo>
                    <a:pt x="6032" y="33017"/>
                  </a:lnTo>
                  <a:lnTo>
                    <a:pt x="6255" y="32497"/>
                  </a:lnTo>
                  <a:lnTo>
                    <a:pt x="6273" y="32200"/>
                  </a:lnTo>
                  <a:lnTo>
                    <a:pt x="6273" y="18133"/>
                  </a:lnTo>
                  <a:lnTo>
                    <a:pt x="19933" y="18133"/>
                  </a:lnTo>
                  <a:lnTo>
                    <a:pt x="19933" y="32200"/>
                  </a:lnTo>
                  <a:lnTo>
                    <a:pt x="19951" y="32497"/>
                  </a:lnTo>
                  <a:lnTo>
                    <a:pt x="20174" y="33017"/>
                  </a:lnTo>
                  <a:lnTo>
                    <a:pt x="20564" y="33406"/>
                  </a:lnTo>
                  <a:lnTo>
                    <a:pt x="21083" y="33629"/>
                  </a:lnTo>
                  <a:lnTo>
                    <a:pt x="21380" y="33648"/>
                  </a:lnTo>
                  <a:lnTo>
                    <a:pt x="24739" y="33648"/>
                  </a:lnTo>
                  <a:lnTo>
                    <a:pt x="25036" y="33629"/>
                  </a:lnTo>
                  <a:lnTo>
                    <a:pt x="25556" y="33406"/>
                  </a:lnTo>
                  <a:lnTo>
                    <a:pt x="25964" y="33017"/>
                  </a:lnTo>
                  <a:lnTo>
                    <a:pt x="26168" y="32497"/>
                  </a:lnTo>
                  <a:lnTo>
                    <a:pt x="26205" y="32200"/>
                  </a:lnTo>
                  <a:lnTo>
                    <a:pt x="26205" y="1448"/>
                  </a:lnTo>
                  <a:lnTo>
                    <a:pt x="26168" y="1151"/>
                  </a:lnTo>
                  <a:lnTo>
                    <a:pt x="25964" y="632"/>
                  </a:lnTo>
                  <a:lnTo>
                    <a:pt x="25556" y="242"/>
                  </a:lnTo>
                  <a:lnTo>
                    <a:pt x="25036" y="19"/>
                  </a:lnTo>
                  <a:lnTo>
                    <a:pt x="24739" y="1"/>
                  </a:lnTo>
                  <a:lnTo>
                    <a:pt x="21380" y="1"/>
                  </a:lnTo>
                  <a:lnTo>
                    <a:pt x="21083" y="19"/>
                  </a:lnTo>
                  <a:lnTo>
                    <a:pt x="20564" y="242"/>
                  </a:lnTo>
                  <a:lnTo>
                    <a:pt x="20174" y="632"/>
                  </a:lnTo>
                  <a:lnTo>
                    <a:pt x="19951" y="1151"/>
                  </a:lnTo>
                  <a:lnTo>
                    <a:pt x="19933" y="1448"/>
                  </a:lnTo>
                  <a:lnTo>
                    <a:pt x="19933" y="13641"/>
                  </a:lnTo>
                  <a:lnTo>
                    <a:pt x="6273" y="13641"/>
                  </a:lnTo>
                  <a:lnTo>
                    <a:pt x="6273" y="1448"/>
                  </a:lnTo>
                  <a:lnTo>
                    <a:pt x="6255" y="1151"/>
                  </a:lnTo>
                  <a:lnTo>
                    <a:pt x="6032" y="632"/>
                  </a:lnTo>
                  <a:lnTo>
                    <a:pt x="5624" y="242"/>
                  </a:lnTo>
                  <a:lnTo>
                    <a:pt x="5104" y="19"/>
                  </a:lnTo>
                  <a:lnTo>
                    <a:pt x="4826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" name="Google Shape;421;p25"/>
            <p:cNvSpPr/>
            <p:nvPr/>
          </p:nvSpPr>
          <p:spPr>
            <a:xfrm>
              <a:off x="3382900" y="2466575"/>
              <a:ext cx="156375" cy="841200"/>
            </a:xfrm>
            <a:custGeom>
              <a:avLst/>
              <a:gdLst/>
              <a:ahLst/>
              <a:cxnLst/>
              <a:rect l="l" t="t" r="r" b="b"/>
              <a:pathLst>
                <a:path w="6255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2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1" y="1448"/>
                  </a:lnTo>
                  <a:lnTo>
                    <a:pt x="1" y="32182"/>
                  </a:lnTo>
                  <a:lnTo>
                    <a:pt x="19" y="32479"/>
                  </a:lnTo>
                  <a:lnTo>
                    <a:pt x="242" y="33017"/>
                  </a:lnTo>
                  <a:lnTo>
                    <a:pt x="632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07" y="33648"/>
                  </a:lnTo>
                  <a:lnTo>
                    <a:pt x="5104" y="33629"/>
                  </a:lnTo>
                  <a:lnTo>
                    <a:pt x="5624" y="33406"/>
                  </a:lnTo>
                  <a:lnTo>
                    <a:pt x="6014" y="33017"/>
                  </a:lnTo>
                  <a:lnTo>
                    <a:pt x="6236" y="32479"/>
                  </a:lnTo>
                  <a:lnTo>
                    <a:pt x="6255" y="32182"/>
                  </a:lnTo>
                  <a:lnTo>
                    <a:pt x="6255" y="1448"/>
                  </a:lnTo>
                  <a:lnTo>
                    <a:pt x="6236" y="1151"/>
                  </a:lnTo>
                  <a:lnTo>
                    <a:pt x="6014" y="632"/>
                  </a:lnTo>
                  <a:lnTo>
                    <a:pt x="5624" y="242"/>
                  </a:lnTo>
                  <a:lnTo>
                    <a:pt x="5104" y="19"/>
                  </a:lnTo>
                  <a:lnTo>
                    <a:pt x="4807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" name="Google Shape;422;p25"/>
            <p:cNvSpPr/>
            <p:nvPr/>
          </p:nvSpPr>
          <p:spPr>
            <a:xfrm>
              <a:off x="3610700" y="2663300"/>
              <a:ext cx="680675" cy="662575"/>
            </a:xfrm>
            <a:custGeom>
              <a:avLst/>
              <a:gdLst/>
              <a:ahLst/>
              <a:cxnLst/>
              <a:rect l="l" t="t" r="r" b="b"/>
              <a:pathLst>
                <a:path w="27227" h="26503" extrusionOk="0">
                  <a:moveTo>
                    <a:pt x="14087" y="5123"/>
                  </a:moveTo>
                  <a:lnTo>
                    <a:pt x="14959" y="5216"/>
                  </a:lnTo>
                  <a:lnTo>
                    <a:pt x="15757" y="5383"/>
                  </a:lnTo>
                  <a:lnTo>
                    <a:pt x="16500" y="5661"/>
                  </a:lnTo>
                  <a:lnTo>
                    <a:pt x="16852" y="5828"/>
                  </a:lnTo>
                  <a:lnTo>
                    <a:pt x="17521" y="6199"/>
                  </a:lnTo>
                  <a:lnTo>
                    <a:pt x="18634" y="7127"/>
                  </a:lnTo>
                  <a:lnTo>
                    <a:pt x="19098" y="7665"/>
                  </a:lnTo>
                  <a:lnTo>
                    <a:pt x="19525" y="8259"/>
                  </a:lnTo>
                  <a:lnTo>
                    <a:pt x="20193" y="9558"/>
                  </a:lnTo>
                  <a:lnTo>
                    <a:pt x="20434" y="10264"/>
                  </a:lnTo>
                  <a:lnTo>
                    <a:pt x="20638" y="10969"/>
                  </a:lnTo>
                  <a:lnTo>
                    <a:pt x="20861" y="12416"/>
                  </a:lnTo>
                  <a:lnTo>
                    <a:pt x="20880" y="13159"/>
                  </a:lnTo>
                  <a:lnTo>
                    <a:pt x="20861" y="13883"/>
                  </a:lnTo>
                  <a:lnTo>
                    <a:pt x="20638" y="15349"/>
                  </a:lnTo>
                  <a:lnTo>
                    <a:pt x="20434" y="16073"/>
                  </a:lnTo>
                  <a:lnTo>
                    <a:pt x="20193" y="16796"/>
                  </a:lnTo>
                  <a:lnTo>
                    <a:pt x="19525" y="18095"/>
                  </a:lnTo>
                  <a:lnTo>
                    <a:pt x="19098" y="18671"/>
                  </a:lnTo>
                  <a:lnTo>
                    <a:pt x="18634" y="19228"/>
                  </a:lnTo>
                  <a:lnTo>
                    <a:pt x="17521" y="20174"/>
                  </a:lnTo>
                  <a:lnTo>
                    <a:pt x="16852" y="20564"/>
                  </a:lnTo>
                  <a:lnTo>
                    <a:pt x="16500" y="20731"/>
                  </a:lnTo>
                  <a:lnTo>
                    <a:pt x="15757" y="21009"/>
                  </a:lnTo>
                  <a:lnTo>
                    <a:pt x="14959" y="21195"/>
                  </a:lnTo>
                  <a:lnTo>
                    <a:pt x="14087" y="21269"/>
                  </a:lnTo>
                  <a:lnTo>
                    <a:pt x="13623" y="21288"/>
                  </a:lnTo>
                  <a:lnTo>
                    <a:pt x="13159" y="21269"/>
                  </a:lnTo>
                  <a:lnTo>
                    <a:pt x="12287" y="21195"/>
                  </a:lnTo>
                  <a:lnTo>
                    <a:pt x="11470" y="21009"/>
                  </a:lnTo>
                  <a:lnTo>
                    <a:pt x="10728" y="20731"/>
                  </a:lnTo>
                  <a:lnTo>
                    <a:pt x="10394" y="20564"/>
                  </a:lnTo>
                  <a:lnTo>
                    <a:pt x="9726" y="20174"/>
                  </a:lnTo>
                  <a:lnTo>
                    <a:pt x="8612" y="19228"/>
                  </a:lnTo>
                  <a:lnTo>
                    <a:pt x="8148" y="18671"/>
                  </a:lnTo>
                  <a:lnTo>
                    <a:pt x="7721" y="18095"/>
                  </a:lnTo>
                  <a:lnTo>
                    <a:pt x="7053" y="16778"/>
                  </a:lnTo>
                  <a:lnTo>
                    <a:pt x="6812" y="16073"/>
                  </a:lnTo>
                  <a:lnTo>
                    <a:pt x="6608" y="15349"/>
                  </a:lnTo>
                  <a:lnTo>
                    <a:pt x="6385" y="13883"/>
                  </a:lnTo>
                  <a:lnTo>
                    <a:pt x="6367" y="13159"/>
                  </a:lnTo>
                  <a:lnTo>
                    <a:pt x="6385" y="12416"/>
                  </a:lnTo>
                  <a:lnTo>
                    <a:pt x="6608" y="10969"/>
                  </a:lnTo>
                  <a:lnTo>
                    <a:pt x="6812" y="10264"/>
                  </a:lnTo>
                  <a:lnTo>
                    <a:pt x="7053" y="9558"/>
                  </a:lnTo>
                  <a:lnTo>
                    <a:pt x="7721" y="8259"/>
                  </a:lnTo>
                  <a:lnTo>
                    <a:pt x="8148" y="7665"/>
                  </a:lnTo>
                  <a:lnTo>
                    <a:pt x="8612" y="7127"/>
                  </a:lnTo>
                  <a:lnTo>
                    <a:pt x="9726" y="6199"/>
                  </a:lnTo>
                  <a:lnTo>
                    <a:pt x="10394" y="5828"/>
                  </a:lnTo>
                  <a:lnTo>
                    <a:pt x="10728" y="5661"/>
                  </a:lnTo>
                  <a:lnTo>
                    <a:pt x="11470" y="5383"/>
                  </a:lnTo>
                  <a:lnTo>
                    <a:pt x="12287" y="5216"/>
                  </a:lnTo>
                  <a:lnTo>
                    <a:pt x="13159" y="5123"/>
                  </a:lnTo>
                  <a:close/>
                  <a:moveTo>
                    <a:pt x="13623" y="1"/>
                  </a:moveTo>
                  <a:lnTo>
                    <a:pt x="12918" y="19"/>
                  </a:lnTo>
                  <a:lnTo>
                    <a:pt x="11545" y="131"/>
                  </a:lnTo>
                  <a:lnTo>
                    <a:pt x="10227" y="372"/>
                  </a:lnTo>
                  <a:lnTo>
                    <a:pt x="8928" y="724"/>
                  </a:lnTo>
                  <a:lnTo>
                    <a:pt x="8297" y="947"/>
                  </a:lnTo>
                  <a:lnTo>
                    <a:pt x="7684" y="1188"/>
                  </a:lnTo>
                  <a:lnTo>
                    <a:pt x="6515" y="1745"/>
                  </a:lnTo>
                  <a:lnTo>
                    <a:pt x="5439" y="2413"/>
                  </a:lnTo>
                  <a:lnTo>
                    <a:pt x="4437" y="3174"/>
                  </a:lnTo>
                  <a:lnTo>
                    <a:pt x="3973" y="3601"/>
                  </a:lnTo>
                  <a:lnTo>
                    <a:pt x="3527" y="4046"/>
                  </a:lnTo>
                  <a:lnTo>
                    <a:pt x="2692" y="4993"/>
                  </a:lnTo>
                  <a:lnTo>
                    <a:pt x="1968" y="6032"/>
                  </a:lnTo>
                  <a:lnTo>
                    <a:pt x="1356" y="7146"/>
                  </a:lnTo>
                  <a:lnTo>
                    <a:pt x="1077" y="7758"/>
                  </a:lnTo>
                  <a:lnTo>
                    <a:pt x="818" y="8371"/>
                  </a:lnTo>
                  <a:lnTo>
                    <a:pt x="409" y="9651"/>
                  </a:lnTo>
                  <a:lnTo>
                    <a:pt x="149" y="10987"/>
                  </a:lnTo>
                  <a:lnTo>
                    <a:pt x="20" y="12416"/>
                  </a:lnTo>
                  <a:lnTo>
                    <a:pt x="1" y="13159"/>
                  </a:lnTo>
                  <a:lnTo>
                    <a:pt x="20" y="13883"/>
                  </a:lnTo>
                  <a:lnTo>
                    <a:pt x="149" y="15312"/>
                  </a:lnTo>
                  <a:lnTo>
                    <a:pt x="409" y="16666"/>
                  </a:lnTo>
                  <a:lnTo>
                    <a:pt x="818" y="17947"/>
                  </a:lnTo>
                  <a:lnTo>
                    <a:pt x="1077" y="18578"/>
                  </a:lnTo>
                  <a:lnTo>
                    <a:pt x="1356" y="19172"/>
                  </a:lnTo>
                  <a:lnTo>
                    <a:pt x="1968" y="20322"/>
                  </a:lnTo>
                  <a:lnTo>
                    <a:pt x="2692" y="21362"/>
                  </a:lnTo>
                  <a:lnTo>
                    <a:pt x="3527" y="22327"/>
                  </a:lnTo>
                  <a:lnTo>
                    <a:pt x="3973" y="22772"/>
                  </a:lnTo>
                  <a:lnTo>
                    <a:pt x="4437" y="23199"/>
                  </a:lnTo>
                  <a:lnTo>
                    <a:pt x="5439" y="23979"/>
                  </a:lnTo>
                  <a:lnTo>
                    <a:pt x="6515" y="24665"/>
                  </a:lnTo>
                  <a:lnTo>
                    <a:pt x="7684" y="25259"/>
                  </a:lnTo>
                  <a:lnTo>
                    <a:pt x="8297" y="25519"/>
                  </a:lnTo>
                  <a:lnTo>
                    <a:pt x="8928" y="25742"/>
                  </a:lnTo>
                  <a:lnTo>
                    <a:pt x="10227" y="26113"/>
                  </a:lnTo>
                  <a:lnTo>
                    <a:pt x="11545" y="26373"/>
                  </a:lnTo>
                  <a:lnTo>
                    <a:pt x="12918" y="26484"/>
                  </a:lnTo>
                  <a:lnTo>
                    <a:pt x="13623" y="26503"/>
                  </a:lnTo>
                  <a:lnTo>
                    <a:pt x="14328" y="26484"/>
                  </a:lnTo>
                  <a:lnTo>
                    <a:pt x="15683" y="26373"/>
                  </a:lnTo>
                  <a:lnTo>
                    <a:pt x="17019" y="26113"/>
                  </a:lnTo>
                  <a:lnTo>
                    <a:pt x="18300" y="25742"/>
                  </a:lnTo>
                  <a:lnTo>
                    <a:pt x="18931" y="25519"/>
                  </a:lnTo>
                  <a:lnTo>
                    <a:pt x="19562" y="25259"/>
                  </a:lnTo>
                  <a:lnTo>
                    <a:pt x="20731" y="24665"/>
                  </a:lnTo>
                  <a:lnTo>
                    <a:pt x="21808" y="23979"/>
                  </a:lnTo>
                  <a:lnTo>
                    <a:pt x="22810" y="23199"/>
                  </a:lnTo>
                  <a:lnTo>
                    <a:pt x="23274" y="22772"/>
                  </a:lnTo>
                  <a:lnTo>
                    <a:pt x="23719" y="22327"/>
                  </a:lnTo>
                  <a:lnTo>
                    <a:pt x="24536" y="21362"/>
                  </a:lnTo>
                  <a:lnTo>
                    <a:pt x="25260" y="20322"/>
                  </a:lnTo>
                  <a:lnTo>
                    <a:pt x="25891" y="19172"/>
                  </a:lnTo>
                  <a:lnTo>
                    <a:pt x="26169" y="18578"/>
                  </a:lnTo>
                  <a:lnTo>
                    <a:pt x="26429" y="17947"/>
                  </a:lnTo>
                  <a:lnTo>
                    <a:pt x="26818" y="16666"/>
                  </a:lnTo>
                  <a:lnTo>
                    <a:pt x="27097" y="15312"/>
                  </a:lnTo>
                  <a:lnTo>
                    <a:pt x="27227" y="13883"/>
                  </a:lnTo>
                  <a:lnTo>
                    <a:pt x="27227" y="13159"/>
                  </a:lnTo>
                  <a:lnTo>
                    <a:pt x="27227" y="12416"/>
                  </a:lnTo>
                  <a:lnTo>
                    <a:pt x="27097" y="10987"/>
                  </a:lnTo>
                  <a:lnTo>
                    <a:pt x="26818" y="9651"/>
                  </a:lnTo>
                  <a:lnTo>
                    <a:pt x="26429" y="8371"/>
                  </a:lnTo>
                  <a:lnTo>
                    <a:pt x="26169" y="7758"/>
                  </a:lnTo>
                  <a:lnTo>
                    <a:pt x="25891" y="7146"/>
                  </a:lnTo>
                  <a:lnTo>
                    <a:pt x="25260" y="6032"/>
                  </a:lnTo>
                  <a:lnTo>
                    <a:pt x="24536" y="4993"/>
                  </a:lnTo>
                  <a:lnTo>
                    <a:pt x="23719" y="4046"/>
                  </a:lnTo>
                  <a:lnTo>
                    <a:pt x="23274" y="3601"/>
                  </a:lnTo>
                  <a:lnTo>
                    <a:pt x="22810" y="3174"/>
                  </a:lnTo>
                  <a:lnTo>
                    <a:pt x="21808" y="2413"/>
                  </a:lnTo>
                  <a:lnTo>
                    <a:pt x="20731" y="1745"/>
                  </a:lnTo>
                  <a:lnTo>
                    <a:pt x="19562" y="1188"/>
                  </a:lnTo>
                  <a:lnTo>
                    <a:pt x="18931" y="947"/>
                  </a:lnTo>
                  <a:lnTo>
                    <a:pt x="18300" y="724"/>
                  </a:lnTo>
                  <a:lnTo>
                    <a:pt x="17019" y="372"/>
                  </a:lnTo>
                  <a:lnTo>
                    <a:pt x="15683" y="131"/>
                  </a:lnTo>
                  <a:lnTo>
                    <a:pt x="14328" y="19"/>
                  </a:lnTo>
                  <a:lnTo>
                    <a:pt x="13623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" name="Google Shape;423;p25"/>
            <p:cNvSpPr/>
            <p:nvPr/>
          </p:nvSpPr>
          <p:spPr>
            <a:xfrm>
              <a:off x="5231350" y="2663300"/>
              <a:ext cx="633825" cy="662575"/>
            </a:xfrm>
            <a:custGeom>
              <a:avLst/>
              <a:gdLst/>
              <a:ahLst/>
              <a:cxnLst/>
              <a:rect l="l" t="t" r="r" b="b"/>
              <a:pathLst>
                <a:path w="25353" h="26503" extrusionOk="0">
                  <a:moveTo>
                    <a:pt x="13196" y="4696"/>
                  </a:moveTo>
                  <a:lnTo>
                    <a:pt x="13939" y="4715"/>
                  </a:lnTo>
                  <a:lnTo>
                    <a:pt x="15256" y="4974"/>
                  </a:lnTo>
                  <a:lnTo>
                    <a:pt x="15832" y="5197"/>
                  </a:lnTo>
                  <a:lnTo>
                    <a:pt x="16388" y="5457"/>
                  </a:lnTo>
                  <a:lnTo>
                    <a:pt x="17298" y="6125"/>
                  </a:lnTo>
                  <a:lnTo>
                    <a:pt x="17687" y="6515"/>
                  </a:lnTo>
                  <a:lnTo>
                    <a:pt x="18040" y="6942"/>
                  </a:lnTo>
                  <a:lnTo>
                    <a:pt x="18578" y="7907"/>
                  </a:lnTo>
                  <a:lnTo>
                    <a:pt x="18764" y="8445"/>
                  </a:lnTo>
                  <a:lnTo>
                    <a:pt x="18912" y="9002"/>
                  </a:lnTo>
                  <a:lnTo>
                    <a:pt x="19079" y="10152"/>
                  </a:lnTo>
                  <a:lnTo>
                    <a:pt x="19098" y="10746"/>
                  </a:lnTo>
                  <a:lnTo>
                    <a:pt x="6274" y="10746"/>
                  </a:lnTo>
                  <a:lnTo>
                    <a:pt x="6329" y="10097"/>
                  </a:lnTo>
                  <a:lnTo>
                    <a:pt x="6664" y="8890"/>
                  </a:lnTo>
                  <a:lnTo>
                    <a:pt x="7202" y="7795"/>
                  </a:lnTo>
                  <a:lnTo>
                    <a:pt x="7963" y="6830"/>
                  </a:lnTo>
                  <a:lnTo>
                    <a:pt x="8427" y="6403"/>
                  </a:lnTo>
                  <a:lnTo>
                    <a:pt x="8928" y="5995"/>
                  </a:lnTo>
                  <a:lnTo>
                    <a:pt x="10023" y="5346"/>
                  </a:lnTo>
                  <a:lnTo>
                    <a:pt x="11210" y="4937"/>
                  </a:lnTo>
                  <a:lnTo>
                    <a:pt x="12510" y="4715"/>
                  </a:lnTo>
                  <a:lnTo>
                    <a:pt x="13196" y="4696"/>
                  </a:lnTo>
                  <a:close/>
                  <a:moveTo>
                    <a:pt x="13252" y="1"/>
                  </a:moveTo>
                  <a:lnTo>
                    <a:pt x="12565" y="19"/>
                  </a:lnTo>
                  <a:lnTo>
                    <a:pt x="11192" y="131"/>
                  </a:lnTo>
                  <a:lnTo>
                    <a:pt x="9893" y="372"/>
                  </a:lnTo>
                  <a:lnTo>
                    <a:pt x="8631" y="743"/>
                  </a:lnTo>
                  <a:lnTo>
                    <a:pt x="8018" y="966"/>
                  </a:lnTo>
                  <a:lnTo>
                    <a:pt x="7406" y="1226"/>
                  </a:lnTo>
                  <a:lnTo>
                    <a:pt x="6292" y="1801"/>
                  </a:lnTo>
                  <a:lnTo>
                    <a:pt x="5235" y="2469"/>
                  </a:lnTo>
                  <a:lnTo>
                    <a:pt x="4269" y="3248"/>
                  </a:lnTo>
                  <a:lnTo>
                    <a:pt x="3824" y="3675"/>
                  </a:lnTo>
                  <a:lnTo>
                    <a:pt x="3379" y="4121"/>
                  </a:lnTo>
                  <a:lnTo>
                    <a:pt x="2581" y="5086"/>
                  </a:lnTo>
                  <a:lnTo>
                    <a:pt x="1894" y="6144"/>
                  </a:lnTo>
                  <a:lnTo>
                    <a:pt x="1281" y="7294"/>
                  </a:lnTo>
                  <a:lnTo>
                    <a:pt x="1022" y="7907"/>
                  </a:lnTo>
                  <a:lnTo>
                    <a:pt x="780" y="8538"/>
                  </a:lnTo>
                  <a:lnTo>
                    <a:pt x="391" y="9837"/>
                  </a:lnTo>
                  <a:lnTo>
                    <a:pt x="149" y="11210"/>
                  </a:lnTo>
                  <a:lnTo>
                    <a:pt x="19" y="12658"/>
                  </a:lnTo>
                  <a:lnTo>
                    <a:pt x="1" y="13400"/>
                  </a:lnTo>
                  <a:lnTo>
                    <a:pt x="19" y="14161"/>
                  </a:lnTo>
                  <a:lnTo>
                    <a:pt x="149" y="15609"/>
                  </a:lnTo>
                  <a:lnTo>
                    <a:pt x="391" y="17000"/>
                  </a:lnTo>
                  <a:lnTo>
                    <a:pt x="780" y="18300"/>
                  </a:lnTo>
                  <a:lnTo>
                    <a:pt x="1022" y="18912"/>
                  </a:lnTo>
                  <a:lnTo>
                    <a:pt x="1281" y="19506"/>
                  </a:lnTo>
                  <a:lnTo>
                    <a:pt x="1894" y="20619"/>
                  </a:lnTo>
                  <a:lnTo>
                    <a:pt x="2599" y="21659"/>
                  </a:lnTo>
                  <a:lnTo>
                    <a:pt x="3397" y="22587"/>
                  </a:lnTo>
                  <a:lnTo>
                    <a:pt x="3843" y="23013"/>
                  </a:lnTo>
                  <a:lnTo>
                    <a:pt x="4288" y="23422"/>
                  </a:lnTo>
                  <a:lnTo>
                    <a:pt x="5272" y="24146"/>
                  </a:lnTo>
                  <a:lnTo>
                    <a:pt x="6348" y="24795"/>
                  </a:lnTo>
                  <a:lnTo>
                    <a:pt x="7480" y="25352"/>
                  </a:lnTo>
                  <a:lnTo>
                    <a:pt x="8093" y="25593"/>
                  </a:lnTo>
                  <a:lnTo>
                    <a:pt x="8705" y="25797"/>
                  </a:lnTo>
                  <a:lnTo>
                    <a:pt x="10004" y="26150"/>
                  </a:lnTo>
                  <a:lnTo>
                    <a:pt x="11340" y="26373"/>
                  </a:lnTo>
                  <a:lnTo>
                    <a:pt x="12732" y="26484"/>
                  </a:lnTo>
                  <a:lnTo>
                    <a:pt x="13475" y="26503"/>
                  </a:lnTo>
                  <a:lnTo>
                    <a:pt x="14236" y="26484"/>
                  </a:lnTo>
                  <a:lnTo>
                    <a:pt x="15683" y="26373"/>
                  </a:lnTo>
                  <a:lnTo>
                    <a:pt x="17075" y="26131"/>
                  </a:lnTo>
                  <a:lnTo>
                    <a:pt x="18374" y="25760"/>
                  </a:lnTo>
                  <a:lnTo>
                    <a:pt x="19599" y="25296"/>
                  </a:lnTo>
                  <a:lnTo>
                    <a:pt x="20731" y="24684"/>
                  </a:lnTo>
                  <a:lnTo>
                    <a:pt x="21789" y="23960"/>
                  </a:lnTo>
                  <a:lnTo>
                    <a:pt x="22773" y="23125"/>
                  </a:lnTo>
                  <a:lnTo>
                    <a:pt x="23237" y="22661"/>
                  </a:lnTo>
                  <a:lnTo>
                    <a:pt x="23422" y="22420"/>
                  </a:lnTo>
                  <a:lnTo>
                    <a:pt x="23608" y="21863"/>
                  </a:lnTo>
                  <a:lnTo>
                    <a:pt x="23552" y="21288"/>
                  </a:lnTo>
                  <a:lnTo>
                    <a:pt x="23274" y="20768"/>
                  </a:lnTo>
                  <a:lnTo>
                    <a:pt x="23051" y="20564"/>
                  </a:lnTo>
                  <a:lnTo>
                    <a:pt x="21158" y="19042"/>
                  </a:lnTo>
                  <a:lnTo>
                    <a:pt x="20935" y="18875"/>
                  </a:lnTo>
                  <a:lnTo>
                    <a:pt x="20434" y="18726"/>
                  </a:lnTo>
                  <a:lnTo>
                    <a:pt x="19915" y="18745"/>
                  </a:lnTo>
                  <a:lnTo>
                    <a:pt x="19432" y="18949"/>
                  </a:lnTo>
                  <a:lnTo>
                    <a:pt x="19246" y="19135"/>
                  </a:lnTo>
                  <a:lnTo>
                    <a:pt x="18820" y="19543"/>
                  </a:lnTo>
                  <a:lnTo>
                    <a:pt x="17892" y="20230"/>
                  </a:lnTo>
                  <a:lnTo>
                    <a:pt x="17372" y="20527"/>
                  </a:lnTo>
                  <a:lnTo>
                    <a:pt x="16964" y="20731"/>
                  </a:lnTo>
                  <a:lnTo>
                    <a:pt x="16073" y="21046"/>
                  </a:lnTo>
                  <a:lnTo>
                    <a:pt x="15071" y="21269"/>
                  </a:lnTo>
                  <a:lnTo>
                    <a:pt x="13994" y="21380"/>
                  </a:lnTo>
                  <a:lnTo>
                    <a:pt x="13419" y="21380"/>
                  </a:lnTo>
                  <a:lnTo>
                    <a:pt x="12732" y="21362"/>
                  </a:lnTo>
                  <a:lnTo>
                    <a:pt x="11433" y="21120"/>
                  </a:lnTo>
                  <a:lnTo>
                    <a:pt x="10802" y="20916"/>
                  </a:lnTo>
                  <a:lnTo>
                    <a:pt x="10190" y="20657"/>
                  </a:lnTo>
                  <a:lnTo>
                    <a:pt x="9076" y="20026"/>
                  </a:lnTo>
                  <a:lnTo>
                    <a:pt x="8557" y="19636"/>
                  </a:lnTo>
                  <a:lnTo>
                    <a:pt x="8074" y="19209"/>
                  </a:lnTo>
                  <a:lnTo>
                    <a:pt x="7295" y="18244"/>
                  </a:lnTo>
                  <a:lnTo>
                    <a:pt x="6979" y="17706"/>
                  </a:lnTo>
                  <a:lnTo>
                    <a:pt x="6682" y="17130"/>
                  </a:lnTo>
                  <a:lnTo>
                    <a:pt x="6329" y="15905"/>
                  </a:lnTo>
                  <a:lnTo>
                    <a:pt x="6274" y="15237"/>
                  </a:lnTo>
                  <a:lnTo>
                    <a:pt x="23905" y="15237"/>
                  </a:lnTo>
                  <a:lnTo>
                    <a:pt x="24202" y="15200"/>
                  </a:lnTo>
                  <a:lnTo>
                    <a:pt x="24721" y="14996"/>
                  </a:lnTo>
                  <a:lnTo>
                    <a:pt x="25111" y="14606"/>
                  </a:lnTo>
                  <a:lnTo>
                    <a:pt x="25334" y="14087"/>
                  </a:lnTo>
                  <a:lnTo>
                    <a:pt x="25352" y="13790"/>
                  </a:lnTo>
                  <a:lnTo>
                    <a:pt x="25352" y="13567"/>
                  </a:lnTo>
                  <a:lnTo>
                    <a:pt x="25352" y="12713"/>
                  </a:lnTo>
                  <a:lnTo>
                    <a:pt x="25222" y="11136"/>
                  </a:lnTo>
                  <a:lnTo>
                    <a:pt x="25000" y="9651"/>
                  </a:lnTo>
                  <a:lnTo>
                    <a:pt x="24666" y="8278"/>
                  </a:lnTo>
                  <a:lnTo>
                    <a:pt x="24443" y="7647"/>
                  </a:lnTo>
                  <a:lnTo>
                    <a:pt x="24202" y="7016"/>
                  </a:lnTo>
                  <a:lnTo>
                    <a:pt x="23663" y="5847"/>
                  </a:lnTo>
                  <a:lnTo>
                    <a:pt x="23032" y="4807"/>
                  </a:lnTo>
                  <a:lnTo>
                    <a:pt x="22309" y="3842"/>
                  </a:lnTo>
                  <a:lnTo>
                    <a:pt x="21919" y="3415"/>
                  </a:lnTo>
                  <a:lnTo>
                    <a:pt x="21511" y="3007"/>
                  </a:lnTo>
                  <a:lnTo>
                    <a:pt x="20620" y="2265"/>
                  </a:lnTo>
                  <a:lnTo>
                    <a:pt x="19655" y="1615"/>
                  </a:lnTo>
                  <a:lnTo>
                    <a:pt x="18634" y="1096"/>
                  </a:lnTo>
                  <a:lnTo>
                    <a:pt x="18077" y="873"/>
                  </a:lnTo>
                  <a:lnTo>
                    <a:pt x="17520" y="650"/>
                  </a:lnTo>
                  <a:lnTo>
                    <a:pt x="16370" y="335"/>
                  </a:lnTo>
                  <a:lnTo>
                    <a:pt x="15163" y="112"/>
                  </a:lnTo>
                  <a:lnTo>
                    <a:pt x="13901" y="19"/>
                  </a:lnTo>
                  <a:lnTo>
                    <a:pt x="13252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" name="Google Shape;424;p25"/>
            <p:cNvSpPr/>
            <p:nvPr/>
          </p:nvSpPr>
          <p:spPr>
            <a:xfrm>
              <a:off x="5884625" y="2663300"/>
              <a:ext cx="579075" cy="659800"/>
            </a:xfrm>
            <a:custGeom>
              <a:avLst/>
              <a:gdLst/>
              <a:ahLst/>
              <a:cxnLst/>
              <a:rect l="l" t="t" r="r" b="b"/>
              <a:pathLst>
                <a:path w="23163" h="26392" extrusionOk="0">
                  <a:moveTo>
                    <a:pt x="17223" y="14347"/>
                  </a:moveTo>
                  <a:lnTo>
                    <a:pt x="17223" y="15237"/>
                  </a:lnTo>
                  <a:lnTo>
                    <a:pt x="17205" y="15961"/>
                  </a:lnTo>
                  <a:lnTo>
                    <a:pt x="17001" y="17297"/>
                  </a:lnTo>
                  <a:lnTo>
                    <a:pt x="16574" y="18467"/>
                  </a:lnTo>
                  <a:lnTo>
                    <a:pt x="15943" y="19487"/>
                  </a:lnTo>
                  <a:lnTo>
                    <a:pt x="15553" y="19933"/>
                  </a:lnTo>
                  <a:lnTo>
                    <a:pt x="15108" y="20341"/>
                  </a:lnTo>
                  <a:lnTo>
                    <a:pt x="14087" y="20991"/>
                  </a:lnTo>
                  <a:lnTo>
                    <a:pt x="12862" y="21417"/>
                  </a:lnTo>
                  <a:lnTo>
                    <a:pt x="11433" y="21640"/>
                  </a:lnTo>
                  <a:lnTo>
                    <a:pt x="10653" y="21659"/>
                  </a:lnTo>
                  <a:lnTo>
                    <a:pt x="9855" y="21622"/>
                  </a:lnTo>
                  <a:lnTo>
                    <a:pt x="9076" y="21492"/>
                  </a:lnTo>
                  <a:lnTo>
                    <a:pt x="8705" y="21417"/>
                  </a:lnTo>
                  <a:lnTo>
                    <a:pt x="8000" y="21158"/>
                  </a:lnTo>
                  <a:lnTo>
                    <a:pt x="7666" y="20972"/>
                  </a:lnTo>
                  <a:lnTo>
                    <a:pt x="7369" y="20786"/>
                  </a:lnTo>
                  <a:lnTo>
                    <a:pt x="6867" y="20304"/>
                  </a:lnTo>
                  <a:lnTo>
                    <a:pt x="6645" y="20007"/>
                  </a:lnTo>
                  <a:lnTo>
                    <a:pt x="6478" y="19691"/>
                  </a:lnTo>
                  <a:lnTo>
                    <a:pt x="6274" y="18949"/>
                  </a:lnTo>
                  <a:lnTo>
                    <a:pt x="6255" y="18522"/>
                  </a:lnTo>
                  <a:lnTo>
                    <a:pt x="6274" y="18170"/>
                  </a:lnTo>
                  <a:lnTo>
                    <a:pt x="6385" y="17557"/>
                  </a:lnTo>
                  <a:lnTo>
                    <a:pt x="6626" y="17000"/>
                  </a:lnTo>
                  <a:lnTo>
                    <a:pt x="6979" y="16518"/>
                  </a:lnTo>
                  <a:lnTo>
                    <a:pt x="7202" y="16314"/>
                  </a:lnTo>
                  <a:lnTo>
                    <a:pt x="7684" y="15924"/>
                  </a:lnTo>
                  <a:lnTo>
                    <a:pt x="8872" y="15293"/>
                  </a:lnTo>
                  <a:lnTo>
                    <a:pt x="9540" y="15052"/>
                  </a:lnTo>
                  <a:lnTo>
                    <a:pt x="10264" y="14848"/>
                  </a:lnTo>
                  <a:lnTo>
                    <a:pt x="11804" y="14551"/>
                  </a:lnTo>
                  <a:lnTo>
                    <a:pt x="12621" y="14476"/>
                  </a:lnTo>
                  <a:lnTo>
                    <a:pt x="14272" y="14365"/>
                  </a:lnTo>
                  <a:lnTo>
                    <a:pt x="15813" y="14347"/>
                  </a:lnTo>
                  <a:close/>
                  <a:moveTo>
                    <a:pt x="12008" y="1"/>
                  </a:moveTo>
                  <a:lnTo>
                    <a:pt x="11284" y="19"/>
                  </a:lnTo>
                  <a:lnTo>
                    <a:pt x="9855" y="131"/>
                  </a:lnTo>
                  <a:lnTo>
                    <a:pt x="8445" y="390"/>
                  </a:lnTo>
                  <a:lnTo>
                    <a:pt x="7035" y="762"/>
                  </a:lnTo>
                  <a:lnTo>
                    <a:pt x="6348" y="1003"/>
                  </a:lnTo>
                  <a:lnTo>
                    <a:pt x="5327" y="1374"/>
                  </a:lnTo>
                  <a:lnTo>
                    <a:pt x="3434" y="2376"/>
                  </a:lnTo>
                  <a:lnTo>
                    <a:pt x="2580" y="3007"/>
                  </a:lnTo>
                  <a:lnTo>
                    <a:pt x="2339" y="3193"/>
                  </a:lnTo>
                  <a:lnTo>
                    <a:pt x="2061" y="3712"/>
                  </a:lnTo>
                  <a:lnTo>
                    <a:pt x="2005" y="4269"/>
                  </a:lnTo>
                  <a:lnTo>
                    <a:pt x="2191" y="4845"/>
                  </a:lnTo>
                  <a:lnTo>
                    <a:pt x="2358" y="5086"/>
                  </a:lnTo>
                  <a:lnTo>
                    <a:pt x="3712" y="6663"/>
                  </a:lnTo>
                  <a:lnTo>
                    <a:pt x="3898" y="6867"/>
                  </a:lnTo>
                  <a:lnTo>
                    <a:pt x="4381" y="7127"/>
                  </a:lnTo>
                  <a:lnTo>
                    <a:pt x="4900" y="7183"/>
                  </a:lnTo>
                  <a:lnTo>
                    <a:pt x="5420" y="7053"/>
                  </a:lnTo>
                  <a:lnTo>
                    <a:pt x="5661" y="6905"/>
                  </a:lnTo>
                  <a:lnTo>
                    <a:pt x="6107" y="6589"/>
                  </a:lnTo>
                  <a:lnTo>
                    <a:pt x="7127" y="5995"/>
                  </a:lnTo>
                  <a:lnTo>
                    <a:pt x="7684" y="5735"/>
                  </a:lnTo>
                  <a:lnTo>
                    <a:pt x="8129" y="5550"/>
                  </a:lnTo>
                  <a:lnTo>
                    <a:pt x="9057" y="5234"/>
                  </a:lnTo>
                  <a:lnTo>
                    <a:pt x="10022" y="5012"/>
                  </a:lnTo>
                  <a:lnTo>
                    <a:pt x="10988" y="4919"/>
                  </a:lnTo>
                  <a:lnTo>
                    <a:pt x="11489" y="4900"/>
                  </a:lnTo>
                  <a:lnTo>
                    <a:pt x="12064" y="4919"/>
                  </a:lnTo>
                  <a:lnTo>
                    <a:pt x="13159" y="5049"/>
                  </a:lnTo>
                  <a:lnTo>
                    <a:pt x="14161" y="5346"/>
                  </a:lnTo>
                  <a:lnTo>
                    <a:pt x="15089" y="5754"/>
                  </a:lnTo>
                  <a:lnTo>
                    <a:pt x="15534" y="6032"/>
                  </a:lnTo>
                  <a:lnTo>
                    <a:pt x="15924" y="6311"/>
                  </a:lnTo>
                  <a:lnTo>
                    <a:pt x="16574" y="7034"/>
                  </a:lnTo>
                  <a:lnTo>
                    <a:pt x="16982" y="7907"/>
                  </a:lnTo>
                  <a:lnTo>
                    <a:pt x="17205" y="8927"/>
                  </a:lnTo>
                  <a:lnTo>
                    <a:pt x="17223" y="9484"/>
                  </a:lnTo>
                  <a:lnTo>
                    <a:pt x="17223" y="10115"/>
                  </a:lnTo>
                  <a:lnTo>
                    <a:pt x="15757" y="10134"/>
                  </a:lnTo>
                  <a:lnTo>
                    <a:pt x="12769" y="10282"/>
                  </a:lnTo>
                  <a:lnTo>
                    <a:pt x="11247" y="10412"/>
                  </a:lnTo>
                  <a:lnTo>
                    <a:pt x="9744" y="10579"/>
                  </a:lnTo>
                  <a:lnTo>
                    <a:pt x="7647" y="11006"/>
                  </a:lnTo>
                  <a:lnTo>
                    <a:pt x="6329" y="11359"/>
                  </a:lnTo>
                  <a:lnTo>
                    <a:pt x="5698" y="11581"/>
                  </a:lnTo>
                  <a:lnTo>
                    <a:pt x="5067" y="11804"/>
                  </a:lnTo>
                  <a:lnTo>
                    <a:pt x="3935" y="12361"/>
                  </a:lnTo>
                  <a:lnTo>
                    <a:pt x="2914" y="12992"/>
                  </a:lnTo>
                  <a:lnTo>
                    <a:pt x="2005" y="13734"/>
                  </a:lnTo>
                  <a:lnTo>
                    <a:pt x="1597" y="14142"/>
                  </a:lnTo>
                  <a:lnTo>
                    <a:pt x="1207" y="14569"/>
                  </a:lnTo>
                  <a:lnTo>
                    <a:pt x="613" y="15553"/>
                  </a:lnTo>
                  <a:lnTo>
                    <a:pt x="223" y="16666"/>
                  </a:lnTo>
                  <a:lnTo>
                    <a:pt x="19" y="17928"/>
                  </a:lnTo>
                  <a:lnTo>
                    <a:pt x="1" y="18615"/>
                  </a:lnTo>
                  <a:lnTo>
                    <a:pt x="19" y="19172"/>
                  </a:lnTo>
                  <a:lnTo>
                    <a:pt x="131" y="20174"/>
                  </a:lnTo>
                  <a:lnTo>
                    <a:pt x="353" y="21083"/>
                  </a:lnTo>
                  <a:lnTo>
                    <a:pt x="706" y="21919"/>
                  </a:lnTo>
                  <a:lnTo>
                    <a:pt x="910" y="22308"/>
                  </a:lnTo>
                  <a:lnTo>
                    <a:pt x="1151" y="22661"/>
                  </a:lnTo>
                  <a:lnTo>
                    <a:pt x="1671" y="23348"/>
                  </a:lnTo>
                  <a:lnTo>
                    <a:pt x="2246" y="23941"/>
                  </a:lnTo>
                  <a:lnTo>
                    <a:pt x="2877" y="24461"/>
                  </a:lnTo>
                  <a:lnTo>
                    <a:pt x="3211" y="24702"/>
                  </a:lnTo>
                  <a:lnTo>
                    <a:pt x="3917" y="25129"/>
                  </a:lnTo>
                  <a:lnTo>
                    <a:pt x="5420" y="25779"/>
                  </a:lnTo>
                  <a:lnTo>
                    <a:pt x="6236" y="26001"/>
                  </a:lnTo>
                  <a:lnTo>
                    <a:pt x="7053" y="26187"/>
                  </a:lnTo>
                  <a:lnTo>
                    <a:pt x="8631" y="26373"/>
                  </a:lnTo>
                  <a:lnTo>
                    <a:pt x="9391" y="26391"/>
                  </a:lnTo>
                  <a:lnTo>
                    <a:pt x="10060" y="26391"/>
                  </a:lnTo>
                  <a:lnTo>
                    <a:pt x="11303" y="26243"/>
                  </a:lnTo>
                  <a:lnTo>
                    <a:pt x="12491" y="25983"/>
                  </a:lnTo>
                  <a:lnTo>
                    <a:pt x="13604" y="25575"/>
                  </a:lnTo>
                  <a:lnTo>
                    <a:pt x="14143" y="25315"/>
                  </a:lnTo>
                  <a:lnTo>
                    <a:pt x="14644" y="25055"/>
                  </a:lnTo>
                  <a:lnTo>
                    <a:pt x="15553" y="24442"/>
                  </a:lnTo>
                  <a:lnTo>
                    <a:pt x="16314" y="23756"/>
                  </a:lnTo>
                  <a:lnTo>
                    <a:pt x="16926" y="22995"/>
                  </a:lnTo>
                  <a:lnTo>
                    <a:pt x="17168" y="22587"/>
                  </a:lnTo>
                  <a:lnTo>
                    <a:pt x="17316" y="22587"/>
                  </a:lnTo>
                  <a:lnTo>
                    <a:pt x="17316" y="24313"/>
                  </a:lnTo>
                  <a:lnTo>
                    <a:pt x="17335" y="24610"/>
                  </a:lnTo>
                  <a:lnTo>
                    <a:pt x="17557" y="25129"/>
                  </a:lnTo>
                  <a:lnTo>
                    <a:pt x="17947" y="25519"/>
                  </a:lnTo>
                  <a:lnTo>
                    <a:pt x="18467" y="25742"/>
                  </a:lnTo>
                  <a:lnTo>
                    <a:pt x="18764" y="25760"/>
                  </a:lnTo>
                  <a:lnTo>
                    <a:pt x="21715" y="25760"/>
                  </a:lnTo>
                  <a:lnTo>
                    <a:pt x="22011" y="25742"/>
                  </a:lnTo>
                  <a:lnTo>
                    <a:pt x="22531" y="25519"/>
                  </a:lnTo>
                  <a:lnTo>
                    <a:pt x="22921" y="25129"/>
                  </a:lnTo>
                  <a:lnTo>
                    <a:pt x="23144" y="24610"/>
                  </a:lnTo>
                  <a:lnTo>
                    <a:pt x="23162" y="24313"/>
                  </a:lnTo>
                  <a:lnTo>
                    <a:pt x="23162" y="10542"/>
                  </a:lnTo>
                  <a:lnTo>
                    <a:pt x="23144" y="9596"/>
                  </a:lnTo>
                  <a:lnTo>
                    <a:pt x="22902" y="7721"/>
                  </a:lnTo>
                  <a:lnTo>
                    <a:pt x="22661" y="6775"/>
                  </a:lnTo>
                  <a:lnTo>
                    <a:pt x="22531" y="6311"/>
                  </a:lnTo>
                  <a:lnTo>
                    <a:pt x="22197" y="5420"/>
                  </a:lnTo>
                  <a:lnTo>
                    <a:pt x="21752" y="4566"/>
                  </a:lnTo>
                  <a:lnTo>
                    <a:pt x="21232" y="3768"/>
                  </a:lnTo>
                  <a:lnTo>
                    <a:pt x="20917" y="3378"/>
                  </a:lnTo>
                  <a:lnTo>
                    <a:pt x="20917" y="3397"/>
                  </a:lnTo>
                  <a:lnTo>
                    <a:pt x="20601" y="3026"/>
                  </a:lnTo>
                  <a:lnTo>
                    <a:pt x="19859" y="2339"/>
                  </a:lnTo>
                  <a:lnTo>
                    <a:pt x="19005" y="1727"/>
                  </a:lnTo>
                  <a:lnTo>
                    <a:pt x="18040" y="1188"/>
                  </a:lnTo>
                  <a:lnTo>
                    <a:pt x="17502" y="947"/>
                  </a:lnTo>
                  <a:lnTo>
                    <a:pt x="16945" y="724"/>
                  </a:lnTo>
                  <a:lnTo>
                    <a:pt x="15720" y="372"/>
                  </a:lnTo>
                  <a:lnTo>
                    <a:pt x="14347" y="131"/>
                  </a:lnTo>
                  <a:lnTo>
                    <a:pt x="12825" y="19"/>
                  </a:lnTo>
                  <a:lnTo>
                    <a:pt x="12008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" name="Google Shape;425;p25"/>
            <p:cNvSpPr/>
            <p:nvPr/>
          </p:nvSpPr>
          <p:spPr>
            <a:xfrm>
              <a:off x="6545800" y="2664225"/>
              <a:ext cx="373975" cy="643550"/>
            </a:xfrm>
            <a:custGeom>
              <a:avLst/>
              <a:gdLst/>
              <a:ahLst/>
              <a:cxnLst/>
              <a:rect l="l" t="t" r="r" b="b"/>
              <a:pathLst>
                <a:path w="14959" h="25742" extrusionOk="0">
                  <a:moveTo>
                    <a:pt x="13400" y="1"/>
                  </a:moveTo>
                  <a:lnTo>
                    <a:pt x="13400" y="19"/>
                  </a:lnTo>
                  <a:lnTo>
                    <a:pt x="12639" y="75"/>
                  </a:lnTo>
                  <a:lnTo>
                    <a:pt x="11339" y="279"/>
                  </a:lnTo>
                  <a:lnTo>
                    <a:pt x="10300" y="613"/>
                  </a:lnTo>
                  <a:lnTo>
                    <a:pt x="9409" y="1059"/>
                  </a:lnTo>
                  <a:lnTo>
                    <a:pt x="9020" y="1318"/>
                  </a:lnTo>
                  <a:lnTo>
                    <a:pt x="8556" y="1671"/>
                  </a:lnTo>
                  <a:lnTo>
                    <a:pt x="7721" y="2451"/>
                  </a:lnTo>
                  <a:lnTo>
                    <a:pt x="6997" y="3341"/>
                  </a:lnTo>
                  <a:lnTo>
                    <a:pt x="6366" y="4325"/>
                  </a:lnTo>
                  <a:lnTo>
                    <a:pt x="6106" y="4863"/>
                  </a:lnTo>
                  <a:lnTo>
                    <a:pt x="5995" y="4863"/>
                  </a:lnTo>
                  <a:lnTo>
                    <a:pt x="5995" y="2135"/>
                  </a:lnTo>
                  <a:lnTo>
                    <a:pt x="5976" y="1838"/>
                  </a:lnTo>
                  <a:lnTo>
                    <a:pt x="5753" y="1318"/>
                  </a:lnTo>
                  <a:lnTo>
                    <a:pt x="5364" y="929"/>
                  </a:lnTo>
                  <a:lnTo>
                    <a:pt x="4844" y="706"/>
                  </a:lnTo>
                  <a:lnTo>
                    <a:pt x="4547" y="687"/>
                  </a:lnTo>
                  <a:lnTo>
                    <a:pt x="1448" y="687"/>
                  </a:lnTo>
                  <a:lnTo>
                    <a:pt x="1151" y="706"/>
                  </a:lnTo>
                  <a:lnTo>
                    <a:pt x="631" y="929"/>
                  </a:lnTo>
                  <a:lnTo>
                    <a:pt x="241" y="1318"/>
                  </a:lnTo>
                  <a:lnTo>
                    <a:pt x="19" y="1838"/>
                  </a:lnTo>
                  <a:lnTo>
                    <a:pt x="0" y="2135"/>
                  </a:lnTo>
                  <a:lnTo>
                    <a:pt x="0" y="24276"/>
                  </a:lnTo>
                  <a:lnTo>
                    <a:pt x="19" y="24573"/>
                  </a:lnTo>
                  <a:lnTo>
                    <a:pt x="241" y="25092"/>
                  </a:lnTo>
                  <a:lnTo>
                    <a:pt x="631" y="25500"/>
                  </a:lnTo>
                  <a:lnTo>
                    <a:pt x="1151" y="25705"/>
                  </a:lnTo>
                  <a:lnTo>
                    <a:pt x="1448" y="25742"/>
                  </a:lnTo>
                  <a:lnTo>
                    <a:pt x="4807" y="25742"/>
                  </a:lnTo>
                  <a:lnTo>
                    <a:pt x="5104" y="25705"/>
                  </a:lnTo>
                  <a:lnTo>
                    <a:pt x="5623" y="25500"/>
                  </a:lnTo>
                  <a:lnTo>
                    <a:pt x="6013" y="25092"/>
                  </a:lnTo>
                  <a:lnTo>
                    <a:pt x="6236" y="24573"/>
                  </a:lnTo>
                  <a:lnTo>
                    <a:pt x="6254" y="24276"/>
                  </a:lnTo>
                  <a:lnTo>
                    <a:pt x="6254" y="12324"/>
                  </a:lnTo>
                  <a:lnTo>
                    <a:pt x="6273" y="11971"/>
                  </a:lnTo>
                  <a:lnTo>
                    <a:pt x="6403" y="11062"/>
                  </a:lnTo>
                  <a:lnTo>
                    <a:pt x="6514" y="10505"/>
                  </a:lnTo>
                  <a:lnTo>
                    <a:pt x="6663" y="9930"/>
                  </a:lnTo>
                  <a:lnTo>
                    <a:pt x="7164" y="8816"/>
                  </a:lnTo>
                  <a:lnTo>
                    <a:pt x="7516" y="8259"/>
                  </a:lnTo>
                  <a:lnTo>
                    <a:pt x="7906" y="7721"/>
                  </a:lnTo>
                  <a:lnTo>
                    <a:pt x="8908" y="6775"/>
                  </a:lnTo>
                  <a:lnTo>
                    <a:pt x="9539" y="6385"/>
                  </a:lnTo>
                  <a:lnTo>
                    <a:pt x="10170" y="6014"/>
                  </a:lnTo>
                  <a:lnTo>
                    <a:pt x="11636" y="5439"/>
                  </a:lnTo>
                  <a:lnTo>
                    <a:pt x="12917" y="5142"/>
                  </a:lnTo>
                  <a:lnTo>
                    <a:pt x="13678" y="5030"/>
                  </a:lnTo>
                  <a:lnTo>
                    <a:pt x="13938" y="4993"/>
                  </a:lnTo>
                  <a:lnTo>
                    <a:pt x="14420" y="4752"/>
                  </a:lnTo>
                  <a:lnTo>
                    <a:pt x="14754" y="4344"/>
                  </a:lnTo>
                  <a:lnTo>
                    <a:pt x="14940" y="3861"/>
                  </a:lnTo>
                  <a:lnTo>
                    <a:pt x="14958" y="3583"/>
                  </a:lnTo>
                  <a:lnTo>
                    <a:pt x="14940" y="1430"/>
                  </a:lnTo>
                  <a:lnTo>
                    <a:pt x="14903" y="1133"/>
                  </a:lnTo>
                  <a:lnTo>
                    <a:pt x="14661" y="595"/>
                  </a:lnTo>
                  <a:lnTo>
                    <a:pt x="14253" y="205"/>
                  </a:lnTo>
                  <a:lnTo>
                    <a:pt x="13696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" name="Google Shape;426;p25"/>
            <p:cNvSpPr/>
            <p:nvPr/>
          </p:nvSpPr>
          <p:spPr>
            <a:xfrm>
              <a:off x="6961975" y="2500450"/>
              <a:ext cx="420375" cy="820325"/>
            </a:xfrm>
            <a:custGeom>
              <a:avLst/>
              <a:gdLst/>
              <a:ahLst/>
              <a:cxnLst/>
              <a:rect l="l" t="t" r="r" b="b"/>
              <a:pathLst>
                <a:path w="16815" h="32813" extrusionOk="0">
                  <a:moveTo>
                    <a:pt x="5846" y="1"/>
                  </a:moveTo>
                  <a:lnTo>
                    <a:pt x="5549" y="19"/>
                  </a:lnTo>
                  <a:lnTo>
                    <a:pt x="5030" y="242"/>
                  </a:lnTo>
                  <a:lnTo>
                    <a:pt x="4621" y="632"/>
                  </a:lnTo>
                  <a:lnTo>
                    <a:pt x="4417" y="1151"/>
                  </a:lnTo>
                  <a:lnTo>
                    <a:pt x="4399" y="1448"/>
                  </a:lnTo>
                  <a:lnTo>
                    <a:pt x="4399" y="6515"/>
                  </a:lnTo>
                  <a:lnTo>
                    <a:pt x="1448" y="6515"/>
                  </a:lnTo>
                  <a:lnTo>
                    <a:pt x="1169" y="6533"/>
                  </a:lnTo>
                  <a:lnTo>
                    <a:pt x="650" y="6756"/>
                  </a:lnTo>
                  <a:lnTo>
                    <a:pt x="242" y="7146"/>
                  </a:lnTo>
                  <a:lnTo>
                    <a:pt x="19" y="7665"/>
                  </a:lnTo>
                  <a:lnTo>
                    <a:pt x="0" y="7962"/>
                  </a:lnTo>
                  <a:lnTo>
                    <a:pt x="0" y="10078"/>
                  </a:lnTo>
                  <a:lnTo>
                    <a:pt x="19" y="10375"/>
                  </a:lnTo>
                  <a:lnTo>
                    <a:pt x="242" y="10895"/>
                  </a:lnTo>
                  <a:lnTo>
                    <a:pt x="650" y="11284"/>
                  </a:lnTo>
                  <a:lnTo>
                    <a:pt x="1169" y="11507"/>
                  </a:lnTo>
                  <a:lnTo>
                    <a:pt x="1448" y="11526"/>
                  </a:lnTo>
                  <a:lnTo>
                    <a:pt x="4399" y="11526"/>
                  </a:lnTo>
                  <a:lnTo>
                    <a:pt x="4399" y="23941"/>
                  </a:lnTo>
                  <a:lnTo>
                    <a:pt x="4399" y="24851"/>
                  </a:lnTo>
                  <a:lnTo>
                    <a:pt x="4566" y="26558"/>
                  </a:lnTo>
                  <a:lnTo>
                    <a:pt x="4733" y="27356"/>
                  </a:lnTo>
                  <a:lnTo>
                    <a:pt x="4918" y="28136"/>
                  </a:lnTo>
                  <a:lnTo>
                    <a:pt x="5549" y="29546"/>
                  </a:lnTo>
                  <a:lnTo>
                    <a:pt x="5976" y="30177"/>
                  </a:lnTo>
                  <a:lnTo>
                    <a:pt x="6217" y="30474"/>
                  </a:lnTo>
                  <a:lnTo>
                    <a:pt x="6756" y="31031"/>
                  </a:lnTo>
                  <a:lnTo>
                    <a:pt x="7368" y="31513"/>
                  </a:lnTo>
                  <a:lnTo>
                    <a:pt x="8073" y="31922"/>
                  </a:lnTo>
                  <a:lnTo>
                    <a:pt x="8463" y="32107"/>
                  </a:lnTo>
                  <a:lnTo>
                    <a:pt x="8853" y="32274"/>
                  </a:lnTo>
                  <a:lnTo>
                    <a:pt x="9762" y="32534"/>
                  </a:lnTo>
                  <a:lnTo>
                    <a:pt x="10783" y="32720"/>
                  </a:lnTo>
                  <a:lnTo>
                    <a:pt x="11915" y="32794"/>
                  </a:lnTo>
                  <a:lnTo>
                    <a:pt x="12527" y="32812"/>
                  </a:lnTo>
                  <a:lnTo>
                    <a:pt x="13047" y="32794"/>
                  </a:lnTo>
                  <a:lnTo>
                    <a:pt x="14142" y="32701"/>
                  </a:lnTo>
                  <a:lnTo>
                    <a:pt x="14717" y="32627"/>
                  </a:lnTo>
                  <a:lnTo>
                    <a:pt x="15274" y="32534"/>
                  </a:lnTo>
                  <a:lnTo>
                    <a:pt x="16276" y="32274"/>
                  </a:lnTo>
                  <a:lnTo>
                    <a:pt x="16703" y="32126"/>
                  </a:lnTo>
                  <a:lnTo>
                    <a:pt x="16499" y="27226"/>
                  </a:lnTo>
                  <a:lnTo>
                    <a:pt x="15887" y="27467"/>
                  </a:lnTo>
                  <a:lnTo>
                    <a:pt x="15181" y="27616"/>
                  </a:lnTo>
                  <a:lnTo>
                    <a:pt x="14476" y="27727"/>
                  </a:lnTo>
                  <a:lnTo>
                    <a:pt x="13827" y="27746"/>
                  </a:lnTo>
                  <a:lnTo>
                    <a:pt x="13326" y="27746"/>
                  </a:lnTo>
                  <a:lnTo>
                    <a:pt x="12472" y="27597"/>
                  </a:lnTo>
                  <a:lnTo>
                    <a:pt x="11804" y="27319"/>
                  </a:lnTo>
                  <a:lnTo>
                    <a:pt x="11303" y="26911"/>
                  </a:lnTo>
                  <a:lnTo>
                    <a:pt x="11154" y="26651"/>
                  </a:lnTo>
                  <a:lnTo>
                    <a:pt x="11006" y="26372"/>
                  </a:lnTo>
                  <a:lnTo>
                    <a:pt x="10783" y="25760"/>
                  </a:lnTo>
                  <a:lnTo>
                    <a:pt x="10560" y="24702"/>
                  </a:lnTo>
                  <a:lnTo>
                    <a:pt x="10542" y="23886"/>
                  </a:lnTo>
                  <a:lnTo>
                    <a:pt x="10542" y="11526"/>
                  </a:lnTo>
                  <a:lnTo>
                    <a:pt x="15367" y="11526"/>
                  </a:lnTo>
                  <a:lnTo>
                    <a:pt x="15645" y="11507"/>
                  </a:lnTo>
                  <a:lnTo>
                    <a:pt x="16165" y="11284"/>
                  </a:lnTo>
                  <a:lnTo>
                    <a:pt x="16573" y="10895"/>
                  </a:lnTo>
                  <a:lnTo>
                    <a:pt x="16796" y="10375"/>
                  </a:lnTo>
                  <a:lnTo>
                    <a:pt x="16815" y="10078"/>
                  </a:lnTo>
                  <a:lnTo>
                    <a:pt x="16815" y="7962"/>
                  </a:lnTo>
                  <a:lnTo>
                    <a:pt x="16796" y="7665"/>
                  </a:lnTo>
                  <a:lnTo>
                    <a:pt x="16573" y="7146"/>
                  </a:lnTo>
                  <a:lnTo>
                    <a:pt x="16165" y="6756"/>
                  </a:lnTo>
                  <a:lnTo>
                    <a:pt x="15645" y="6533"/>
                  </a:lnTo>
                  <a:lnTo>
                    <a:pt x="15367" y="6515"/>
                  </a:lnTo>
                  <a:lnTo>
                    <a:pt x="10542" y="6515"/>
                  </a:lnTo>
                  <a:lnTo>
                    <a:pt x="10542" y="1448"/>
                  </a:lnTo>
                  <a:lnTo>
                    <a:pt x="10523" y="1151"/>
                  </a:lnTo>
                  <a:lnTo>
                    <a:pt x="10300" y="632"/>
                  </a:lnTo>
                  <a:lnTo>
                    <a:pt x="9911" y="242"/>
                  </a:lnTo>
                  <a:lnTo>
                    <a:pt x="9391" y="19"/>
                  </a:lnTo>
                  <a:lnTo>
                    <a:pt x="9094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" name="Google Shape;427;p25"/>
            <p:cNvSpPr/>
            <p:nvPr/>
          </p:nvSpPr>
          <p:spPr>
            <a:xfrm>
              <a:off x="4511750" y="2466575"/>
              <a:ext cx="655150" cy="841200"/>
            </a:xfrm>
            <a:custGeom>
              <a:avLst/>
              <a:gdLst/>
              <a:ahLst/>
              <a:cxnLst/>
              <a:rect l="l" t="t" r="r" b="b"/>
              <a:pathLst>
                <a:path w="26206" h="33648" extrusionOk="0">
                  <a:moveTo>
                    <a:pt x="1466" y="1"/>
                  </a:moveTo>
                  <a:lnTo>
                    <a:pt x="1169" y="19"/>
                  </a:lnTo>
                  <a:lnTo>
                    <a:pt x="650" y="242"/>
                  </a:lnTo>
                  <a:lnTo>
                    <a:pt x="241" y="632"/>
                  </a:lnTo>
                  <a:lnTo>
                    <a:pt x="19" y="1151"/>
                  </a:lnTo>
                  <a:lnTo>
                    <a:pt x="0" y="1448"/>
                  </a:lnTo>
                  <a:lnTo>
                    <a:pt x="0" y="32200"/>
                  </a:lnTo>
                  <a:lnTo>
                    <a:pt x="19" y="32497"/>
                  </a:lnTo>
                  <a:lnTo>
                    <a:pt x="241" y="33017"/>
                  </a:lnTo>
                  <a:lnTo>
                    <a:pt x="650" y="33406"/>
                  </a:lnTo>
                  <a:lnTo>
                    <a:pt x="1169" y="33629"/>
                  </a:lnTo>
                  <a:lnTo>
                    <a:pt x="1466" y="33648"/>
                  </a:lnTo>
                  <a:lnTo>
                    <a:pt x="4825" y="33648"/>
                  </a:lnTo>
                  <a:lnTo>
                    <a:pt x="5122" y="33629"/>
                  </a:lnTo>
                  <a:lnTo>
                    <a:pt x="5642" y="33406"/>
                  </a:lnTo>
                  <a:lnTo>
                    <a:pt x="6032" y="33017"/>
                  </a:lnTo>
                  <a:lnTo>
                    <a:pt x="6255" y="32497"/>
                  </a:lnTo>
                  <a:lnTo>
                    <a:pt x="6273" y="32200"/>
                  </a:lnTo>
                  <a:lnTo>
                    <a:pt x="6273" y="18133"/>
                  </a:lnTo>
                  <a:lnTo>
                    <a:pt x="19932" y="18133"/>
                  </a:lnTo>
                  <a:lnTo>
                    <a:pt x="19932" y="32200"/>
                  </a:lnTo>
                  <a:lnTo>
                    <a:pt x="19951" y="32497"/>
                  </a:lnTo>
                  <a:lnTo>
                    <a:pt x="20174" y="33017"/>
                  </a:lnTo>
                  <a:lnTo>
                    <a:pt x="20563" y="33406"/>
                  </a:lnTo>
                  <a:lnTo>
                    <a:pt x="21083" y="33629"/>
                  </a:lnTo>
                  <a:lnTo>
                    <a:pt x="21380" y="33648"/>
                  </a:lnTo>
                  <a:lnTo>
                    <a:pt x="24758" y="33648"/>
                  </a:lnTo>
                  <a:lnTo>
                    <a:pt x="25036" y="33629"/>
                  </a:lnTo>
                  <a:lnTo>
                    <a:pt x="25556" y="33406"/>
                  </a:lnTo>
                  <a:lnTo>
                    <a:pt x="25964" y="33017"/>
                  </a:lnTo>
                  <a:lnTo>
                    <a:pt x="26187" y="32497"/>
                  </a:lnTo>
                  <a:lnTo>
                    <a:pt x="26205" y="32200"/>
                  </a:lnTo>
                  <a:lnTo>
                    <a:pt x="26205" y="1448"/>
                  </a:lnTo>
                  <a:lnTo>
                    <a:pt x="26187" y="1151"/>
                  </a:lnTo>
                  <a:lnTo>
                    <a:pt x="25964" y="632"/>
                  </a:lnTo>
                  <a:lnTo>
                    <a:pt x="25556" y="242"/>
                  </a:lnTo>
                  <a:lnTo>
                    <a:pt x="25036" y="19"/>
                  </a:lnTo>
                  <a:lnTo>
                    <a:pt x="24758" y="1"/>
                  </a:lnTo>
                  <a:lnTo>
                    <a:pt x="21380" y="1"/>
                  </a:lnTo>
                  <a:lnTo>
                    <a:pt x="21083" y="19"/>
                  </a:lnTo>
                  <a:lnTo>
                    <a:pt x="20563" y="242"/>
                  </a:lnTo>
                  <a:lnTo>
                    <a:pt x="20174" y="632"/>
                  </a:lnTo>
                  <a:lnTo>
                    <a:pt x="19951" y="1151"/>
                  </a:lnTo>
                  <a:lnTo>
                    <a:pt x="19932" y="1448"/>
                  </a:lnTo>
                  <a:lnTo>
                    <a:pt x="19932" y="13641"/>
                  </a:lnTo>
                  <a:lnTo>
                    <a:pt x="6273" y="13641"/>
                  </a:lnTo>
                  <a:lnTo>
                    <a:pt x="6273" y="1448"/>
                  </a:lnTo>
                  <a:lnTo>
                    <a:pt x="6255" y="1151"/>
                  </a:lnTo>
                  <a:lnTo>
                    <a:pt x="6032" y="632"/>
                  </a:lnTo>
                  <a:lnTo>
                    <a:pt x="5642" y="242"/>
                  </a:lnTo>
                  <a:lnTo>
                    <a:pt x="5122" y="19"/>
                  </a:lnTo>
                  <a:lnTo>
                    <a:pt x="4825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" name="Google Shape;428;p25"/>
            <p:cNvSpPr/>
            <p:nvPr/>
          </p:nvSpPr>
          <p:spPr>
            <a:xfrm>
              <a:off x="2392800" y="2663300"/>
              <a:ext cx="633800" cy="662575"/>
            </a:xfrm>
            <a:custGeom>
              <a:avLst/>
              <a:gdLst/>
              <a:ahLst/>
              <a:cxnLst/>
              <a:rect l="l" t="t" r="r" b="b"/>
              <a:pathLst>
                <a:path w="25352" h="26503" extrusionOk="0">
                  <a:moveTo>
                    <a:pt x="13195" y="4696"/>
                  </a:moveTo>
                  <a:lnTo>
                    <a:pt x="13938" y="4715"/>
                  </a:lnTo>
                  <a:lnTo>
                    <a:pt x="15255" y="4974"/>
                  </a:lnTo>
                  <a:lnTo>
                    <a:pt x="15831" y="5197"/>
                  </a:lnTo>
                  <a:lnTo>
                    <a:pt x="16369" y="5457"/>
                  </a:lnTo>
                  <a:lnTo>
                    <a:pt x="17297" y="6125"/>
                  </a:lnTo>
                  <a:lnTo>
                    <a:pt x="17687" y="6515"/>
                  </a:lnTo>
                  <a:lnTo>
                    <a:pt x="18039" y="6942"/>
                  </a:lnTo>
                  <a:lnTo>
                    <a:pt x="18559" y="7907"/>
                  </a:lnTo>
                  <a:lnTo>
                    <a:pt x="18745" y="8445"/>
                  </a:lnTo>
                  <a:lnTo>
                    <a:pt x="18912" y="9002"/>
                  </a:lnTo>
                  <a:lnTo>
                    <a:pt x="19079" y="10152"/>
                  </a:lnTo>
                  <a:lnTo>
                    <a:pt x="19097" y="10746"/>
                  </a:lnTo>
                  <a:lnTo>
                    <a:pt x="6254" y="10746"/>
                  </a:lnTo>
                  <a:lnTo>
                    <a:pt x="6329" y="10097"/>
                  </a:lnTo>
                  <a:lnTo>
                    <a:pt x="6663" y="8890"/>
                  </a:lnTo>
                  <a:lnTo>
                    <a:pt x="7201" y="7795"/>
                  </a:lnTo>
                  <a:lnTo>
                    <a:pt x="7962" y="6830"/>
                  </a:lnTo>
                  <a:lnTo>
                    <a:pt x="8426" y="6403"/>
                  </a:lnTo>
                  <a:lnTo>
                    <a:pt x="8927" y="5995"/>
                  </a:lnTo>
                  <a:lnTo>
                    <a:pt x="10003" y="5346"/>
                  </a:lnTo>
                  <a:lnTo>
                    <a:pt x="11210" y="4937"/>
                  </a:lnTo>
                  <a:lnTo>
                    <a:pt x="12509" y="4715"/>
                  </a:lnTo>
                  <a:lnTo>
                    <a:pt x="13195" y="4696"/>
                  </a:lnTo>
                  <a:close/>
                  <a:moveTo>
                    <a:pt x="13251" y="1"/>
                  </a:moveTo>
                  <a:lnTo>
                    <a:pt x="12546" y="19"/>
                  </a:lnTo>
                  <a:lnTo>
                    <a:pt x="11191" y="131"/>
                  </a:lnTo>
                  <a:lnTo>
                    <a:pt x="9873" y="372"/>
                  </a:lnTo>
                  <a:lnTo>
                    <a:pt x="8611" y="743"/>
                  </a:lnTo>
                  <a:lnTo>
                    <a:pt x="8018" y="966"/>
                  </a:lnTo>
                  <a:lnTo>
                    <a:pt x="7405" y="1226"/>
                  </a:lnTo>
                  <a:lnTo>
                    <a:pt x="6273" y="1801"/>
                  </a:lnTo>
                  <a:lnTo>
                    <a:pt x="5234" y="2469"/>
                  </a:lnTo>
                  <a:lnTo>
                    <a:pt x="4269" y="3248"/>
                  </a:lnTo>
                  <a:lnTo>
                    <a:pt x="3805" y="3675"/>
                  </a:lnTo>
                  <a:lnTo>
                    <a:pt x="3378" y="4121"/>
                  </a:lnTo>
                  <a:lnTo>
                    <a:pt x="2580" y="5086"/>
                  </a:lnTo>
                  <a:lnTo>
                    <a:pt x="1875" y="6144"/>
                  </a:lnTo>
                  <a:lnTo>
                    <a:pt x="1281" y="7294"/>
                  </a:lnTo>
                  <a:lnTo>
                    <a:pt x="1021" y="7907"/>
                  </a:lnTo>
                  <a:lnTo>
                    <a:pt x="780" y="8538"/>
                  </a:lnTo>
                  <a:lnTo>
                    <a:pt x="390" y="9837"/>
                  </a:lnTo>
                  <a:lnTo>
                    <a:pt x="130" y="11210"/>
                  </a:lnTo>
                  <a:lnTo>
                    <a:pt x="19" y="12658"/>
                  </a:lnTo>
                  <a:lnTo>
                    <a:pt x="0" y="13400"/>
                  </a:lnTo>
                  <a:lnTo>
                    <a:pt x="19" y="14161"/>
                  </a:lnTo>
                  <a:lnTo>
                    <a:pt x="130" y="15609"/>
                  </a:lnTo>
                  <a:lnTo>
                    <a:pt x="390" y="17000"/>
                  </a:lnTo>
                  <a:lnTo>
                    <a:pt x="780" y="18300"/>
                  </a:lnTo>
                  <a:lnTo>
                    <a:pt x="1021" y="18912"/>
                  </a:lnTo>
                  <a:lnTo>
                    <a:pt x="1281" y="19506"/>
                  </a:lnTo>
                  <a:lnTo>
                    <a:pt x="1893" y="20619"/>
                  </a:lnTo>
                  <a:lnTo>
                    <a:pt x="2598" y="21659"/>
                  </a:lnTo>
                  <a:lnTo>
                    <a:pt x="3396" y="22587"/>
                  </a:lnTo>
                  <a:lnTo>
                    <a:pt x="3842" y="23013"/>
                  </a:lnTo>
                  <a:lnTo>
                    <a:pt x="4287" y="23422"/>
                  </a:lnTo>
                  <a:lnTo>
                    <a:pt x="5271" y="24146"/>
                  </a:lnTo>
                  <a:lnTo>
                    <a:pt x="6329" y="24795"/>
                  </a:lnTo>
                  <a:lnTo>
                    <a:pt x="7479" y="25352"/>
                  </a:lnTo>
                  <a:lnTo>
                    <a:pt x="8092" y="25593"/>
                  </a:lnTo>
                  <a:lnTo>
                    <a:pt x="8704" y="25797"/>
                  </a:lnTo>
                  <a:lnTo>
                    <a:pt x="9985" y="26150"/>
                  </a:lnTo>
                  <a:lnTo>
                    <a:pt x="11340" y="26373"/>
                  </a:lnTo>
                  <a:lnTo>
                    <a:pt x="12731" y="26484"/>
                  </a:lnTo>
                  <a:lnTo>
                    <a:pt x="13455" y="26503"/>
                  </a:lnTo>
                  <a:lnTo>
                    <a:pt x="14216" y="26484"/>
                  </a:lnTo>
                  <a:lnTo>
                    <a:pt x="15682" y="26373"/>
                  </a:lnTo>
                  <a:lnTo>
                    <a:pt x="17074" y="26131"/>
                  </a:lnTo>
                  <a:lnTo>
                    <a:pt x="18373" y="25760"/>
                  </a:lnTo>
                  <a:lnTo>
                    <a:pt x="19598" y="25296"/>
                  </a:lnTo>
                  <a:lnTo>
                    <a:pt x="20730" y="24684"/>
                  </a:lnTo>
                  <a:lnTo>
                    <a:pt x="21788" y="23960"/>
                  </a:lnTo>
                  <a:lnTo>
                    <a:pt x="22772" y="23125"/>
                  </a:lnTo>
                  <a:lnTo>
                    <a:pt x="23236" y="22661"/>
                  </a:lnTo>
                  <a:lnTo>
                    <a:pt x="23421" y="22420"/>
                  </a:lnTo>
                  <a:lnTo>
                    <a:pt x="23607" y="21863"/>
                  </a:lnTo>
                  <a:lnTo>
                    <a:pt x="23551" y="21288"/>
                  </a:lnTo>
                  <a:lnTo>
                    <a:pt x="23273" y="20768"/>
                  </a:lnTo>
                  <a:lnTo>
                    <a:pt x="23050" y="20564"/>
                  </a:lnTo>
                  <a:lnTo>
                    <a:pt x="21139" y="19042"/>
                  </a:lnTo>
                  <a:lnTo>
                    <a:pt x="20916" y="18875"/>
                  </a:lnTo>
                  <a:lnTo>
                    <a:pt x="20415" y="18726"/>
                  </a:lnTo>
                  <a:lnTo>
                    <a:pt x="19914" y="18745"/>
                  </a:lnTo>
                  <a:lnTo>
                    <a:pt x="19431" y="18949"/>
                  </a:lnTo>
                  <a:lnTo>
                    <a:pt x="19227" y="19135"/>
                  </a:lnTo>
                  <a:lnTo>
                    <a:pt x="18819" y="19543"/>
                  </a:lnTo>
                  <a:lnTo>
                    <a:pt x="17891" y="20230"/>
                  </a:lnTo>
                  <a:lnTo>
                    <a:pt x="17371" y="20527"/>
                  </a:lnTo>
                  <a:lnTo>
                    <a:pt x="16963" y="20731"/>
                  </a:lnTo>
                  <a:lnTo>
                    <a:pt x="16053" y="21046"/>
                  </a:lnTo>
                  <a:lnTo>
                    <a:pt x="15070" y="21269"/>
                  </a:lnTo>
                  <a:lnTo>
                    <a:pt x="13993" y="21380"/>
                  </a:lnTo>
                  <a:lnTo>
                    <a:pt x="13400" y="21380"/>
                  </a:lnTo>
                  <a:lnTo>
                    <a:pt x="12731" y="21362"/>
                  </a:lnTo>
                  <a:lnTo>
                    <a:pt x="11432" y="21120"/>
                  </a:lnTo>
                  <a:lnTo>
                    <a:pt x="10801" y="20916"/>
                  </a:lnTo>
                  <a:lnTo>
                    <a:pt x="10189" y="20657"/>
                  </a:lnTo>
                  <a:lnTo>
                    <a:pt x="9057" y="20026"/>
                  </a:lnTo>
                  <a:lnTo>
                    <a:pt x="8556" y="19636"/>
                  </a:lnTo>
                  <a:lnTo>
                    <a:pt x="8073" y="19209"/>
                  </a:lnTo>
                  <a:lnTo>
                    <a:pt x="7275" y="18244"/>
                  </a:lnTo>
                  <a:lnTo>
                    <a:pt x="6960" y="17706"/>
                  </a:lnTo>
                  <a:lnTo>
                    <a:pt x="6681" y="17130"/>
                  </a:lnTo>
                  <a:lnTo>
                    <a:pt x="6329" y="15905"/>
                  </a:lnTo>
                  <a:lnTo>
                    <a:pt x="6254" y="15237"/>
                  </a:lnTo>
                  <a:lnTo>
                    <a:pt x="23904" y="15237"/>
                  </a:lnTo>
                  <a:lnTo>
                    <a:pt x="24201" y="15200"/>
                  </a:lnTo>
                  <a:lnTo>
                    <a:pt x="24702" y="14996"/>
                  </a:lnTo>
                  <a:lnTo>
                    <a:pt x="25110" y="14606"/>
                  </a:lnTo>
                  <a:lnTo>
                    <a:pt x="25333" y="14087"/>
                  </a:lnTo>
                  <a:lnTo>
                    <a:pt x="25351" y="13790"/>
                  </a:lnTo>
                  <a:lnTo>
                    <a:pt x="25351" y="13567"/>
                  </a:lnTo>
                  <a:lnTo>
                    <a:pt x="25333" y="12713"/>
                  </a:lnTo>
                  <a:lnTo>
                    <a:pt x="25222" y="11136"/>
                  </a:lnTo>
                  <a:lnTo>
                    <a:pt x="24999" y="9651"/>
                  </a:lnTo>
                  <a:lnTo>
                    <a:pt x="24665" y="8278"/>
                  </a:lnTo>
                  <a:lnTo>
                    <a:pt x="24442" y="7647"/>
                  </a:lnTo>
                  <a:lnTo>
                    <a:pt x="24201" y="7016"/>
                  </a:lnTo>
                  <a:lnTo>
                    <a:pt x="23663" y="5847"/>
                  </a:lnTo>
                  <a:lnTo>
                    <a:pt x="23032" y="4807"/>
                  </a:lnTo>
                  <a:lnTo>
                    <a:pt x="22308" y="3842"/>
                  </a:lnTo>
                  <a:lnTo>
                    <a:pt x="21900" y="3415"/>
                  </a:lnTo>
                  <a:lnTo>
                    <a:pt x="21918" y="3415"/>
                  </a:lnTo>
                  <a:lnTo>
                    <a:pt x="21491" y="3007"/>
                  </a:lnTo>
                  <a:lnTo>
                    <a:pt x="20619" y="2265"/>
                  </a:lnTo>
                  <a:lnTo>
                    <a:pt x="19654" y="1615"/>
                  </a:lnTo>
                  <a:lnTo>
                    <a:pt x="18633" y="1096"/>
                  </a:lnTo>
                  <a:lnTo>
                    <a:pt x="18076" y="873"/>
                  </a:lnTo>
                  <a:lnTo>
                    <a:pt x="17520" y="650"/>
                  </a:lnTo>
                  <a:lnTo>
                    <a:pt x="16369" y="335"/>
                  </a:lnTo>
                  <a:lnTo>
                    <a:pt x="15163" y="112"/>
                  </a:lnTo>
                  <a:lnTo>
                    <a:pt x="13901" y="19"/>
                  </a:lnTo>
                  <a:lnTo>
                    <a:pt x="13251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9" name="Google Shape;429;p25"/>
            <p:cNvSpPr/>
            <p:nvPr/>
          </p:nvSpPr>
          <p:spPr>
            <a:xfrm>
              <a:off x="237650" y="2349675"/>
              <a:ext cx="1219800" cy="1015625"/>
            </a:xfrm>
            <a:custGeom>
              <a:avLst/>
              <a:gdLst/>
              <a:ahLst/>
              <a:cxnLst/>
              <a:rect l="l" t="t" r="r" b="b"/>
              <a:pathLst>
                <a:path w="48792" h="40625" extrusionOk="0">
                  <a:moveTo>
                    <a:pt x="11915" y="0"/>
                  </a:moveTo>
                  <a:lnTo>
                    <a:pt x="10746" y="93"/>
                  </a:lnTo>
                  <a:lnTo>
                    <a:pt x="9614" y="297"/>
                  </a:lnTo>
                  <a:lnTo>
                    <a:pt x="8500" y="612"/>
                  </a:lnTo>
                  <a:lnTo>
                    <a:pt x="7443" y="1039"/>
                  </a:lnTo>
                  <a:lnTo>
                    <a:pt x="6422" y="1559"/>
                  </a:lnTo>
                  <a:lnTo>
                    <a:pt x="5457" y="2171"/>
                  </a:lnTo>
                  <a:lnTo>
                    <a:pt x="4547" y="2858"/>
                  </a:lnTo>
                  <a:lnTo>
                    <a:pt x="3712" y="3638"/>
                  </a:lnTo>
                  <a:lnTo>
                    <a:pt x="2933" y="4491"/>
                  </a:lnTo>
                  <a:lnTo>
                    <a:pt x="2246" y="5419"/>
                  </a:lnTo>
                  <a:lnTo>
                    <a:pt x="1634" y="6403"/>
                  </a:lnTo>
                  <a:lnTo>
                    <a:pt x="1114" y="7442"/>
                  </a:lnTo>
                  <a:lnTo>
                    <a:pt x="687" y="8556"/>
                  </a:lnTo>
                  <a:lnTo>
                    <a:pt x="372" y="9688"/>
                  </a:lnTo>
                  <a:lnTo>
                    <a:pt x="149" y="10875"/>
                  </a:lnTo>
                  <a:lnTo>
                    <a:pt x="75" y="11488"/>
                  </a:lnTo>
                  <a:lnTo>
                    <a:pt x="0" y="12583"/>
                  </a:lnTo>
                  <a:lnTo>
                    <a:pt x="130" y="14736"/>
                  </a:lnTo>
                  <a:lnTo>
                    <a:pt x="539" y="16870"/>
                  </a:lnTo>
                  <a:lnTo>
                    <a:pt x="1225" y="18967"/>
                  </a:lnTo>
                  <a:lnTo>
                    <a:pt x="2116" y="21008"/>
                  </a:lnTo>
                  <a:lnTo>
                    <a:pt x="3230" y="23013"/>
                  </a:lnTo>
                  <a:lnTo>
                    <a:pt x="4510" y="24961"/>
                  </a:lnTo>
                  <a:lnTo>
                    <a:pt x="5921" y="26836"/>
                  </a:lnTo>
                  <a:lnTo>
                    <a:pt x="7461" y="28636"/>
                  </a:lnTo>
                  <a:lnTo>
                    <a:pt x="9076" y="30362"/>
                  </a:lnTo>
                  <a:lnTo>
                    <a:pt x="11600" y="32793"/>
                  </a:lnTo>
                  <a:lnTo>
                    <a:pt x="14996" y="35688"/>
                  </a:lnTo>
                  <a:lnTo>
                    <a:pt x="18188" y="38120"/>
                  </a:lnTo>
                  <a:lnTo>
                    <a:pt x="19617" y="39140"/>
                  </a:lnTo>
                  <a:lnTo>
                    <a:pt x="20155" y="39493"/>
                  </a:lnTo>
                  <a:lnTo>
                    <a:pt x="21325" y="40050"/>
                  </a:lnTo>
                  <a:lnTo>
                    <a:pt x="22531" y="40439"/>
                  </a:lnTo>
                  <a:lnTo>
                    <a:pt x="23774" y="40625"/>
                  </a:lnTo>
                  <a:lnTo>
                    <a:pt x="25036" y="40625"/>
                  </a:lnTo>
                  <a:lnTo>
                    <a:pt x="26280" y="40439"/>
                  </a:lnTo>
                  <a:lnTo>
                    <a:pt x="27486" y="40050"/>
                  </a:lnTo>
                  <a:lnTo>
                    <a:pt x="28637" y="39493"/>
                  </a:lnTo>
                  <a:lnTo>
                    <a:pt x="29193" y="39140"/>
                  </a:lnTo>
                  <a:lnTo>
                    <a:pt x="30567" y="38157"/>
                  </a:lnTo>
                  <a:lnTo>
                    <a:pt x="33648" y="35818"/>
                  </a:lnTo>
                  <a:lnTo>
                    <a:pt x="36914" y="33053"/>
                  </a:lnTo>
                  <a:lnTo>
                    <a:pt x="39364" y="30733"/>
                  </a:lnTo>
                  <a:lnTo>
                    <a:pt x="40941" y="29081"/>
                  </a:lnTo>
                  <a:lnTo>
                    <a:pt x="42444" y="27356"/>
                  </a:lnTo>
                  <a:lnTo>
                    <a:pt x="43855" y="25555"/>
                  </a:lnTo>
                  <a:lnTo>
                    <a:pt x="45135" y="23699"/>
                  </a:lnTo>
                  <a:lnTo>
                    <a:pt x="46268" y="21788"/>
                  </a:lnTo>
                  <a:lnTo>
                    <a:pt x="47233" y="19839"/>
                  </a:lnTo>
                  <a:lnTo>
                    <a:pt x="47994" y="17835"/>
                  </a:lnTo>
                  <a:lnTo>
                    <a:pt x="48513" y="15793"/>
                  </a:lnTo>
                  <a:lnTo>
                    <a:pt x="48773" y="13715"/>
                  </a:lnTo>
                  <a:lnTo>
                    <a:pt x="48792" y="12676"/>
                  </a:lnTo>
                  <a:lnTo>
                    <a:pt x="48773" y="12082"/>
                  </a:lnTo>
                  <a:lnTo>
                    <a:pt x="48736" y="11488"/>
                  </a:lnTo>
                  <a:lnTo>
                    <a:pt x="48662" y="10820"/>
                  </a:lnTo>
                  <a:lnTo>
                    <a:pt x="48272" y="9224"/>
                  </a:lnTo>
                  <a:lnTo>
                    <a:pt x="47845" y="8017"/>
                  </a:lnTo>
                  <a:lnTo>
                    <a:pt x="47270" y="6830"/>
                  </a:lnTo>
                  <a:lnTo>
                    <a:pt x="46509" y="5753"/>
                  </a:lnTo>
                  <a:lnTo>
                    <a:pt x="45785" y="5104"/>
                  </a:lnTo>
                  <a:lnTo>
                    <a:pt x="45247" y="4788"/>
                  </a:lnTo>
                  <a:lnTo>
                    <a:pt x="44653" y="4547"/>
                  </a:lnTo>
                  <a:lnTo>
                    <a:pt x="44003" y="4417"/>
                  </a:lnTo>
                  <a:lnTo>
                    <a:pt x="43242" y="4417"/>
                  </a:lnTo>
                  <a:lnTo>
                    <a:pt x="42444" y="4565"/>
                  </a:lnTo>
                  <a:lnTo>
                    <a:pt x="41684" y="4881"/>
                  </a:lnTo>
                  <a:lnTo>
                    <a:pt x="40997" y="5345"/>
                  </a:lnTo>
                  <a:lnTo>
                    <a:pt x="40681" y="5642"/>
                  </a:lnTo>
                  <a:lnTo>
                    <a:pt x="27616" y="18707"/>
                  </a:lnTo>
                  <a:lnTo>
                    <a:pt x="27393" y="18930"/>
                  </a:lnTo>
                  <a:lnTo>
                    <a:pt x="27059" y="19450"/>
                  </a:lnTo>
                  <a:lnTo>
                    <a:pt x="26836" y="20006"/>
                  </a:lnTo>
                  <a:lnTo>
                    <a:pt x="26725" y="20582"/>
                  </a:lnTo>
                  <a:lnTo>
                    <a:pt x="26725" y="21175"/>
                  </a:lnTo>
                  <a:lnTo>
                    <a:pt x="26836" y="21751"/>
                  </a:lnTo>
                  <a:lnTo>
                    <a:pt x="27059" y="22308"/>
                  </a:lnTo>
                  <a:lnTo>
                    <a:pt x="27393" y="22809"/>
                  </a:lnTo>
                  <a:lnTo>
                    <a:pt x="27616" y="23050"/>
                  </a:lnTo>
                  <a:lnTo>
                    <a:pt x="27839" y="23254"/>
                  </a:lnTo>
                  <a:lnTo>
                    <a:pt x="28358" y="23607"/>
                  </a:lnTo>
                  <a:lnTo>
                    <a:pt x="28915" y="23829"/>
                  </a:lnTo>
                  <a:lnTo>
                    <a:pt x="29490" y="23941"/>
                  </a:lnTo>
                  <a:lnTo>
                    <a:pt x="30084" y="23941"/>
                  </a:lnTo>
                  <a:lnTo>
                    <a:pt x="30660" y="23829"/>
                  </a:lnTo>
                  <a:lnTo>
                    <a:pt x="31216" y="23607"/>
                  </a:lnTo>
                  <a:lnTo>
                    <a:pt x="31717" y="23254"/>
                  </a:lnTo>
                  <a:lnTo>
                    <a:pt x="31959" y="23050"/>
                  </a:lnTo>
                  <a:lnTo>
                    <a:pt x="43075" y="11933"/>
                  </a:lnTo>
                  <a:lnTo>
                    <a:pt x="43168" y="11840"/>
                  </a:lnTo>
                  <a:lnTo>
                    <a:pt x="43410" y="11748"/>
                  </a:lnTo>
                  <a:lnTo>
                    <a:pt x="43651" y="11748"/>
                  </a:lnTo>
                  <a:lnTo>
                    <a:pt x="43873" y="11840"/>
                  </a:lnTo>
                  <a:lnTo>
                    <a:pt x="43966" y="11933"/>
                  </a:lnTo>
                  <a:lnTo>
                    <a:pt x="44727" y="12694"/>
                  </a:lnTo>
                  <a:lnTo>
                    <a:pt x="44820" y="12787"/>
                  </a:lnTo>
                  <a:lnTo>
                    <a:pt x="44913" y="13010"/>
                  </a:lnTo>
                  <a:lnTo>
                    <a:pt x="44913" y="13269"/>
                  </a:lnTo>
                  <a:lnTo>
                    <a:pt x="44820" y="13492"/>
                  </a:lnTo>
                  <a:lnTo>
                    <a:pt x="44727" y="13585"/>
                  </a:lnTo>
                  <a:lnTo>
                    <a:pt x="33703" y="24627"/>
                  </a:lnTo>
                  <a:lnTo>
                    <a:pt x="33314" y="24999"/>
                  </a:lnTo>
                  <a:lnTo>
                    <a:pt x="32441" y="25592"/>
                  </a:lnTo>
                  <a:lnTo>
                    <a:pt x="31476" y="26019"/>
                  </a:lnTo>
                  <a:lnTo>
                    <a:pt x="30455" y="26261"/>
                  </a:lnTo>
                  <a:lnTo>
                    <a:pt x="29936" y="26298"/>
                  </a:lnTo>
                  <a:lnTo>
                    <a:pt x="29360" y="26298"/>
                  </a:lnTo>
                  <a:lnTo>
                    <a:pt x="28247" y="26094"/>
                  </a:lnTo>
                  <a:lnTo>
                    <a:pt x="27208" y="25667"/>
                  </a:lnTo>
                  <a:lnTo>
                    <a:pt x="26280" y="25017"/>
                  </a:lnTo>
                  <a:lnTo>
                    <a:pt x="25871" y="24627"/>
                  </a:lnTo>
                  <a:lnTo>
                    <a:pt x="25500" y="24201"/>
                  </a:lnTo>
                  <a:lnTo>
                    <a:pt x="24925" y="23291"/>
                  </a:lnTo>
                  <a:lnTo>
                    <a:pt x="24572" y="22326"/>
                  </a:lnTo>
                  <a:lnTo>
                    <a:pt x="24405" y="21287"/>
                  </a:lnTo>
                  <a:lnTo>
                    <a:pt x="24424" y="20248"/>
                  </a:lnTo>
                  <a:lnTo>
                    <a:pt x="24647" y="19227"/>
                  </a:lnTo>
                  <a:lnTo>
                    <a:pt x="25055" y="18262"/>
                  </a:lnTo>
                  <a:lnTo>
                    <a:pt x="25649" y="17352"/>
                  </a:lnTo>
                  <a:lnTo>
                    <a:pt x="26038" y="16963"/>
                  </a:lnTo>
                  <a:lnTo>
                    <a:pt x="33351" y="9651"/>
                  </a:lnTo>
                  <a:lnTo>
                    <a:pt x="39011" y="3972"/>
                  </a:lnTo>
                  <a:lnTo>
                    <a:pt x="39456" y="3563"/>
                  </a:lnTo>
                  <a:lnTo>
                    <a:pt x="40422" y="2895"/>
                  </a:lnTo>
                  <a:lnTo>
                    <a:pt x="41479" y="2413"/>
                  </a:lnTo>
                  <a:lnTo>
                    <a:pt x="42611" y="2134"/>
                  </a:lnTo>
                  <a:lnTo>
                    <a:pt x="43205" y="2079"/>
                  </a:lnTo>
                  <a:lnTo>
                    <a:pt x="42444" y="1577"/>
                  </a:lnTo>
                  <a:lnTo>
                    <a:pt x="40811" y="798"/>
                  </a:lnTo>
                  <a:lnTo>
                    <a:pt x="39067" y="260"/>
                  </a:lnTo>
                  <a:lnTo>
                    <a:pt x="37229" y="0"/>
                  </a:lnTo>
                  <a:lnTo>
                    <a:pt x="36283" y="0"/>
                  </a:lnTo>
                  <a:lnTo>
                    <a:pt x="35299" y="56"/>
                  </a:lnTo>
                  <a:lnTo>
                    <a:pt x="33425" y="371"/>
                  </a:lnTo>
                  <a:lnTo>
                    <a:pt x="31643" y="965"/>
                  </a:lnTo>
                  <a:lnTo>
                    <a:pt x="29991" y="1819"/>
                  </a:lnTo>
                  <a:lnTo>
                    <a:pt x="28507" y="2877"/>
                  </a:lnTo>
                  <a:lnTo>
                    <a:pt x="27171" y="4157"/>
                  </a:lnTo>
                  <a:lnTo>
                    <a:pt x="26057" y="5623"/>
                  </a:lnTo>
                  <a:lnTo>
                    <a:pt x="25129" y="7256"/>
                  </a:lnTo>
                  <a:lnTo>
                    <a:pt x="24776" y="8147"/>
                  </a:lnTo>
                  <a:lnTo>
                    <a:pt x="24721" y="8259"/>
                  </a:lnTo>
                  <a:lnTo>
                    <a:pt x="24517" y="8389"/>
                  </a:lnTo>
                  <a:lnTo>
                    <a:pt x="24294" y="8389"/>
                  </a:lnTo>
                  <a:lnTo>
                    <a:pt x="24090" y="8259"/>
                  </a:lnTo>
                  <a:lnTo>
                    <a:pt x="24034" y="8147"/>
                  </a:lnTo>
                  <a:lnTo>
                    <a:pt x="23663" y="7256"/>
                  </a:lnTo>
                  <a:lnTo>
                    <a:pt x="22754" y="5623"/>
                  </a:lnTo>
                  <a:lnTo>
                    <a:pt x="21640" y="4157"/>
                  </a:lnTo>
                  <a:lnTo>
                    <a:pt x="20304" y="2877"/>
                  </a:lnTo>
                  <a:lnTo>
                    <a:pt x="18819" y="1819"/>
                  </a:lnTo>
                  <a:lnTo>
                    <a:pt x="17167" y="965"/>
                  </a:lnTo>
                  <a:lnTo>
                    <a:pt x="15386" y="371"/>
                  </a:lnTo>
                  <a:lnTo>
                    <a:pt x="13493" y="56"/>
                  </a:lnTo>
                  <a:lnTo>
                    <a:pt x="12528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412008164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White Footer Only">
  <p:cSld name="White Footer Only">
    <p:bg>
      <p:bgPr>
        <a:solidFill>
          <a:schemeClr val="lt1"/>
        </a:solidFill>
        <a:effectLst/>
      </p:bgPr>
    </p:bg>
    <p:spTree>
      <p:nvGrpSpPr>
        <p:cNvPr id="1" name="Shape 4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1" name="Google Shape;431;p26"/>
          <p:cNvSpPr txBox="1">
            <a:spLocks noGrp="1"/>
          </p:cNvSpPr>
          <p:nvPr>
            <p:ph type="sldNum" idx="12"/>
          </p:nvPr>
        </p:nvSpPr>
        <p:spPr>
          <a:xfrm>
            <a:off x="11044810" y="6091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432" name="Google Shape;432;p26"/>
          <p:cNvGrpSpPr/>
          <p:nvPr/>
        </p:nvGrpSpPr>
        <p:grpSpPr>
          <a:xfrm>
            <a:off x="415598" y="6427310"/>
            <a:ext cx="1329629" cy="189008"/>
            <a:chOff x="237650" y="2349675"/>
            <a:chExt cx="7144700" cy="1015625"/>
          </a:xfrm>
        </p:grpSpPr>
        <p:sp>
          <p:nvSpPr>
            <p:cNvPr id="433" name="Google Shape;433;p26"/>
            <p:cNvSpPr/>
            <p:nvPr/>
          </p:nvSpPr>
          <p:spPr>
            <a:xfrm>
              <a:off x="3096625" y="2466575"/>
              <a:ext cx="156400" cy="841200"/>
            </a:xfrm>
            <a:custGeom>
              <a:avLst/>
              <a:gdLst/>
              <a:ahLst/>
              <a:cxnLst/>
              <a:rect l="l" t="t" r="r" b="b"/>
              <a:pathLst>
                <a:path w="6256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2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1" y="1448"/>
                  </a:lnTo>
                  <a:lnTo>
                    <a:pt x="1" y="32182"/>
                  </a:lnTo>
                  <a:lnTo>
                    <a:pt x="19" y="32479"/>
                  </a:lnTo>
                  <a:lnTo>
                    <a:pt x="242" y="33017"/>
                  </a:lnTo>
                  <a:lnTo>
                    <a:pt x="632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08" y="33648"/>
                  </a:lnTo>
                  <a:lnTo>
                    <a:pt x="5105" y="33629"/>
                  </a:lnTo>
                  <a:lnTo>
                    <a:pt x="5624" y="33406"/>
                  </a:lnTo>
                  <a:lnTo>
                    <a:pt x="6014" y="33017"/>
                  </a:lnTo>
                  <a:lnTo>
                    <a:pt x="6237" y="32479"/>
                  </a:lnTo>
                  <a:lnTo>
                    <a:pt x="6255" y="32182"/>
                  </a:lnTo>
                  <a:lnTo>
                    <a:pt x="6255" y="1448"/>
                  </a:lnTo>
                  <a:lnTo>
                    <a:pt x="6237" y="1151"/>
                  </a:lnTo>
                  <a:lnTo>
                    <a:pt x="6014" y="632"/>
                  </a:lnTo>
                  <a:lnTo>
                    <a:pt x="5624" y="242"/>
                  </a:lnTo>
                  <a:lnTo>
                    <a:pt x="5105" y="19"/>
                  </a:lnTo>
                  <a:lnTo>
                    <a:pt x="4808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" name="Google Shape;434;p26"/>
            <p:cNvSpPr/>
            <p:nvPr/>
          </p:nvSpPr>
          <p:spPr>
            <a:xfrm>
              <a:off x="1673175" y="2466575"/>
              <a:ext cx="655150" cy="841200"/>
            </a:xfrm>
            <a:custGeom>
              <a:avLst/>
              <a:gdLst/>
              <a:ahLst/>
              <a:cxnLst/>
              <a:rect l="l" t="t" r="r" b="b"/>
              <a:pathLst>
                <a:path w="26206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1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0" y="1448"/>
                  </a:lnTo>
                  <a:lnTo>
                    <a:pt x="0" y="32200"/>
                  </a:lnTo>
                  <a:lnTo>
                    <a:pt x="19" y="32497"/>
                  </a:lnTo>
                  <a:lnTo>
                    <a:pt x="242" y="33017"/>
                  </a:lnTo>
                  <a:lnTo>
                    <a:pt x="631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26" y="33648"/>
                  </a:lnTo>
                  <a:lnTo>
                    <a:pt x="5104" y="33629"/>
                  </a:lnTo>
                  <a:lnTo>
                    <a:pt x="5624" y="33406"/>
                  </a:lnTo>
                  <a:lnTo>
                    <a:pt x="6032" y="33017"/>
                  </a:lnTo>
                  <a:lnTo>
                    <a:pt x="6255" y="32497"/>
                  </a:lnTo>
                  <a:lnTo>
                    <a:pt x="6273" y="32200"/>
                  </a:lnTo>
                  <a:lnTo>
                    <a:pt x="6273" y="18133"/>
                  </a:lnTo>
                  <a:lnTo>
                    <a:pt x="19933" y="18133"/>
                  </a:lnTo>
                  <a:lnTo>
                    <a:pt x="19933" y="32200"/>
                  </a:lnTo>
                  <a:lnTo>
                    <a:pt x="19951" y="32497"/>
                  </a:lnTo>
                  <a:lnTo>
                    <a:pt x="20174" y="33017"/>
                  </a:lnTo>
                  <a:lnTo>
                    <a:pt x="20564" y="33406"/>
                  </a:lnTo>
                  <a:lnTo>
                    <a:pt x="21083" y="33629"/>
                  </a:lnTo>
                  <a:lnTo>
                    <a:pt x="21380" y="33648"/>
                  </a:lnTo>
                  <a:lnTo>
                    <a:pt x="24739" y="33648"/>
                  </a:lnTo>
                  <a:lnTo>
                    <a:pt x="25036" y="33629"/>
                  </a:lnTo>
                  <a:lnTo>
                    <a:pt x="25556" y="33406"/>
                  </a:lnTo>
                  <a:lnTo>
                    <a:pt x="25964" y="33017"/>
                  </a:lnTo>
                  <a:lnTo>
                    <a:pt x="26168" y="32497"/>
                  </a:lnTo>
                  <a:lnTo>
                    <a:pt x="26205" y="32200"/>
                  </a:lnTo>
                  <a:lnTo>
                    <a:pt x="26205" y="1448"/>
                  </a:lnTo>
                  <a:lnTo>
                    <a:pt x="26168" y="1151"/>
                  </a:lnTo>
                  <a:lnTo>
                    <a:pt x="25964" y="632"/>
                  </a:lnTo>
                  <a:lnTo>
                    <a:pt x="25556" y="242"/>
                  </a:lnTo>
                  <a:lnTo>
                    <a:pt x="25036" y="19"/>
                  </a:lnTo>
                  <a:lnTo>
                    <a:pt x="24739" y="1"/>
                  </a:lnTo>
                  <a:lnTo>
                    <a:pt x="21380" y="1"/>
                  </a:lnTo>
                  <a:lnTo>
                    <a:pt x="21083" y="19"/>
                  </a:lnTo>
                  <a:lnTo>
                    <a:pt x="20564" y="242"/>
                  </a:lnTo>
                  <a:lnTo>
                    <a:pt x="20174" y="632"/>
                  </a:lnTo>
                  <a:lnTo>
                    <a:pt x="19951" y="1151"/>
                  </a:lnTo>
                  <a:lnTo>
                    <a:pt x="19933" y="1448"/>
                  </a:lnTo>
                  <a:lnTo>
                    <a:pt x="19933" y="13641"/>
                  </a:lnTo>
                  <a:lnTo>
                    <a:pt x="6273" y="13641"/>
                  </a:lnTo>
                  <a:lnTo>
                    <a:pt x="6273" y="1448"/>
                  </a:lnTo>
                  <a:lnTo>
                    <a:pt x="6255" y="1151"/>
                  </a:lnTo>
                  <a:lnTo>
                    <a:pt x="6032" y="632"/>
                  </a:lnTo>
                  <a:lnTo>
                    <a:pt x="5624" y="242"/>
                  </a:lnTo>
                  <a:lnTo>
                    <a:pt x="5104" y="19"/>
                  </a:lnTo>
                  <a:lnTo>
                    <a:pt x="4826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" name="Google Shape;435;p26"/>
            <p:cNvSpPr/>
            <p:nvPr/>
          </p:nvSpPr>
          <p:spPr>
            <a:xfrm>
              <a:off x="3382900" y="2466575"/>
              <a:ext cx="156375" cy="841200"/>
            </a:xfrm>
            <a:custGeom>
              <a:avLst/>
              <a:gdLst/>
              <a:ahLst/>
              <a:cxnLst/>
              <a:rect l="l" t="t" r="r" b="b"/>
              <a:pathLst>
                <a:path w="6255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2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1" y="1448"/>
                  </a:lnTo>
                  <a:lnTo>
                    <a:pt x="1" y="32182"/>
                  </a:lnTo>
                  <a:lnTo>
                    <a:pt x="19" y="32479"/>
                  </a:lnTo>
                  <a:lnTo>
                    <a:pt x="242" y="33017"/>
                  </a:lnTo>
                  <a:lnTo>
                    <a:pt x="632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07" y="33648"/>
                  </a:lnTo>
                  <a:lnTo>
                    <a:pt x="5104" y="33629"/>
                  </a:lnTo>
                  <a:lnTo>
                    <a:pt x="5624" y="33406"/>
                  </a:lnTo>
                  <a:lnTo>
                    <a:pt x="6014" y="33017"/>
                  </a:lnTo>
                  <a:lnTo>
                    <a:pt x="6236" y="32479"/>
                  </a:lnTo>
                  <a:lnTo>
                    <a:pt x="6255" y="32182"/>
                  </a:lnTo>
                  <a:lnTo>
                    <a:pt x="6255" y="1448"/>
                  </a:lnTo>
                  <a:lnTo>
                    <a:pt x="6236" y="1151"/>
                  </a:lnTo>
                  <a:lnTo>
                    <a:pt x="6014" y="632"/>
                  </a:lnTo>
                  <a:lnTo>
                    <a:pt x="5624" y="242"/>
                  </a:lnTo>
                  <a:lnTo>
                    <a:pt x="5104" y="19"/>
                  </a:lnTo>
                  <a:lnTo>
                    <a:pt x="4807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6" name="Google Shape;436;p26"/>
            <p:cNvSpPr/>
            <p:nvPr/>
          </p:nvSpPr>
          <p:spPr>
            <a:xfrm>
              <a:off x="3610700" y="2663300"/>
              <a:ext cx="680675" cy="662575"/>
            </a:xfrm>
            <a:custGeom>
              <a:avLst/>
              <a:gdLst/>
              <a:ahLst/>
              <a:cxnLst/>
              <a:rect l="l" t="t" r="r" b="b"/>
              <a:pathLst>
                <a:path w="27227" h="26503" extrusionOk="0">
                  <a:moveTo>
                    <a:pt x="14087" y="5123"/>
                  </a:moveTo>
                  <a:lnTo>
                    <a:pt x="14959" y="5216"/>
                  </a:lnTo>
                  <a:lnTo>
                    <a:pt x="15757" y="5383"/>
                  </a:lnTo>
                  <a:lnTo>
                    <a:pt x="16500" y="5661"/>
                  </a:lnTo>
                  <a:lnTo>
                    <a:pt x="16852" y="5828"/>
                  </a:lnTo>
                  <a:lnTo>
                    <a:pt x="17521" y="6199"/>
                  </a:lnTo>
                  <a:lnTo>
                    <a:pt x="18634" y="7127"/>
                  </a:lnTo>
                  <a:lnTo>
                    <a:pt x="19098" y="7665"/>
                  </a:lnTo>
                  <a:lnTo>
                    <a:pt x="19525" y="8259"/>
                  </a:lnTo>
                  <a:lnTo>
                    <a:pt x="20193" y="9558"/>
                  </a:lnTo>
                  <a:lnTo>
                    <a:pt x="20434" y="10264"/>
                  </a:lnTo>
                  <a:lnTo>
                    <a:pt x="20638" y="10969"/>
                  </a:lnTo>
                  <a:lnTo>
                    <a:pt x="20861" y="12416"/>
                  </a:lnTo>
                  <a:lnTo>
                    <a:pt x="20880" y="13159"/>
                  </a:lnTo>
                  <a:lnTo>
                    <a:pt x="20861" y="13883"/>
                  </a:lnTo>
                  <a:lnTo>
                    <a:pt x="20638" y="15349"/>
                  </a:lnTo>
                  <a:lnTo>
                    <a:pt x="20434" y="16073"/>
                  </a:lnTo>
                  <a:lnTo>
                    <a:pt x="20193" y="16796"/>
                  </a:lnTo>
                  <a:lnTo>
                    <a:pt x="19525" y="18095"/>
                  </a:lnTo>
                  <a:lnTo>
                    <a:pt x="19098" y="18671"/>
                  </a:lnTo>
                  <a:lnTo>
                    <a:pt x="18634" y="19228"/>
                  </a:lnTo>
                  <a:lnTo>
                    <a:pt x="17521" y="20174"/>
                  </a:lnTo>
                  <a:lnTo>
                    <a:pt x="16852" y="20564"/>
                  </a:lnTo>
                  <a:lnTo>
                    <a:pt x="16500" y="20731"/>
                  </a:lnTo>
                  <a:lnTo>
                    <a:pt x="15757" y="21009"/>
                  </a:lnTo>
                  <a:lnTo>
                    <a:pt x="14959" y="21195"/>
                  </a:lnTo>
                  <a:lnTo>
                    <a:pt x="14087" y="21269"/>
                  </a:lnTo>
                  <a:lnTo>
                    <a:pt x="13623" y="21288"/>
                  </a:lnTo>
                  <a:lnTo>
                    <a:pt x="13159" y="21269"/>
                  </a:lnTo>
                  <a:lnTo>
                    <a:pt x="12287" y="21195"/>
                  </a:lnTo>
                  <a:lnTo>
                    <a:pt x="11470" y="21009"/>
                  </a:lnTo>
                  <a:lnTo>
                    <a:pt x="10728" y="20731"/>
                  </a:lnTo>
                  <a:lnTo>
                    <a:pt x="10394" y="20564"/>
                  </a:lnTo>
                  <a:lnTo>
                    <a:pt x="9726" y="20174"/>
                  </a:lnTo>
                  <a:lnTo>
                    <a:pt x="8612" y="19228"/>
                  </a:lnTo>
                  <a:lnTo>
                    <a:pt x="8148" y="18671"/>
                  </a:lnTo>
                  <a:lnTo>
                    <a:pt x="7721" y="18095"/>
                  </a:lnTo>
                  <a:lnTo>
                    <a:pt x="7053" y="16778"/>
                  </a:lnTo>
                  <a:lnTo>
                    <a:pt x="6812" y="16073"/>
                  </a:lnTo>
                  <a:lnTo>
                    <a:pt x="6608" y="15349"/>
                  </a:lnTo>
                  <a:lnTo>
                    <a:pt x="6385" y="13883"/>
                  </a:lnTo>
                  <a:lnTo>
                    <a:pt x="6367" y="13159"/>
                  </a:lnTo>
                  <a:lnTo>
                    <a:pt x="6385" y="12416"/>
                  </a:lnTo>
                  <a:lnTo>
                    <a:pt x="6608" y="10969"/>
                  </a:lnTo>
                  <a:lnTo>
                    <a:pt x="6812" y="10264"/>
                  </a:lnTo>
                  <a:lnTo>
                    <a:pt x="7053" y="9558"/>
                  </a:lnTo>
                  <a:lnTo>
                    <a:pt x="7721" y="8259"/>
                  </a:lnTo>
                  <a:lnTo>
                    <a:pt x="8148" y="7665"/>
                  </a:lnTo>
                  <a:lnTo>
                    <a:pt x="8612" y="7127"/>
                  </a:lnTo>
                  <a:lnTo>
                    <a:pt x="9726" y="6199"/>
                  </a:lnTo>
                  <a:lnTo>
                    <a:pt x="10394" y="5828"/>
                  </a:lnTo>
                  <a:lnTo>
                    <a:pt x="10728" y="5661"/>
                  </a:lnTo>
                  <a:lnTo>
                    <a:pt x="11470" y="5383"/>
                  </a:lnTo>
                  <a:lnTo>
                    <a:pt x="12287" y="5216"/>
                  </a:lnTo>
                  <a:lnTo>
                    <a:pt x="13159" y="5123"/>
                  </a:lnTo>
                  <a:close/>
                  <a:moveTo>
                    <a:pt x="13623" y="1"/>
                  </a:moveTo>
                  <a:lnTo>
                    <a:pt x="12918" y="19"/>
                  </a:lnTo>
                  <a:lnTo>
                    <a:pt x="11545" y="131"/>
                  </a:lnTo>
                  <a:lnTo>
                    <a:pt x="10227" y="372"/>
                  </a:lnTo>
                  <a:lnTo>
                    <a:pt x="8928" y="724"/>
                  </a:lnTo>
                  <a:lnTo>
                    <a:pt x="8297" y="947"/>
                  </a:lnTo>
                  <a:lnTo>
                    <a:pt x="7684" y="1188"/>
                  </a:lnTo>
                  <a:lnTo>
                    <a:pt x="6515" y="1745"/>
                  </a:lnTo>
                  <a:lnTo>
                    <a:pt x="5439" y="2413"/>
                  </a:lnTo>
                  <a:lnTo>
                    <a:pt x="4437" y="3174"/>
                  </a:lnTo>
                  <a:lnTo>
                    <a:pt x="3973" y="3601"/>
                  </a:lnTo>
                  <a:lnTo>
                    <a:pt x="3527" y="4046"/>
                  </a:lnTo>
                  <a:lnTo>
                    <a:pt x="2692" y="4993"/>
                  </a:lnTo>
                  <a:lnTo>
                    <a:pt x="1968" y="6032"/>
                  </a:lnTo>
                  <a:lnTo>
                    <a:pt x="1356" y="7146"/>
                  </a:lnTo>
                  <a:lnTo>
                    <a:pt x="1077" y="7758"/>
                  </a:lnTo>
                  <a:lnTo>
                    <a:pt x="818" y="8371"/>
                  </a:lnTo>
                  <a:lnTo>
                    <a:pt x="409" y="9651"/>
                  </a:lnTo>
                  <a:lnTo>
                    <a:pt x="149" y="10987"/>
                  </a:lnTo>
                  <a:lnTo>
                    <a:pt x="20" y="12416"/>
                  </a:lnTo>
                  <a:lnTo>
                    <a:pt x="1" y="13159"/>
                  </a:lnTo>
                  <a:lnTo>
                    <a:pt x="20" y="13883"/>
                  </a:lnTo>
                  <a:lnTo>
                    <a:pt x="149" y="15312"/>
                  </a:lnTo>
                  <a:lnTo>
                    <a:pt x="409" y="16666"/>
                  </a:lnTo>
                  <a:lnTo>
                    <a:pt x="818" y="17947"/>
                  </a:lnTo>
                  <a:lnTo>
                    <a:pt x="1077" y="18578"/>
                  </a:lnTo>
                  <a:lnTo>
                    <a:pt x="1356" y="19172"/>
                  </a:lnTo>
                  <a:lnTo>
                    <a:pt x="1968" y="20322"/>
                  </a:lnTo>
                  <a:lnTo>
                    <a:pt x="2692" y="21362"/>
                  </a:lnTo>
                  <a:lnTo>
                    <a:pt x="3527" y="22327"/>
                  </a:lnTo>
                  <a:lnTo>
                    <a:pt x="3973" y="22772"/>
                  </a:lnTo>
                  <a:lnTo>
                    <a:pt x="4437" y="23199"/>
                  </a:lnTo>
                  <a:lnTo>
                    <a:pt x="5439" y="23979"/>
                  </a:lnTo>
                  <a:lnTo>
                    <a:pt x="6515" y="24665"/>
                  </a:lnTo>
                  <a:lnTo>
                    <a:pt x="7684" y="25259"/>
                  </a:lnTo>
                  <a:lnTo>
                    <a:pt x="8297" y="25519"/>
                  </a:lnTo>
                  <a:lnTo>
                    <a:pt x="8928" y="25742"/>
                  </a:lnTo>
                  <a:lnTo>
                    <a:pt x="10227" y="26113"/>
                  </a:lnTo>
                  <a:lnTo>
                    <a:pt x="11545" y="26373"/>
                  </a:lnTo>
                  <a:lnTo>
                    <a:pt x="12918" y="26484"/>
                  </a:lnTo>
                  <a:lnTo>
                    <a:pt x="13623" y="26503"/>
                  </a:lnTo>
                  <a:lnTo>
                    <a:pt x="14328" y="26484"/>
                  </a:lnTo>
                  <a:lnTo>
                    <a:pt x="15683" y="26373"/>
                  </a:lnTo>
                  <a:lnTo>
                    <a:pt x="17019" y="26113"/>
                  </a:lnTo>
                  <a:lnTo>
                    <a:pt x="18300" y="25742"/>
                  </a:lnTo>
                  <a:lnTo>
                    <a:pt x="18931" y="25519"/>
                  </a:lnTo>
                  <a:lnTo>
                    <a:pt x="19562" y="25259"/>
                  </a:lnTo>
                  <a:lnTo>
                    <a:pt x="20731" y="24665"/>
                  </a:lnTo>
                  <a:lnTo>
                    <a:pt x="21808" y="23979"/>
                  </a:lnTo>
                  <a:lnTo>
                    <a:pt x="22810" y="23199"/>
                  </a:lnTo>
                  <a:lnTo>
                    <a:pt x="23274" y="22772"/>
                  </a:lnTo>
                  <a:lnTo>
                    <a:pt x="23719" y="22327"/>
                  </a:lnTo>
                  <a:lnTo>
                    <a:pt x="24536" y="21362"/>
                  </a:lnTo>
                  <a:lnTo>
                    <a:pt x="25260" y="20322"/>
                  </a:lnTo>
                  <a:lnTo>
                    <a:pt x="25891" y="19172"/>
                  </a:lnTo>
                  <a:lnTo>
                    <a:pt x="26169" y="18578"/>
                  </a:lnTo>
                  <a:lnTo>
                    <a:pt x="26429" y="17947"/>
                  </a:lnTo>
                  <a:lnTo>
                    <a:pt x="26818" y="16666"/>
                  </a:lnTo>
                  <a:lnTo>
                    <a:pt x="27097" y="15312"/>
                  </a:lnTo>
                  <a:lnTo>
                    <a:pt x="27227" y="13883"/>
                  </a:lnTo>
                  <a:lnTo>
                    <a:pt x="27227" y="13159"/>
                  </a:lnTo>
                  <a:lnTo>
                    <a:pt x="27227" y="12416"/>
                  </a:lnTo>
                  <a:lnTo>
                    <a:pt x="27097" y="10987"/>
                  </a:lnTo>
                  <a:lnTo>
                    <a:pt x="26818" y="9651"/>
                  </a:lnTo>
                  <a:lnTo>
                    <a:pt x="26429" y="8371"/>
                  </a:lnTo>
                  <a:lnTo>
                    <a:pt x="26169" y="7758"/>
                  </a:lnTo>
                  <a:lnTo>
                    <a:pt x="25891" y="7146"/>
                  </a:lnTo>
                  <a:lnTo>
                    <a:pt x="25260" y="6032"/>
                  </a:lnTo>
                  <a:lnTo>
                    <a:pt x="24536" y="4993"/>
                  </a:lnTo>
                  <a:lnTo>
                    <a:pt x="23719" y="4046"/>
                  </a:lnTo>
                  <a:lnTo>
                    <a:pt x="23274" y="3601"/>
                  </a:lnTo>
                  <a:lnTo>
                    <a:pt x="22810" y="3174"/>
                  </a:lnTo>
                  <a:lnTo>
                    <a:pt x="21808" y="2413"/>
                  </a:lnTo>
                  <a:lnTo>
                    <a:pt x="20731" y="1745"/>
                  </a:lnTo>
                  <a:lnTo>
                    <a:pt x="19562" y="1188"/>
                  </a:lnTo>
                  <a:lnTo>
                    <a:pt x="18931" y="947"/>
                  </a:lnTo>
                  <a:lnTo>
                    <a:pt x="18300" y="724"/>
                  </a:lnTo>
                  <a:lnTo>
                    <a:pt x="17019" y="372"/>
                  </a:lnTo>
                  <a:lnTo>
                    <a:pt x="15683" y="131"/>
                  </a:lnTo>
                  <a:lnTo>
                    <a:pt x="14328" y="19"/>
                  </a:lnTo>
                  <a:lnTo>
                    <a:pt x="13623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7" name="Google Shape;437;p26"/>
            <p:cNvSpPr/>
            <p:nvPr/>
          </p:nvSpPr>
          <p:spPr>
            <a:xfrm>
              <a:off x="5231350" y="2663300"/>
              <a:ext cx="633825" cy="662575"/>
            </a:xfrm>
            <a:custGeom>
              <a:avLst/>
              <a:gdLst/>
              <a:ahLst/>
              <a:cxnLst/>
              <a:rect l="l" t="t" r="r" b="b"/>
              <a:pathLst>
                <a:path w="25353" h="26503" extrusionOk="0">
                  <a:moveTo>
                    <a:pt x="13196" y="4696"/>
                  </a:moveTo>
                  <a:lnTo>
                    <a:pt x="13939" y="4715"/>
                  </a:lnTo>
                  <a:lnTo>
                    <a:pt x="15256" y="4974"/>
                  </a:lnTo>
                  <a:lnTo>
                    <a:pt x="15832" y="5197"/>
                  </a:lnTo>
                  <a:lnTo>
                    <a:pt x="16388" y="5457"/>
                  </a:lnTo>
                  <a:lnTo>
                    <a:pt x="17298" y="6125"/>
                  </a:lnTo>
                  <a:lnTo>
                    <a:pt x="17687" y="6515"/>
                  </a:lnTo>
                  <a:lnTo>
                    <a:pt x="18040" y="6942"/>
                  </a:lnTo>
                  <a:lnTo>
                    <a:pt x="18578" y="7907"/>
                  </a:lnTo>
                  <a:lnTo>
                    <a:pt x="18764" y="8445"/>
                  </a:lnTo>
                  <a:lnTo>
                    <a:pt x="18912" y="9002"/>
                  </a:lnTo>
                  <a:lnTo>
                    <a:pt x="19079" y="10152"/>
                  </a:lnTo>
                  <a:lnTo>
                    <a:pt x="19098" y="10746"/>
                  </a:lnTo>
                  <a:lnTo>
                    <a:pt x="6274" y="10746"/>
                  </a:lnTo>
                  <a:lnTo>
                    <a:pt x="6329" y="10097"/>
                  </a:lnTo>
                  <a:lnTo>
                    <a:pt x="6664" y="8890"/>
                  </a:lnTo>
                  <a:lnTo>
                    <a:pt x="7202" y="7795"/>
                  </a:lnTo>
                  <a:lnTo>
                    <a:pt x="7963" y="6830"/>
                  </a:lnTo>
                  <a:lnTo>
                    <a:pt x="8427" y="6403"/>
                  </a:lnTo>
                  <a:lnTo>
                    <a:pt x="8928" y="5995"/>
                  </a:lnTo>
                  <a:lnTo>
                    <a:pt x="10023" y="5346"/>
                  </a:lnTo>
                  <a:lnTo>
                    <a:pt x="11210" y="4937"/>
                  </a:lnTo>
                  <a:lnTo>
                    <a:pt x="12510" y="4715"/>
                  </a:lnTo>
                  <a:lnTo>
                    <a:pt x="13196" y="4696"/>
                  </a:lnTo>
                  <a:close/>
                  <a:moveTo>
                    <a:pt x="13252" y="1"/>
                  </a:moveTo>
                  <a:lnTo>
                    <a:pt x="12565" y="19"/>
                  </a:lnTo>
                  <a:lnTo>
                    <a:pt x="11192" y="131"/>
                  </a:lnTo>
                  <a:lnTo>
                    <a:pt x="9893" y="372"/>
                  </a:lnTo>
                  <a:lnTo>
                    <a:pt x="8631" y="743"/>
                  </a:lnTo>
                  <a:lnTo>
                    <a:pt x="8018" y="966"/>
                  </a:lnTo>
                  <a:lnTo>
                    <a:pt x="7406" y="1226"/>
                  </a:lnTo>
                  <a:lnTo>
                    <a:pt x="6292" y="1801"/>
                  </a:lnTo>
                  <a:lnTo>
                    <a:pt x="5235" y="2469"/>
                  </a:lnTo>
                  <a:lnTo>
                    <a:pt x="4269" y="3248"/>
                  </a:lnTo>
                  <a:lnTo>
                    <a:pt x="3824" y="3675"/>
                  </a:lnTo>
                  <a:lnTo>
                    <a:pt x="3379" y="4121"/>
                  </a:lnTo>
                  <a:lnTo>
                    <a:pt x="2581" y="5086"/>
                  </a:lnTo>
                  <a:lnTo>
                    <a:pt x="1894" y="6144"/>
                  </a:lnTo>
                  <a:lnTo>
                    <a:pt x="1281" y="7294"/>
                  </a:lnTo>
                  <a:lnTo>
                    <a:pt x="1022" y="7907"/>
                  </a:lnTo>
                  <a:lnTo>
                    <a:pt x="780" y="8538"/>
                  </a:lnTo>
                  <a:lnTo>
                    <a:pt x="391" y="9837"/>
                  </a:lnTo>
                  <a:lnTo>
                    <a:pt x="149" y="11210"/>
                  </a:lnTo>
                  <a:lnTo>
                    <a:pt x="19" y="12658"/>
                  </a:lnTo>
                  <a:lnTo>
                    <a:pt x="1" y="13400"/>
                  </a:lnTo>
                  <a:lnTo>
                    <a:pt x="19" y="14161"/>
                  </a:lnTo>
                  <a:lnTo>
                    <a:pt x="149" y="15609"/>
                  </a:lnTo>
                  <a:lnTo>
                    <a:pt x="391" y="17000"/>
                  </a:lnTo>
                  <a:lnTo>
                    <a:pt x="780" y="18300"/>
                  </a:lnTo>
                  <a:lnTo>
                    <a:pt x="1022" y="18912"/>
                  </a:lnTo>
                  <a:lnTo>
                    <a:pt x="1281" y="19506"/>
                  </a:lnTo>
                  <a:lnTo>
                    <a:pt x="1894" y="20619"/>
                  </a:lnTo>
                  <a:lnTo>
                    <a:pt x="2599" y="21659"/>
                  </a:lnTo>
                  <a:lnTo>
                    <a:pt x="3397" y="22587"/>
                  </a:lnTo>
                  <a:lnTo>
                    <a:pt x="3843" y="23013"/>
                  </a:lnTo>
                  <a:lnTo>
                    <a:pt x="4288" y="23422"/>
                  </a:lnTo>
                  <a:lnTo>
                    <a:pt x="5272" y="24146"/>
                  </a:lnTo>
                  <a:lnTo>
                    <a:pt x="6348" y="24795"/>
                  </a:lnTo>
                  <a:lnTo>
                    <a:pt x="7480" y="25352"/>
                  </a:lnTo>
                  <a:lnTo>
                    <a:pt x="8093" y="25593"/>
                  </a:lnTo>
                  <a:lnTo>
                    <a:pt x="8705" y="25797"/>
                  </a:lnTo>
                  <a:lnTo>
                    <a:pt x="10004" y="26150"/>
                  </a:lnTo>
                  <a:lnTo>
                    <a:pt x="11340" y="26373"/>
                  </a:lnTo>
                  <a:lnTo>
                    <a:pt x="12732" y="26484"/>
                  </a:lnTo>
                  <a:lnTo>
                    <a:pt x="13475" y="26503"/>
                  </a:lnTo>
                  <a:lnTo>
                    <a:pt x="14236" y="26484"/>
                  </a:lnTo>
                  <a:lnTo>
                    <a:pt x="15683" y="26373"/>
                  </a:lnTo>
                  <a:lnTo>
                    <a:pt x="17075" y="26131"/>
                  </a:lnTo>
                  <a:lnTo>
                    <a:pt x="18374" y="25760"/>
                  </a:lnTo>
                  <a:lnTo>
                    <a:pt x="19599" y="25296"/>
                  </a:lnTo>
                  <a:lnTo>
                    <a:pt x="20731" y="24684"/>
                  </a:lnTo>
                  <a:lnTo>
                    <a:pt x="21789" y="23960"/>
                  </a:lnTo>
                  <a:lnTo>
                    <a:pt x="22773" y="23125"/>
                  </a:lnTo>
                  <a:lnTo>
                    <a:pt x="23237" y="22661"/>
                  </a:lnTo>
                  <a:lnTo>
                    <a:pt x="23422" y="22420"/>
                  </a:lnTo>
                  <a:lnTo>
                    <a:pt x="23608" y="21863"/>
                  </a:lnTo>
                  <a:lnTo>
                    <a:pt x="23552" y="21288"/>
                  </a:lnTo>
                  <a:lnTo>
                    <a:pt x="23274" y="20768"/>
                  </a:lnTo>
                  <a:lnTo>
                    <a:pt x="23051" y="20564"/>
                  </a:lnTo>
                  <a:lnTo>
                    <a:pt x="21158" y="19042"/>
                  </a:lnTo>
                  <a:lnTo>
                    <a:pt x="20935" y="18875"/>
                  </a:lnTo>
                  <a:lnTo>
                    <a:pt x="20434" y="18726"/>
                  </a:lnTo>
                  <a:lnTo>
                    <a:pt x="19915" y="18745"/>
                  </a:lnTo>
                  <a:lnTo>
                    <a:pt x="19432" y="18949"/>
                  </a:lnTo>
                  <a:lnTo>
                    <a:pt x="19246" y="19135"/>
                  </a:lnTo>
                  <a:lnTo>
                    <a:pt x="18820" y="19543"/>
                  </a:lnTo>
                  <a:lnTo>
                    <a:pt x="17892" y="20230"/>
                  </a:lnTo>
                  <a:lnTo>
                    <a:pt x="17372" y="20527"/>
                  </a:lnTo>
                  <a:lnTo>
                    <a:pt x="16964" y="20731"/>
                  </a:lnTo>
                  <a:lnTo>
                    <a:pt x="16073" y="21046"/>
                  </a:lnTo>
                  <a:lnTo>
                    <a:pt x="15071" y="21269"/>
                  </a:lnTo>
                  <a:lnTo>
                    <a:pt x="13994" y="21380"/>
                  </a:lnTo>
                  <a:lnTo>
                    <a:pt x="13419" y="21380"/>
                  </a:lnTo>
                  <a:lnTo>
                    <a:pt x="12732" y="21362"/>
                  </a:lnTo>
                  <a:lnTo>
                    <a:pt x="11433" y="21120"/>
                  </a:lnTo>
                  <a:lnTo>
                    <a:pt x="10802" y="20916"/>
                  </a:lnTo>
                  <a:lnTo>
                    <a:pt x="10190" y="20657"/>
                  </a:lnTo>
                  <a:lnTo>
                    <a:pt x="9076" y="20026"/>
                  </a:lnTo>
                  <a:lnTo>
                    <a:pt x="8557" y="19636"/>
                  </a:lnTo>
                  <a:lnTo>
                    <a:pt x="8074" y="19209"/>
                  </a:lnTo>
                  <a:lnTo>
                    <a:pt x="7295" y="18244"/>
                  </a:lnTo>
                  <a:lnTo>
                    <a:pt x="6979" y="17706"/>
                  </a:lnTo>
                  <a:lnTo>
                    <a:pt x="6682" y="17130"/>
                  </a:lnTo>
                  <a:lnTo>
                    <a:pt x="6329" y="15905"/>
                  </a:lnTo>
                  <a:lnTo>
                    <a:pt x="6274" y="15237"/>
                  </a:lnTo>
                  <a:lnTo>
                    <a:pt x="23905" y="15237"/>
                  </a:lnTo>
                  <a:lnTo>
                    <a:pt x="24202" y="15200"/>
                  </a:lnTo>
                  <a:lnTo>
                    <a:pt x="24721" y="14996"/>
                  </a:lnTo>
                  <a:lnTo>
                    <a:pt x="25111" y="14606"/>
                  </a:lnTo>
                  <a:lnTo>
                    <a:pt x="25334" y="14087"/>
                  </a:lnTo>
                  <a:lnTo>
                    <a:pt x="25352" y="13790"/>
                  </a:lnTo>
                  <a:lnTo>
                    <a:pt x="25352" y="13567"/>
                  </a:lnTo>
                  <a:lnTo>
                    <a:pt x="25352" y="12713"/>
                  </a:lnTo>
                  <a:lnTo>
                    <a:pt x="25222" y="11136"/>
                  </a:lnTo>
                  <a:lnTo>
                    <a:pt x="25000" y="9651"/>
                  </a:lnTo>
                  <a:lnTo>
                    <a:pt x="24666" y="8278"/>
                  </a:lnTo>
                  <a:lnTo>
                    <a:pt x="24443" y="7647"/>
                  </a:lnTo>
                  <a:lnTo>
                    <a:pt x="24202" y="7016"/>
                  </a:lnTo>
                  <a:lnTo>
                    <a:pt x="23663" y="5847"/>
                  </a:lnTo>
                  <a:lnTo>
                    <a:pt x="23032" y="4807"/>
                  </a:lnTo>
                  <a:lnTo>
                    <a:pt x="22309" y="3842"/>
                  </a:lnTo>
                  <a:lnTo>
                    <a:pt x="21919" y="3415"/>
                  </a:lnTo>
                  <a:lnTo>
                    <a:pt x="21511" y="3007"/>
                  </a:lnTo>
                  <a:lnTo>
                    <a:pt x="20620" y="2265"/>
                  </a:lnTo>
                  <a:lnTo>
                    <a:pt x="19655" y="1615"/>
                  </a:lnTo>
                  <a:lnTo>
                    <a:pt x="18634" y="1096"/>
                  </a:lnTo>
                  <a:lnTo>
                    <a:pt x="18077" y="873"/>
                  </a:lnTo>
                  <a:lnTo>
                    <a:pt x="17520" y="650"/>
                  </a:lnTo>
                  <a:lnTo>
                    <a:pt x="16370" y="335"/>
                  </a:lnTo>
                  <a:lnTo>
                    <a:pt x="15163" y="112"/>
                  </a:lnTo>
                  <a:lnTo>
                    <a:pt x="13901" y="19"/>
                  </a:lnTo>
                  <a:lnTo>
                    <a:pt x="13252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" name="Google Shape;438;p26"/>
            <p:cNvSpPr/>
            <p:nvPr/>
          </p:nvSpPr>
          <p:spPr>
            <a:xfrm>
              <a:off x="5884625" y="2663300"/>
              <a:ext cx="579075" cy="659800"/>
            </a:xfrm>
            <a:custGeom>
              <a:avLst/>
              <a:gdLst/>
              <a:ahLst/>
              <a:cxnLst/>
              <a:rect l="l" t="t" r="r" b="b"/>
              <a:pathLst>
                <a:path w="23163" h="26392" extrusionOk="0">
                  <a:moveTo>
                    <a:pt x="17223" y="14347"/>
                  </a:moveTo>
                  <a:lnTo>
                    <a:pt x="17223" y="15237"/>
                  </a:lnTo>
                  <a:lnTo>
                    <a:pt x="17205" y="15961"/>
                  </a:lnTo>
                  <a:lnTo>
                    <a:pt x="17001" y="17297"/>
                  </a:lnTo>
                  <a:lnTo>
                    <a:pt x="16574" y="18467"/>
                  </a:lnTo>
                  <a:lnTo>
                    <a:pt x="15943" y="19487"/>
                  </a:lnTo>
                  <a:lnTo>
                    <a:pt x="15553" y="19933"/>
                  </a:lnTo>
                  <a:lnTo>
                    <a:pt x="15108" y="20341"/>
                  </a:lnTo>
                  <a:lnTo>
                    <a:pt x="14087" y="20991"/>
                  </a:lnTo>
                  <a:lnTo>
                    <a:pt x="12862" y="21417"/>
                  </a:lnTo>
                  <a:lnTo>
                    <a:pt x="11433" y="21640"/>
                  </a:lnTo>
                  <a:lnTo>
                    <a:pt x="10653" y="21659"/>
                  </a:lnTo>
                  <a:lnTo>
                    <a:pt x="9855" y="21622"/>
                  </a:lnTo>
                  <a:lnTo>
                    <a:pt x="9076" y="21492"/>
                  </a:lnTo>
                  <a:lnTo>
                    <a:pt x="8705" y="21417"/>
                  </a:lnTo>
                  <a:lnTo>
                    <a:pt x="8000" y="21158"/>
                  </a:lnTo>
                  <a:lnTo>
                    <a:pt x="7666" y="20972"/>
                  </a:lnTo>
                  <a:lnTo>
                    <a:pt x="7369" y="20786"/>
                  </a:lnTo>
                  <a:lnTo>
                    <a:pt x="6867" y="20304"/>
                  </a:lnTo>
                  <a:lnTo>
                    <a:pt x="6645" y="20007"/>
                  </a:lnTo>
                  <a:lnTo>
                    <a:pt x="6478" y="19691"/>
                  </a:lnTo>
                  <a:lnTo>
                    <a:pt x="6274" y="18949"/>
                  </a:lnTo>
                  <a:lnTo>
                    <a:pt x="6255" y="18522"/>
                  </a:lnTo>
                  <a:lnTo>
                    <a:pt x="6274" y="18170"/>
                  </a:lnTo>
                  <a:lnTo>
                    <a:pt x="6385" y="17557"/>
                  </a:lnTo>
                  <a:lnTo>
                    <a:pt x="6626" y="17000"/>
                  </a:lnTo>
                  <a:lnTo>
                    <a:pt x="6979" y="16518"/>
                  </a:lnTo>
                  <a:lnTo>
                    <a:pt x="7202" y="16314"/>
                  </a:lnTo>
                  <a:lnTo>
                    <a:pt x="7684" y="15924"/>
                  </a:lnTo>
                  <a:lnTo>
                    <a:pt x="8872" y="15293"/>
                  </a:lnTo>
                  <a:lnTo>
                    <a:pt x="9540" y="15052"/>
                  </a:lnTo>
                  <a:lnTo>
                    <a:pt x="10264" y="14848"/>
                  </a:lnTo>
                  <a:lnTo>
                    <a:pt x="11804" y="14551"/>
                  </a:lnTo>
                  <a:lnTo>
                    <a:pt x="12621" y="14476"/>
                  </a:lnTo>
                  <a:lnTo>
                    <a:pt x="14272" y="14365"/>
                  </a:lnTo>
                  <a:lnTo>
                    <a:pt x="15813" y="14347"/>
                  </a:lnTo>
                  <a:close/>
                  <a:moveTo>
                    <a:pt x="12008" y="1"/>
                  </a:moveTo>
                  <a:lnTo>
                    <a:pt x="11284" y="19"/>
                  </a:lnTo>
                  <a:lnTo>
                    <a:pt x="9855" y="131"/>
                  </a:lnTo>
                  <a:lnTo>
                    <a:pt x="8445" y="390"/>
                  </a:lnTo>
                  <a:lnTo>
                    <a:pt x="7035" y="762"/>
                  </a:lnTo>
                  <a:lnTo>
                    <a:pt x="6348" y="1003"/>
                  </a:lnTo>
                  <a:lnTo>
                    <a:pt x="5327" y="1374"/>
                  </a:lnTo>
                  <a:lnTo>
                    <a:pt x="3434" y="2376"/>
                  </a:lnTo>
                  <a:lnTo>
                    <a:pt x="2580" y="3007"/>
                  </a:lnTo>
                  <a:lnTo>
                    <a:pt x="2339" y="3193"/>
                  </a:lnTo>
                  <a:lnTo>
                    <a:pt x="2061" y="3712"/>
                  </a:lnTo>
                  <a:lnTo>
                    <a:pt x="2005" y="4269"/>
                  </a:lnTo>
                  <a:lnTo>
                    <a:pt x="2191" y="4845"/>
                  </a:lnTo>
                  <a:lnTo>
                    <a:pt x="2358" y="5086"/>
                  </a:lnTo>
                  <a:lnTo>
                    <a:pt x="3712" y="6663"/>
                  </a:lnTo>
                  <a:lnTo>
                    <a:pt x="3898" y="6867"/>
                  </a:lnTo>
                  <a:lnTo>
                    <a:pt x="4381" y="7127"/>
                  </a:lnTo>
                  <a:lnTo>
                    <a:pt x="4900" y="7183"/>
                  </a:lnTo>
                  <a:lnTo>
                    <a:pt x="5420" y="7053"/>
                  </a:lnTo>
                  <a:lnTo>
                    <a:pt x="5661" y="6905"/>
                  </a:lnTo>
                  <a:lnTo>
                    <a:pt x="6107" y="6589"/>
                  </a:lnTo>
                  <a:lnTo>
                    <a:pt x="7127" y="5995"/>
                  </a:lnTo>
                  <a:lnTo>
                    <a:pt x="7684" y="5735"/>
                  </a:lnTo>
                  <a:lnTo>
                    <a:pt x="8129" y="5550"/>
                  </a:lnTo>
                  <a:lnTo>
                    <a:pt x="9057" y="5234"/>
                  </a:lnTo>
                  <a:lnTo>
                    <a:pt x="10022" y="5012"/>
                  </a:lnTo>
                  <a:lnTo>
                    <a:pt x="10988" y="4919"/>
                  </a:lnTo>
                  <a:lnTo>
                    <a:pt x="11489" y="4900"/>
                  </a:lnTo>
                  <a:lnTo>
                    <a:pt x="12064" y="4919"/>
                  </a:lnTo>
                  <a:lnTo>
                    <a:pt x="13159" y="5049"/>
                  </a:lnTo>
                  <a:lnTo>
                    <a:pt x="14161" y="5346"/>
                  </a:lnTo>
                  <a:lnTo>
                    <a:pt x="15089" y="5754"/>
                  </a:lnTo>
                  <a:lnTo>
                    <a:pt x="15534" y="6032"/>
                  </a:lnTo>
                  <a:lnTo>
                    <a:pt x="15924" y="6311"/>
                  </a:lnTo>
                  <a:lnTo>
                    <a:pt x="16574" y="7034"/>
                  </a:lnTo>
                  <a:lnTo>
                    <a:pt x="16982" y="7907"/>
                  </a:lnTo>
                  <a:lnTo>
                    <a:pt x="17205" y="8927"/>
                  </a:lnTo>
                  <a:lnTo>
                    <a:pt x="17223" y="9484"/>
                  </a:lnTo>
                  <a:lnTo>
                    <a:pt x="17223" y="10115"/>
                  </a:lnTo>
                  <a:lnTo>
                    <a:pt x="15757" y="10134"/>
                  </a:lnTo>
                  <a:lnTo>
                    <a:pt x="12769" y="10282"/>
                  </a:lnTo>
                  <a:lnTo>
                    <a:pt x="11247" y="10412"/>
                  </a:lnTo>
                  <a:lnTo>
                    <a:pt x="9744" y="10579"/>
                  </a:lnTo>
                  <a:lnTo>
                    <a:pt x="7647" y="11006"/>
                  </a:lnTo>
                  <a:lnTo>
                    <a:pt x="6329" y="11359"/>
                  </a:lnTo>
                  <a:lnTo>
                    <a:pt x="5698" y="11581"/>
                  </a:lnTo>
                  <a:lnTo>
                    <a:pt x="5067" y="11804"/>
                  </a:lnTo>
                  <a:lnTo>
                    <a:pt x="3935" y="12361"/>
                  </a:lnTo>
                  <a:lnTo>
                    <a:pt x="2914" y="12992"/>
                  </a:lnTo>
                  <a:lnTo>
                    <a:pt x="2005" y="13734"/>
                  </a:lnTo>
                  <a:lnTo>
                    <a:pt x="1597" y="14142"/>
                  </a:lnTo>
                  <a:lnTo>
                    <a:pt x="1207" y="14569"/>
                  </a:lnTo>
                  <a:lnTo>
                    <a:pt x="613" y="15553"/>
                  </a:lnTo>
                  <a:lnTo>
                    <a:pt x="223" y="16666"/>
                  </a:lnTo>
                  <a:lnTo>
                    <a:pt x="19" y="17928"/>
                  </a:lnTo>
                  <a:lnTo>
                    <a:pt x="1" y="18615"/>
                  </a:lnTo>
                  <a:lnTo>
                    <a:pt x="19" y="19172"/>
                  </a:lnTo>
                  <a:lnTo>
                    <a:pt x="131" y="20174"/>
                  </a:lnTo>
                  <a:lnTo>
                    <a:pt x="353" y="21083"/>
                  </a:lnTo>
                  <a:lnTo>
                    <a:pt x="706" y="21919"/>
                  </a:lnTo>
                  <a:lnTo>
                    <a:pt x="910" y="22308"/>
                  </a:lnTo>
                  <a:lnTo>
                    <a:pt x="1151" y="22661"/>
                  </a:lnTo>
                  <a:lnTo>
                    <a:pt x="1671" y="23348"/>
                  </a:lnTo>
                  <a:lnTo>
                    <a:pt x="2246" y="23941"/>
                  </a:lnTo>
                  <a:lnTo>
                    <a:pt x="2877" y="24461"/>
                  </a:lnTo>
                  <a:lnTo>
                    <a:pt x="3211" y="24702"/>
                  </a:lnTo>
                  <a:lnTo>
                    <a:pt x="3917" y="25129"/>
                  </a:lnTo>
                  <a:lnTo>
                    <a:pt x="5420" y="25779"/>
                  </a:lnTo>
                  <a:lnTo>
                    <a:pt x="6236" y="26001"/>
                  </a:lnTo>
                  <a:lnTo>
                    <a:pt x="7053" y="26187"/>
                  </a:lnTo>
                  <a:lnTo>
                    <a:pt x="8631" y="26373"/>
                  </a:lnTo>
                  <a:lnTo>
                    <a:pt x="9391" y="26391"/>
                  </a:lnTo>
                  <a:lnTo>
                    <a:pt x="10060" y="26391"/>
                  </a:lnTo>
                  <a:lnTo>
                    <a:pt x="11303" y="26243"/>
                  </a:lnTo>
                  <a:lnTo>
                    <a:pt x="12491" y="25983"/>
                  </a:lnTo>
                  <a:lnTo>
                    <a:pt x="13604" y="25575"/>
                  </a:lnTo>
                  <a:lnTo>
                    <a:pt x="14143" y="25315"/>
                  </a:lnTo>
                  <a:lnTo>
                    <a:pt x="14644" y="25055"/>
                  </a:lnTo>
                  <a:lnTo>
                    <a:pt x="15553" y="24442"/>
                  </a:lnTo>
                  <a:lnTo>
                    <a:pt x="16314" y="23756"/>
                  </a:lnTo>
                  <a:lnTo>
                    <a:pt x="16926" y="22995"/>
                  </a:lnTo>
                  <a:lnTo>
                    <a:pt x="17168" y="22587"/>
                  </a:lnTo>
                  <a:lnTo>
                    <a:pt x="17316" y="22587"/>
                  </a:lnTo>
                  <a:lnTo>
                    <a:pt x="17316" y="24313"/>
                  </a:lnTo>
                  <a:lnTo>
                    <a:pt x="17335" y="24610"/>
                  </a:lnTo>
                  <a:lnTo>
                    <a:pt x="17557" y="25129"/>
                  </a:lnTo>
                  <a:lnTo>
                    <a:pt x="17947" y="25519"/>
                  </a:lnTo>
                  <a:lnTo>
                    <a:pt x="18467" y="25742"/>
                  </a:lnTo>
                  <a:lnTo>
                    <a:pt x="18764" y="25760"/>
                  </a:lnTo>
                  <a:lnTo>
                    <a:pt x="21715" y="25760"/>
                  </a:lnTo>
                  <a:lnTo>
                    <a:pt x="22011" y="25742"/>
                  </a:lnTo>
                  <a:lnTo>
                    <a:pt x="22531" y="25519"/>
                  </a:lnTo>
                  <a:lnTo>
                    <a:pt x="22921" y="25129"/>
                  </a:lnTo>
                  <a:lnTo>
                    <a:pt x="23144" y="24610"/>
                  </a:lnTo>
                  <a:lnTo>
                    <a:pt x="23162" y="24313"/>
                  </a:lnTo>
                  <a:lnTo>
                    <a:pt x="23162" y="10542"/>
                  </a:lnTo>
                  <a:lnTo>
                    <a:pt x="23144" y="9596"/>
                  </a:lnTo>
                  <a:lnTo>
                    <a:pt x="22902" y="7721"/>
                  </a:lnTo>
                  <a:lnTo>
                    <a:pt x="22661" y="6775"/>
                  </a:lnTo>
                  <a:lnTo>
                    <a:pt x="22531" y="6311"/>
                  </a:lnTo>
                  <a:lnTo>
                    <a:pt x="22197" y="5420"/>
                  </a:lnTo>
                  <a:lnTo>
                    <a:pt x="21752" y="4566"/>
                  </a:lnTo>
                  <a:lnTo>
                    <a:pt x="21232" y="3768"/>
                  </a:lnTo>
                  <a:lnTo>
                    <a:pt x="20917" y="3378"/>
                  </a:lnTo>
                  <a:lnTo>
                    <a:pt x="20917" y="3397"/>
                  </a:lnTo>
                  <a:lnTo>
                    <a:pt x="20601" y="3026"/>
                  </a:lnTo>
                  <a:lnTo>
                    <a:pt x="19859" y="2339"/>
                  </a:lnTo>
                  <a:lnTo>
                    <a:pt x="19005" y="1727"/>
                  </a:lnTo>
                  <a:lnTo>
                    <a:pt x="18040" y="1188"/>
                  </a:lnTo>
                  <a:lnTo>
                    <a:pt x="17502" y="947"/>
                  </a:lnTo>
                  <a:lnTo>
                    <a:pt x="16945" y="724"/>
                  </a:lnTo>
                  <a:lnTo>
                    <a:pt x="15720" y="372"/>
                  </a:lnTo>
                  <a:lnTo>
                    <a:pt x="14347" y="131"/>
                  </a:lnTo>
                  <a:lnTo>
                    <a:pt x="12825" y="19"/>
                  </a:lnTo>
                  <a:lnTo>
                    <a:pt x="12008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" name="Google Shape;439;p26"/>
            <p:cNvSpPr/>
            <p:nvPr/>
          </p:nvSpPr>
          <p:spPr>
            <a:xfrm>
              <a:off x="6545800" y="2664225"/>
              <a:ext cx="373975" cy="643550"/>
            </a:xfrm>
            <a:custGeom>
              <a:avLst/>
              <a:gdLst/>
              <a:ahLst/>
              <a:cxnLst/>
              <a:rect l="l" t="t" r="r" b="b"/>
              <a:pathLst>
                <a:path w="14959" h="25742" extrusionOk="0">
                  <a:moveTo>
                    <a:pt x="13400" y="1"/>
                  </a:moveTo>
                  <a:lnTo>
                    <a:pt x="13400" y="19"/>
                  </a:lnTo>
                  <a:lnTo>
                    <a:pt x="12639" y="75"/>
                  </a:lnTo>
                  <a:lnTo>
                    <a:pt x="11339" y="279"/>
                  </a:lnTo>
                  <a:lnTo>
                    <a:pt x="10300" y="613"/>
                  </a:lnTo>
                  <a:lnTo>
                    <a:pt x="9409" y="1059"/>
                  </a:lnTo>
                  <a:lnTo>
                    <a:pt x="9020" y="1318"/>
                  </a:lnTo>
                  <a:lnTo>
                    <a:pt x="8556" y="1671"/>
                  </a:lnTo>
                  <a:lnTo>
                    <a:pt x="7721" y="2451"/>
                  </a:lnTo>
                  <a:lnTo>
                    <a:pt x="6997" y="3341"/>
                  </a:lnTo>
                  <a:lnTo>
                    <a:pt x="6366" y="4325"/>
                  </a:lnTo>
                  <a:lnTo>
                    <a:pt x="6106" y="4863"/>
                  </a:lnTo>
                  <a:lnTo>
                    <a:pt x="5995" y="4863"/>
                  </a:lnTo>
                  <a:lnTo>
                    <a:pt x="5995" y="2135"/>
                  </a:lnTo>
                  <a:lnTo>
                    <a:pt x="5976" y="1838"/>
                  </a:lnTo>
                  <a:lnTo>
                    <a:pt x="5753" y="1318"/>
                  </a:lnTo>
                  <a:lnTo>
                    <a:pt x="5364" y="929"/>
                  </a:lnTo>
                  <a:lnTo>
                    <a:pt x="4844" y="706"/>
                  </a:lnTo>
                  <a:lnTo>
                    <a:pt x="4547" y="687"/>
                  </a:lnTo>
                  <a:lnTo>
                    <a:pt x="1448" y="687"/>
                  </a:lnTo>
                  <a:lnTo>
                    <a:pt x="1151" y="706"/>
                  </a:lnTo>
                  <a:lnTo>
                    <a:pt x="631" y="929"/>
                  </a:lnTo>
                  <a:lnTo>
                    <a:pt x="241" y="1318"/>
                  </a:lnTo>
                  <a:lnTo>
                    <a:pt x="19" y="1838"/>
                  </a:lnTo>
                  <a:lnTo>
                    <a:pt x="0" y="2135"/>
                  </a:lnTo>
                  <a:lnTo>
                    <a:pt x="0" y="24276"/>
                  </a:lnTo>
                  <a:lnTo>
                    <a:pt x="19" y="24573"/>
                  </a:lnTo>
                  <a:lnTo>
                    <a:pt x="241" y="25092"/>
                  </a:lnTo>
                  <a:lnTo>
                    <a:pt x="631" y="25500"/>
                  </a:lnTo>
                  <a:lnTo>
                    <a:pt x="1151" y="25705"/>
                  </a:lnTo>
                  <a:lnTo>
                    <a:pt x="1448" y="25742"/>
                  </a:lnTo>
                  <a:lnTo>
                    <a:pt x="4807" y="25742"/>
                  </a:lnTo>
                  <a:lnTo>
                    <a:pt x="5104" y="25705"/>
                  </a:lnTo>
                  <a:lnTo>
                    <a:pt x="5623" y="25500"/>
                  </a:lnTo>
                  <a:lnTo>
                    <a:pt x="6013" y="25092"/>
                  </a:lnTo>
                  <a:lnTo>
                    <a:pt x="6236" y="24573"/>
                  </a:lnTo>
                  <a:lnTo>
                    <a:pt x="6254" y="24276"/>
                  </a:lnTo>
                  <a:lnTo>
                    <a:pt x="6254" y="12324"/>
                  </a:lnTo>
                  <a:lnTo>
                    <a:pt x="6273" y="11971"/>
                  </a:lnTo>
                  <a:lnTo>
                    <a:pt x="6403" y="11062"/>
                  </a:lnTo>
                  <a:lnTo>
                    <a:pt x="6514" y="10505"/>
                  </a:lnTo>
                  <a:lnTo>
                    <a:pt x="6663" y="9930"/>
                  </a:lnTo>
                  <a:lnTo>
                    <a:pt x="7164" y="8816"/>
                  </a:lnTo>
                  <a:lnTo>
                    <a:pt x="7516" y="8259"/>
                  </a:lnTo>
                  <a:lnTo>
                    <a:pt x="7906" y="7721"/>
                  </a:lnTo>
                  <a:lnTo>
                    <a:pt x="8908" y="6775"/>
                  </a:lnTo>
                  <a:lnTo>
                    <a:pt x="9539" y="6385"/>
                  </a:lnTo>
                  <a:lnTo>
                    <a:pt x="10170" y="6014"/>
                  </a:lnTo>
                  <a:lnTo>
                    <a:pt x="11636" y="5439"/>
                  </a:lnTo>
                  <a:lnTo>
                    <a:pt x="12917" y="5142"/>
                  </a:lnTo>
                  <a:lnTo>
                    <a:pt x="13678" y="5030"/>
                  </a:lnTo>
                  <a:lnTo>
                    <a:pt x="13938" y="4993"/>
                  </a:lnTo>
                  <a:lnTo>
                    <a:pt x="14420" y="4752"/>
                  </a:lnTo>
                  <a:lnTo>
                    <a:pt x="14754" y="4344"/>
                  </a:lnTo>
                  <a:lnTo>
                    <a:pt x="14940" y="3861"/>
                  </a:lnTo>
                  <a:lnTo>
                    <a:pt x="14958" y="3583"/>
                  </a:lnTo>
                  <a:lnTo>
                    <a:pt x="14940" y="1430"/>
                  </a:lnTo>
                  <a:lnTo>
                    <a:pt x="14903" y="1133"/>
                  </a:lnTo>
                  <a:lnTo>
                    <a:pt x="14661" y="595"/>
                  </a:lnTo>
                  <a:lnTo>
                    <a:pt x="14253" y="205"/>
                  </a:lnTo>
                  <a:lnTo>
                    <a:pt x="13696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" name="Google Shape;440;p26"/>
            <p:cNvSpPr/>
            <p:nvPr/>
          </p:nvSpPr>
          <p:spPr>
            <a:xfrm>
              <a:off x="6961975" y="2500450"/>
              <a:ext cx="420375" cy="820325"/>
            </a:xfrm>
            <a:custGeom>
              <a:avLst/>
              <a:gdLst/>
              <a:ahLst/>
              <a:cxnLst/>
              <a:rect l="l" t="t" r="r" b="b"/>
              <a:pathLst>
                <a:path w="16815" h="32813" extrusionOk="0">
                  <a:moveTo>
                    <a:pt x="5846" y="1"/>
                  </a:moveTo>
                  <a:lnTo>
                    <a:pt x="5549" y="19"/>
                  </a:lnTo>
                  <a:lnTo>
                    <a:pt x="5030" y="242"/>
                  </a:lnTo>
                  <a:lnTo>
                    <a:pt x="4621" y="632"/>
                  </a:lnTo>
                  <a:lnTo>
                    <a:pt x="4417" y="1151"/>
                  </a:lnTo>
                  <a:lnTo>
                    <a:pt x="4399" y="1448"/>
                  </a:lnTo>
                  <a:lnTo>
                    <a:pt x="4399" y="6515"/>
                  </a:lnTo>
                  <a:lnTo>
                    <a:pt x="1448" y="6515"/>
                  </a:lnTo>
                  <a:lnTo>
                    <a:pt x="1169" y="6533"/>
                  </a:lnTo>
                  <a:lnTo>
                    <a:pt x="650" y="6756"/>
                  </a:lnTo>
                  <a:lnTo>
                    <a:pt x="242" y="7146"/>
                  </a:lnTo>
                  <a:lnTo>
                    <a:pt x="19" y="7665"/>
                  </a:lnTo>
                  <a:lnTo>
                    <a:pt x="0" y="7962"/>
                  </a:lnTo>
                  <a:lnTo>
                    <a:pt x="0" y="10078"/>
                  </a:lnTo>
                  <a:lnTo>
                    <a:pt x="19" y="10375"/>
                  </a:lnTo>
                  <a:lnTo>
                    <a:pt x="242" y="10895"/>
                  </a:lnTo>
                  <a:lnTo>
                    <a:pt x="650" y="11284"/>
                  </a:lnTo>
                  <a:lnTo>
                    <a:pt x="1169" y="11507"/>
                  </a:lnTo>
                  <a:lnTo>
                    <a:pt x="1448" y="11526"/>
                  </a:lnTo>
                  <a:lnTo>
                    <a:pt x="4399" y="11526"/>
                  </a:lnTo>
                  <a:lnTo>
                    <a:pt x="4399" y="23941"/>
                  </a:lnTo>
                  <a:lnTo>
                    <a:pt x="4399" y="24851"/>
                  </a:lnTo>
                  <a:lnTo>
                    <a:pt x="4566" y="26558"/>
                  </a:lnTo>
                  <a:lnTo>
                    <a:pt x="4733" y="27356"/>
                  </a:lnTo>
                  <a:lnTo>
                    <a:pt x="4918" y="28136"/>
                  </a:lnTo>
                  <a:lnTo>
                    <a:pt x="5549" y="29546"/>
                  </a:lnTo>
                  <a:lnTo>
                    <a:pt x="5976" y="30177"/>
                  </a:lnTo>
                  <a:lnTo>
                    <a:pt x="6217" y="30474"/>
                  </a:lnTo>
                  <a:lnTo>
                    <a:pt x="6756" y="31031"/>
                  </a:lnTo>
                  <a:lnTo>
                    <a:pt x="7368" y="31513"/>
                  </a:lnTo>
                  <a:lnTo>
                    <a:pt x="8073" y="31922"/>
                  </a:lnTo>
                  <a:lnTo>
                    <a:pt x="8463" y="32107"/>
                  </a:lnTo>
                  <a:lnTo>
                    <a:pt x="8853" y="32274"/>
                  </a:lnTo>
                  <a:lnTo>
                    <a:pt x="9762" y="32534"/>
                  </a:lnTo>
                  <a:lnTo>
                    <a:pt x="10783" y="32720"/>
                  </a:lnTo>
                  <a:lnTo>
                    <a:pt x="11915" y="32794"/>
                  </a:lnTo>
                  <a:lnTo>
                    <a:pt x="12527" y="32812"/>
                  </a:lnTo>
                  <a:lnTo>
                    <a:pt x="13047" y="32794"/>
                  </a:lnTo>
                  <a:lnTo>
                    <a:pt x="14142" y="32701"/>
                  </a:lnTo>
                  <a:lnTo>
                    <a:pt x="14717" y="32627"/>
                  </a:lnTo>
                  <a:lnTo>
                    <a:pt x="15274" y="32534"/>
                  </a:lnTo>
                  <a:lnTo>
                    <a:pt x="16276" y="32274"/>
                  </a:lnTo>
                  <a:lnTo>
                    <a:pt x="16703" y="32126"/>
                  </a:lnTo>
                  <a:lnTo>
                    <a:pt x="16499" y="27226"/>
                  </a:lnTo>
                  <a:lnTo>
                    <a:pt x="15887" y="27467"/>
                  </a:lnTo>
                  <a:lnTo>
                    <a:pt x="15181" y="27616"/>
                  </a:lnTo>
                  <a:lnTo>
                    <a:pt x="14476" y="27727"/>
                  </a:lnTo>
                  <a:lnTo>
                    <a:pt x="13827" y="27746"/>
                  </a:lnTo>
                  <a:lnTo>
                    <a:pt x="13326" y="27746"/>
                  </a:lnTo>
                  <a:lnTo>
                    <a:pt x="12472" y="27597"/>
                  </a:lnTo>
                  <a:lnTo>
                    <a:pt x="11804" y="27319"/>
                  </a:lnTo>
                  <a:lnTo>
                    <a:pt x="11303" y="26911"/>
                  </a:lnTo>
                  <a:lnTo>
                    <a:pt x="11154" y="26651"/>
                  </a:lnTo>
                  <a:lnTo>
                    <a:pt x="11006" y="26372"/>
                  </a:lnTo>
                  <a:lnTo>
                    <a:pt x="10783" y="25760"/>
                  </a:lnTo>
                  <a:lnTo>
                    <a:pt x="10560" y="24702"/>
                  </a:lnTo>
                  <a:lnTo>
                    <a:pt x="10542" y="23886"/>
                  </a:lnTo>
                  <a:lnTo>
                    <a:pt x="10542" y="11526"/>
                  </a:lnTo>
                  <a:lnTo>
                    <a:pt x="15367" y="11526"/>
                  </a:lnTo>
                  <a:lnTo>
                    <a:pt x="15645" y="11507"/>
                  </a:lnTo>
                  <a:lnTo>
                    <a:pt x="16165" y="11284"/>
                  </a:lnTo>
                  <a:lnTo>
                    <a:pt x="16573" y="10895"/>
                  </a:lnTo>
                  <a:lnTo>
                    <a:pt x="16796" y="10375"/>
                  </a:lnTo>
                  <a:lnTo>
                    <a:pt x="16815" y="10078"/>
                  </a:lnTo>
                  <a:lnTo>
                    <a:pt x="16815" y="7962"/>
                  </a:lnTo>
                  <a:lnTo>
                    <a:pt x="16796" y="7665"/>
                  </a:lnTo>
                  <a:lnTo>
                    <a:pt x="16573" y="7146"/>
                  </a:lnTo>
                  <a:lnTo>
                    <a:pt x="16165" y="6756"/>
                  </a:lnTo>
                  <a:lnTo>
                    <a:pt x="15645" y="6533"/>
                  </a:lnTo>
                  <a:lnTo>
                    <a:pt x="15367" y="6515"/>
                  </a:lnTo>
                  <a:lnTo>
                    <a:pt x="10542" y="6515"/>
                  </a:lnTo>
                  <a:lnTo>
                    <a:pt x="10542" y="1448"/>
                  </a:lnTo>
                  <a:lnTo>
                    <a:pt x="10523" y="1151"/>
                  </a:lnTo>
                  <a:lnTo>
                    <a:pt x="10300" y="632"/>
                  </a:lnTo>
                  <a:lnTo>
                    <a:pt x="9911" y="242"/>
                  </a:lnTo>
                  <a:lnTo>
                    <a:pt x="9391" y="19"/>
                  </a:lnTo>
                  <a:lnTo>
                    <a:pt x="9094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" name="Google Shape;441;p26"/>
            <p:cNvSpPr/>
            <p:nvPr/>
          </p:nvSpPr>
          <p:spPr>
            <a:xfrm>
              <a:off x="4511750" y="2466575"/>
              <a:ext cx="655150" cy="841200"/>
            </a:xfrm>
            <a:custGeom>
              <a:avLst/>
              <a:gdLst/>
              <a:ahLst/>
              <a:cxnLst/>
              <a:rect l="l" t="t" r="r" b="b"/>
              <a:pathLst>
                <a:path w="26206" h="33648" extrusionOk="0">
                  <a:moveTo>
                    <a:pt x="1466" y="1"/>
                  </a:moveTo>
                  <a:lnTo>
                    <a:pt x="1169" y="19"/>
                  </a:lnTo>
                  <a:lnTo>
                    <a:pt x="650" y="242"/>
                  </a:lnTo>
                  <a:lnTo>
                    <a:pt x="241" y="632"/>
                  </a:lnTo>
                  <a:lnTo>
                    <a:pt x="19" y="1151"/>
                  </a:lnTo>
                  <a:lnTo>
                    <a:pt x="0" y="1448"/>
                  </a:lnTo>
                  <a:lnTo>
                    <a:pt x="0" y="32200"/>
                  </a:lnTo>
                  <a:lnTo>
                    <a:pt x="19" y="32497"/>
                  </a:lnTo>
                  <a:lnTo>
                    <a:pt x="241" y="33017"/>
                  </a:lnTo>
                  <a:lnTo>
                    <a:pt x="650" y="33406"/>
                  </a:lnTo>
                  <a:lnTo>
                    <a:pt x="1169" y="33629"/>
                  </a:lnTo>
                  <a:lnTo>
                    <a:pt x="1466" y="33648"/>
                  </a:lnTo>
                  <a:lnTo>
                    <a:pt x="4825" y="33648"/>
                  </a:lnTo>
                  <a:lnTo>
                    <a:pt x="5122" y="33629"/>
                  </a:lnTo>
                  <a:lnTo>
                    <a:pt x="5642" y="33406"/>
                  </a:lnTo>
                  <a:lnTo>
                    <a:pt x="6032" y="33017"/>
                  </a:lnTo>
                  <a:lnTo>
                    <a:pt x="6255" y="32497"/>
                  </a:lnTo>
                  <a:lnTo>
                    <a:pt x="6273" y="32200"/>
                  </a:lnTo>
                  <a:lnTo>
                    <a:pt x="6273" y="18133"/>
                  </a:lnTo>
                  <a:lnTo>
                    <a:pt x="19932" y="18133"/>
                  </a:lnTo>
                  <a:lnTo>
                    <a:pt x="19932" y="32200"/>
                  </a:lnTo>
                  <a:lnTo>
                    <a:pt x="19951" y="32497"/>
                  </a:lnTo>
                  <a:lnTo>
                    <a:pt x="20174" y="33017"/>
                  </a:lnTo>
                  <a:lnTo>
                    <a:pt x="20563" y="33406"/>
                  </a:lnTo>
                  <a:lnTo>
                    <a:pt x="21083" y="33629"/>
                  </a:lnTo>
                  <a:lnTo>
                    <a:pt x="21380" y="33648"/>
                  </a:lnTo>
                  <a:lnTo>
                    <a:pt x="24758" y="33648"/>
                  </a:lnTo>
                  <a:lnTo>
                    <a:pt x="25036" y="33629"/>
                  </a:lnTo>
                  <a:lnTo>
                    <a:pt x="25556" y="33406"/>
                  </a:lnTo>
                  <a:lnTo>
                    <a:pt x="25964" y="33017"/>
                  </a:lnTo>
                  <a:lnTo>
                    <a:pt x="26187" y="32497"/>
                  </a:lnTo>
                  <a:lnTo>
                    <a:pt x="26205" y="32200"/>
                  </a:lnTo>
                  <a:lnTo>
                    <a:pt x="26205" y="1448"/>
                  </a:lnTo>
                  <a:lnTo>
                    <a:pt x="26187" y="1151"/>
                  </a:lnTo>
                  <a:lnTo>
                    <a:pt x="25964" y="632"/>
                  </a:lnTo>
                  <a:lnTo>
                    <a:pt x="25556" y="242"/>
                  </a:lnTo>
                  <a:lnTo>
                    <a:pt x="25036" y="19"/>
                  </a:lnTo>
                  <a:lnTo>
                    <a:pt x="24758" y="1"/>
                  </a:lnTo>
                  <a:lnTo>
                    <a:pt x="21380" y="1"/>
                  </a:lnTo>
                  <a:lnTo>
                    <a:pt x="21083" y="19"/>
                  </a:lnTo>
                  <a:lnTo>
                    <a:pt x="20563" y="242"/>
                  </a:lnTo>
                  <a:lnTo>
                    <a:pt x="20174" y="632"/>
                  </a:lnTo>
                  <a:lnTo>
                    <a:pt x="19951" y="1151"/>
                  </a:lnTo>
                  <a:lnTo>
                    <a:pt x="19932" y="1448"/>
                  </a:lnTo>
                  <a:lnTo>
                    <a:pt x="19932" y="13641"/>
                  </a:lnTo>
                  <a:lnTo>
                    <a:pt x="6273" y="13641"/>
                  </a:lnTo>
                  <a:lnTo>
                    <a:pt x="6273" y="1448"/>
                  </a:lnTo>
                  <a:lnTo>
                    <a:pt x="6255" y="1151"/>
                  </a:lnTo>
                  <a:lnTo>
                    <a:pt x="6032" y="632"/>
                  </a:lnTo>
                  <a:lnTo>
                    <a:pt x="5642" y="242"/>
                  </a:lnTo>
                  <a:lnTo>
                    <a:pt x="5122" y="19"/>
                  </a:lnTo>
                  <a:lnTo>
                    <a:pt x="4825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" name="Google Shape;442;p26"/>
            <p:cNvSpPr/>
            <p:nvPr/>
          </p:nvSpPr>
          <p:spPr>
            <a:xfrm>
              <a:off x="2392800" y="2663300"/>
              <a:ext cx="633800" cy="662575"/>
            </a:xfrm>
            <a:custGeom>
              <a:avLst/>
              <a:gdLst/>
              <a:ahLst/>
              <a:cxnLst/>
              <a:rect l="l" t="t" r="r" b="b"/>
              <a:pathLst>
                <a:path w="25352" h="26503" extrusionOk="0">
                  <a:moveTo>
                    <a:pt x="13195" y="4696"/>
                  </a:moveTo>
                  <a:lnTo>
                    <a:pt x="13938" y="4715"/>
                  </a:lnTo>
                  <a:lnTo>
                    <a:pt x="15255" y="4974"/>
                  </a:lnTo>
                  <a:lnTo>
                    <a:pt x="15831" y="5197"/>
                  </a:lnTo>
                  <a:lnTo>
                    <a:pt x="16369" y="5457"/>
                  </a:lnTo>
                  <a:lnTo>
                    <a:pt x="17297" y="6125"/>
                  </a:lnTo>
                  <a:lnTo>
                    <a:pt x="17687" y="6515"/>
                  </a:lnTo>
                  <a:lnTo>
                    <a:pt x="18039" y="6942"/>
                  </a:lnTo>
                  <a:lnTo>
                    <a:pt x="18559" y="7907"/>
                  </a:lnTo>
                  <a:lnTo>
                    <a:pt x="18745" y="8445"/>
                  </a:lnTo>
                  <a:lnTo>
                    <a:pt x="18912" y="9002"/>
                  </a:lnTo>
                  <a:lnTo>
                    <a:pt x="19079" y="10152"/>
                  </a:lnTo>
                  <a:lnTo>
                    <a:pt x="19097" y="10746"/>
                  </a:lnTo>
                  <a:lnTo>
                    <a:pt x="6254" y="10746"/>
                  </a:lnTo>
                  <a:lnTo>
                    <a:pt x="6329" y="10097"/>
                  </a:lnTo>
                  <a:lnTo>
                    <a:pt x="6663" y="8890"/>
                  </a:lnTo>
                  <a:lnTo>
                    <a:pt x="7201" y="7795"/>
                  </a:lnTo>
                  <a:lnTo>
                    <a:pt x="7962" y="6830"/>
                  </a:lnTo>
                  <a:lnTo>
                    <a:pt x="8426" y="6403"/>
                  </a:lnTo>
                  <a:lnTo>
                    <a:pt x="8927" y="5995"/>
                  </a:lnTo>
                  <a:lnTo>
                    <a:pt x="10003" y="5346"/>
                  </a:lnTo>
                  <a:lnTo>
                    <a:pt x="11210" y="4937"/>
                  </a:lnTo>
                  <a:lnTo>
                    <a:pt x="12509" y="4715"/>
                  </a:lnTo>
                  <a:lnTo>
                    <a:pt x="13195" y="4696"/>
                  </a:lnTo>
                  <a:close/>
                  <a:moveTo>
                    <a:pt x="13251" y="1"/>
                  </a:moveTo>
                  <a:lnTo>
                    <a:pt x="12546" y="19"/>
                  </a:lnTo>
                  <a:lnTo>
                    <a:pt x="11191" y="131"/>
                  </a:lnTo>
                  <a:lnTo>
                    <a:pt x="9873" y="372"/>
                  </a:lnTo>
                  <a:lnTo>
                    <a:pt x="8611" y="743"/>
                  </a:lnTo>
                  <a:lnTo>
                    <a:pt x="8018" y="966"/>
                  </a:lnTo>
                  <a:lnTo>
                    <a:pt x="7405" y="1226"/>
                  </a:lnTo>
                  <a:lnTo>
                    <a:pt x="6273" y="1801"/>
                  </a:lnTo>
                  <a:lnTo>
                    <a:pt x="5234" y="2469"/>
                  </a:lnTo>
                  <a:lnTo>
                    <a:pt x="4269" y="3248"/>
                  </a:lnTo>
                  <a:lnTo>
                    <a:pt x="3805" y="3675"/>
                  </a:lnTo>
                  <a:lnTo>
                    <a:pt x="3378" y="4121"/>
                  </a:lnTo>
                  <a:lnTo>
                    <a:pt x="2580" y="5086"/>
                  </a:lnTo>
                  <a:lnTo>
                    <a:pt x="1875" y="6144"/>
                  </a:lnTo>
                  <a:lnTo>
                    <a:pt x="1281" y="7294"/>
                  </a:lnTo>
                  <a:lnTo>
                    <a:pt x="1021" y="7907"/>
                  </a:lnTo>
                  <a:lnTo>
                    <a:pt x="780" y="8538"/>
                  </a:lnTo>
                  <a:lnTo>
                    <a:pt x="390" y="9837"/>
                  </a:lnTo>
                  <a:lnTo>
                    <a:pt x="130" y="11210"/>
                  </a:lnTo>
                  <a:lnTo>
                    <a:pt x="19" y="12658"/>
                  </a:lnTo>
                  <a:lnTo>
                    <a:pt x="0" y="13400"/>
                  </a:lnTo>
                  <a:lnTo>
                    <a:pt x="19" y="14161"/>
                  </a:lnTo>
                  <a:lnTo>
                    <a:pt x="130" y="15609"/>
                  </a:lnTo>
                  <a:lnTo>
                    <a:pt x="390" y="17000"/>
                  </a:lnTo>
                  <a:lnTo>
                    <a:pt x="780" y="18300"/>
                  </a:lnTo>
                  <a:lnTo>
                    <a:pt x="1021" y="18912"/>
                  </a:lnTo>
                  <a:lnTo>
                    <a:pt x="1281" y="19506"/>
                  </a:lnTo>
                  <a:lnTo>
                    <a:pt x="1893" y="20619"/>
                  </a:lnTo>
                  <a:lnTo>
                    <a:pt x="2598" y="21659"/>
                  </a:lnTo>
                  <a:lnTo>
                    <a:pt x="3396" y="22587"/>
                  </a:lnTo>
                  <a:lnTo>
                    <a:pt x="3842" y="23013"/>
                  </a:lnTo>
                  <a:lnTo>
                    <a:pt x="4287" y="23422"/>
                  </a:lnTo>
                  <a:lnTo>
                    <a:pt x="5271" y="24146"/>
                  </a:lnTo>
                  <a:lnTo>
                    <a:pt x="6329" y="24795"/>
                  </a:lnTo>
                  <a:lnTo>
                    <a:pt x="7479" y="25352"/>
                  </a:lnTo>
                  <a:lnTo>
                    <a:pt x="8092" y="25593"/>
                  </a:lnTo>
                  <a:lnTo>
                    <a:pt x="8704" y="25797"/>
                  </a:lnTo>
                  <a:lnTo>
                    <a:pt x="9985" y="26150"/>
                  </a:lnTo>
                  <a:lnTo>
                    <a:pt x="11340" y="26373"/>
                  </a:lnTo>
                  <a:lnTo>
                    <a:pt x="12731" y="26484"/>
                  </a:lnTo>
                  <a:lnTo>
                    <a:pt x="13455" y="26503"/>
                  </a:lnTo>
                  <a:lnTo>
                    <a:pt x="14216" y="26484"/>
                  </a:lnTo>
                  <a:lnTo>
                    <a:pt x="15682" y="26373"/>
                  </a:lnTo>
                  <a:lnTo>
                    <a:pt x="17074" y="26131"/>
                  </a:lnTo>
                  <a:lnTo>
                    <a:pt x="18373" y="25760"/>
                  </a:lnTo>
                  <a:lnTo>
                    <a:pt x="19598" y="25296"/>
                  </a:lnTo>
                  <a:lnTo>
                    <a:pt x="20730" y="24684"/>
                  </a:lnTo>
                  <a:lnTo>
                    <a:pt x="21788" y="23960"/>
                  </a:lnTo>
                  <a:lnTo>
                    <a:pt x="22772" y="23125"/>
                  </a:lnTo>
                  <a:lnTo>
                    <a:pt x="23236" y="22661"/>
                  </a:lnTo>
                  <a:lnTo>
                    <a:pt x="23421" y="22420"/>
                  </a:lnTo>
                  <a:lnTo>
                    <a:pt x="23607" y="21863"/>
                  </a:lnTo>
                  <a:lnTo>
                    <a:pt x="23551" y="21288"/>
                  </a:lnTo>
                  <a:lnTo>
                    <a:pt x="23273" y="20768"/>
                  </a:lnTo>
                  <a:lnTo>
                    <a:pt x="23050" y="20564"/>
                  </a:lnTo>
                  <a:lnTo>
                    <a:pt x="21139" y="19042"/>
                  </a:lnTo>
                  <a:lnTo>
                    <a:pt x="20916" y="18875"/>
                  </a:lnTo>
                  <a:lnTo>
                    <a:pt x="20415" y="18726"/>
                  </a:lnTo>
                  <a:lnTo>
                    <a:pt x="19914" y="18745"/>
                  </a:lnTo>
                  <a:lnTo>
                    <a:pt x="19431" y="18949"/>
                  </a:lnTo>
                  <a:lnTo>
                    <a:pt x="19227" y="19135"/>
                  </a:lnTo>
                  <a:lnTo>
                    <a:pt x="18819" y="19543"/>
                  </a:lnTo>
                  <a:lnTo>
                    <a:pt x="17891" y="20230"/>
                  </a:lnTo>
                  <a:lnTo>
                    <a:pt x="17371" y="20527"/>
                  </a:lnTo>
                  <a:lnTo>
                    <a:pt x="16963" y="20731"/>
                  </a:lnTo>
                  <a:lnTo>
                    <a:pt x="16053" y="21046"/>
                  </a:lnTo>
                  <a:lnTo>
                    <a:pt x="15070" y="21269"/>
                  </a:lnTo>
                  <a:lnTo>
                    <a:pt x="13993" y="21380"/>
                  </a:lnTo>
                  <a:lnTo>
                    <a:pt x="13400" y="21380"/>
                  </a:lnTo>
                  <a:lnTo>
                    <a:pt x="12731" y="21362"/>
                  </a:lnTo>
                  <a:lnTo>
                    <a:pt x="11432" y="21120"/>
                  </a:lnTo>
                  <a:lnTo>
                    <a:pt x="10801" y="20916"/>
                  </a:lnTo>
                  <a:lnTo>
                    <a:pt x="10189" y="20657"/>
                  </a:lnTo>
                  <a:lnTo>
                    <a:pt x="9057" y="20026"/>
                  </a:lnTo>
                  <a:lnTo>
                    <a:pt x="8556" y="19636"/>
                  </a:lnTo>
                  <a:lnTo>
                    <a:pt x="8073" y="19209"/>
                  </a:lnTo>
                  <a:lnTo>
                    <a:pt x="7275" y="18244"/>
                  </a:lnTo>
                  <a:lnTo>
                    <a:pt x="6960" y="17706"/>
                  </a:lnTo>
                  <a:lnTo>
                    <a:pt x="6681" y="17130"/>
                  </a:lnTo>
                  <a:lnTo>
                    <a:pt x="6329" y="15905"/>
                  </a:lnTo>
                  <a:lnTo>
                    <a:pt x="6254" y="15237"/>
                  </a:lnTo>
                  <a:lnTo>
                    <a:pt x="23904" y="15237"/>
                  </a:lnTo>
                  <a:lnTo>
                    <a:pt x="24201" y="15200"/>
                  </a:lnTo>
                  <a:lnTo>
                    <a:pt x="24702" y="14996"/>
                  </a:lnTo>
                  <a:lnTo>
                    <a:pt x="25110" y="14606"/>
                  </a:lnTo>
                  <a:lnTo>
                    <a:pt x="25333" y="14087"/>
                  </a:lnTo>
                  <a:lnTo>
                    <a:pt x="25351" y="13790"/>
                  </a:lnTo>
                  <a:lnTo>
                    <a:pt x="25351" y="13567"/>
                  </a:lnTo>
                  <a:lnTo>
                    <a:pt x="25333" y="12713"/>
                  </a:lnTo>
                  <a:lnTo>
                    <a:pt x="25222" y="11136"/>
                  </a:lnTo>
                  <a:lnTo>
                    <a:pt x="24999" y="9651"/>
                  </a:lnTo>
                  <a:lnTo>
                    <a:pt x="24665" y="8278"/>
                  </a:lnTo>
                  <a:lnTo>
                    <a:pt x="24442" y="7647"/>
                  </a:lnTo>
                  <a:lnTo>
                    <a:pt x="24201" y="7016"/>
                  </a:lnTo>
                  <a:lnTo>
                    <a:pt x="23663" y="5847"/>
                  </a:lnTo>
                  <a:lnTo>
                    <a:pt x="23032" y="4807"/>
                  </a:lnTo>
                  <a:lnTo>
                    <a:pt x="22308" y="3842"/>
                  </a:lnTo>
                  <a:lnTo>
                    <a:pt x="21900" y="3415"/>
                  </a:lnTo>
                  <a:lnTo>
                    <a:pt x="21918" y="3415"/>
                  </a:lnTo>
                  <a:lnTo>
                    <a:pt x="21491" y="3007"/>
                  </a:lnTo>
                  <a:lnTo>
                    <a:pt x="20619" y="2265"/>
                  </a:lnTo>
                  <a:lnTo>
                    <a:pt x="19654" y="1615"/>
                  </a:lnTo>
                  <a:lnTo>
                    <a:pt x="18633" y="1096"/>
                  </a:lnTo>
                  <a:lnTo>
                    <a:pt x="18076" y="873"/>
                  </a:lnTo>
                  <a:lnTo>
                    <a:pt x="17520" y="650"/>
                  </a:lnTo>
                  <a:lnTo>
                    <a:pt x="16369" y="335"/>
                  </a:lnTo>
                  <a:lnTo>
                    <a:pt x="15163" y="112"/>
                  </a:lnTo>
                  <a:lnTo>
                    <a:pt x="13901" y="19"/>
                  </a:lnTo>
                  <a:lnTo>
                    <a:pt x="13251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" name="Google Shape;443;p26"/>
            <p:cNvSpPr/>
            <p:nvPr/>
          </p:nvSpPr>
          <p:spPr>
            <a:xfrm>
              <a:off x="237650" y="2349675"/>
              <a:ext cx="1219800" cy="1015625"/>
            </a:xfrm>
            <a:custGeom>
              <a:avLst/>
              <a:gdLst/>
              <a:ahLst/>
              <a:cxnLst/>
              <a:rect l="l" t="t" r="r" b="b"/>
              <a:pathLst>
                <a:path w="48792" h="40625" extrusionOk="0">
                  <a:moveTo>
                    <a:pt x="11915" y="0"/>
                  </a:moveTo>
                  <a:lnTo>
                    <a:pt x="10746" y="93"/>
                  </a:lnTo>
                  <a:lnTo>
                    <a:pt x="9614" y="297"/>
                  </a:lnTo>
                  <a:lnTo>
                    <a:pt x="8500" y="612"/>
                  </a:lnTo>
                  <a:lnTo>
                    <a:pt x="7443" y="1039"/>
                  </a:lnTo>
                  <a:lnTo>
                    <a:pt x="6422" y="1559"/>
                  </a:lnTo>
                  <a:lnTo>
                    <a:pt x="5457" y="2171"/>
                  </a:lnTo>
                  <a:lnTo>
                    <a:pt x="4547" y="2858"/>
                  </a:lnTo>
                  <a:lnTo>
                    <a:pt x="3712" y="3638"/>
                  </a:lnTo>
                  <a:lnTo>
                    <a:pt x="2933" y="4491"/>
                  </a:lnTo>
                  <a:lnTo>
                    <a:pt x="2246" y="5419"/>
                  </a:lnTo>
                  <a:lnTo>
                    <a:pt x="1634" y="6403"/>
                  </a:lnTo>
                  <a:lnTo>
                    <a:pt x="1114" y="7442"/>
                  </a:lnTo>
                  <a:lnTo>
                    <a:pt x="687" y="8556"/>
                  </a:lnTo>
                  <a:lnTo>
                    <a:pt x="372" y="9688"/>
                  </a:lnTo>
                  <a:lnTo>
                    <a:pt x="149" y="10875"/>
                  </a:lnTo>
                  <a:lnTo>
                    <a:pt x="75" y="11488"/>
                  </a:lnTo>
                  <a:lnTo>
                    <a:pt x="0" y="12583"/>
                  </a:lnTo>
                  <a:lnTo>
                    <a:pt x="130" y="14736"/>
                  </a:lnTo>
                  <a:lnTo>
                    <a:pt x="539" y="16870"/>
                  </a:lnTo>
                  <a:lnTo>
                    <a:pt x="1225" y="18967"/>
                  </a:lnTo>
                  <a:lnTo>
                    <a:pt x="2116" y="21008"/>
                  </a:lnTo>
                  <a:lnTo>
                    <a:pt x="3230" y="23013"/>
                  </a:lnTo>
                  <a:lnTo>
                    <a:pt x="4510" y="24961"/>
                  </a:lnTo>
                  <a:lnTo>
                    <a:pt x="5921" y="26836"/>
                  </a:lnTo>
                  <a:lnTo>
                    <a:pt x="7461" y="28636"/>
                  </a:lnTo>
                  <a:lnTo>
                    <a:pt x="9076" y="30362"/>
                  </a:lnTo>
                  <a:lnTo>
                    <a:pt x="11600" y="32793"/>
                  </a:lnTo>
                  <a:lnTo>
                    <a:pt x="14996" y="35688"/>
                  </a:lnTo>
                  <a:lnTo>
                    <a:pt x="18188" y="38120"/>
                  </a:lnTo>
                  <a:lnTo>
                    <a:pt x="19617" y="39140"/>
                  </a:lnTo>
                  <a:lnTo>
                    <a:pt x="20155" y="39493"/>
                  </a:lnTo>
                  <a:lnTo>
                    <a:pt x="21325" y="40050"/>
                  </a:lnTo>
                  <a:lnTo>
                    <a:pt x="22531" y="40439"/>
                  </a:lnTo>
                  <a:lnTo>
                    <a:pt x="23774" y="40625"/>
                  </a:lnTo>
                  <a:lnTo>
                    <a:pt x="25036" y="40625"/>
                  </a:lnTo>
                  <a:lnTo>
                    <a:pt x="26280" y="40439"/>
                  </a:lnTo>
                  <a:lnTo>
                    <a:pt x="27486" y="40050"/>
                  </a:lnTo>
                  <a:lnTo>
                    <a:pt x="28637" y="39493"/>
                  </a:lnTo>
                  <a:lnTo>
                    <a:pt x="29193" y="39140"/>
                  </a:lnTo>
                  <a:lnTo>
                    <a:pt x="30567" y="38157"/>
                  </a:lnTo>
                  <a:lnTo>
                    <a:pt x="33648" y="35818"/>
                  </a:lnTo>
                  <a:lnTo>
                    <a:pt x="36914" y="33053"/>
                  </a:lnTo>
                  <a:lnTo>
                    <a:pt x="39364" y="30733"/>
                  </a:lnTo>
                  <a:lnTo>
                    <a:pt x="40941" y="29081"/>
                  </a:lnTo>
                  <a:lnTo>
                    <a:pt x="42444" y="27356"/>
                  </a:lnTo>
                  <a:lnTo>
                    <a:pt x="43855" y="25555"/>
                  </a:lnTo>
                  <a:lnTo>
                    <a:pt x="45135" y="23699"/>
                  </a:lnTo>
                  <a:lnTo>
                    <a:pt x="46268" y="21788"/>
                  </a:lnTo>
                  <a:lnTo>
                    <a:pt x="47233" y="19839"/>
                  </a:lnTo>
                  <a:lnTo>
                    <a:pt x="47994" y="17835"/>
                  </a:lnTo>
                  <a:lnTo>
                    <a:pt x="48513" y="15793"/>
                  </a:lnTo>
                  <a:lnTo>
                    <a:pt x="48773" y="13715"/>
                  </a:lnTo>
                  <a:lnTo>
                    <a:pt x="48792" y="12676"/>
                  </a:lnTo>
                  <a:lnTo>
                    <a:pt x="48773" y="12082"/>
                  </a:lnTo>
                  <a:lnTo>
                    <a:pt x="48736" y="11488"/>
                  </a:lnTo>
                  <a:lnTo>
                    <a:pt x="48662" y="10820"/>
                  </a:lnTo>
                  <a:lnTo>
                    <a:pt x="48272" y="9224"/>
                  </a:lnTo>
                  <a:lnTo>
                    <a:pt x="47845" y="8017"/>
                  </a:lnTo>
                  <a:lnTo>
                    <a:pt x="47270" y="6830"/>
                  </a:lnTo>
                  <a:lnTo>
                    <a:pt x="46509" y="5753"/>
                  </a:lnTo>
                  <a:lnTo>
                    <a:pt x="45785" y="5104"/>
                  </a:lnTo>
                  <a:lnTo>
                    <a:pt x="45247" y="4788"/>
                  </a:lnTo>
                  <a:lnTo>
                    <a:pt x="44653" y="4547"/>
                  </a:lnTo>
                  <a:lnTo>
                    <a:pt x="44003" y="4417"/>
                  </a:lnTo>
                  <a:lnTo>
                    <a:pt x="43242" y="4417"/>
                  </a:lnTo>
                  <a:lnTo>
                    <a:pt x="42444" y="4565"/>
                  </a:lnTo>
                  <a:lnTo>
                    <a:pt x="41684" y="4881"/>
                  </a:lnTo>
                  <a:lnTo>
                    <a:pt x="40997" y="5345"/>
                  </a:lnTo>
                  <a:lnTo>
                    <a:pt x="40681" y="5642"/>
                  </a:lnTo>
                  <a:lnTo>
                    <a:pt x="27616" y="18707"/>
                  </a:lnTo>
                  <a:lnTo>
                    <a:pt x="27393" y="18930"/>
                  </a:lnTo>
                  <a:lnTo>
                    <a:pt x="27059" y="19450"/>
                  </a:lnTo>
                  <a:lnTo>
                    <a:pt x="26836" y="20006"/>
                  </a:lnTo>
                  <a:lnTo>
                    <a:pt x="26725" y="20582"/>
                  </a:lnTo>
                  <a:lnTo>
                    <a:pt x="26725" y="21175"/>
                  </a:lnTo>
                  <a:lnTo>
                    <a:pt x="26836" y="21751"/>
                  </a:lnTo>
                  <a:lnTo>
                    <a:pt x="27059" y="22308"/>
                  </a:lnTo>
                  <a:lnTo>
                    <a:pt x="27393" y="22809"/>
                  </a:lnTo>
                  <a:lnTo>
                    <a:pt x="27616" y="23050"/>
                  </a:lnTo>
                  <a:lnTo>
                    <a:pt x="27839" y="23254"/>
                  </a:lnTo>
                  <a:lnTo>
                    <a:pt x="28358" y="23607"/>
                  </a:lnTo>
                  <a:lnTo>
                    <a:pt x="28915" y="23829"/>
                  </a:lnTo>
                  <a:lnTo>
                    <a:pt x="29490" y="23941"/>
                  </a:lnTo>
                  <a:lnTo>
                    <a:pt x="30084" y="23941"/>
                  </a:lnTo>
                  <a:lnTo>
                    <a:pt x="30660" y="23829"/>
                  </a:lnTo>
                  <a:lnTo>
                    <a:pt x="31216" y="23607"/>
                  </a:lnTo>
                  <a:lnTo>
                    <a:pt x="31717" y="23254"/>
                  </a:lnTo>
                  <a:lnTo>
                    <a:pt x="31959" y="23050"/>
                  </a:lnTo>
                  <a:lnTo>
                    <a:pt x="43075" y="11933"/>
                  </a:lnTo>
                  <a:lnTo>
                    <a:pt x="43168" y="11840"/>
                  </a:lnTo>
                  <a:lnTo>
                    <a:pt x="43410" y="11748"/>
                  </a:lnTo>
                  <a:lnTo>
                    <a:pt x="43651" y="11748"/>
                  </a:lnTo>
                  <a:lnTo>
                    <a:pt x="43873" y="11840"/>
                  </a:lnTo>
                  <a:lnTo>
                    <a:pt x="43966" y="11933"/>
                  </a:lnTo>
                  <a:lnTo>
                    <a:pt x="44727" y="12694"/>
                  </a:lnTo>
                  <a:lnTo>
                    <a:pt x="44820" y="12787"/>
                  </a:lnTo>
                  <a:lnTo>
                    <a:pt x="44913" y="13010"/>
                  </a:lnTo>
                  <a:lnTo>
                    <a:pt x="44913" y="13269"/>
                  </a:lnTo>
                  <a:lnTo>
                    <a:pt x="44820" y="13492"/>
                  </a:lnTo>
                  <a:lnTo>
                    <a:pt x="44727" y="13585"/>
                  </a:lnTo>
                  <a:lnTo>
                    <a:pt x="33703" y="24627"/>
                  </a:lnTo>
                  <a:lnTo>
                    <a:pt x="33314" y="24999"/>
                  </a:lnTo>
                  <a:lnTo>
                    <a:pt x="32441" y="25592"/>
                  </a:lnTo>
                  <a:lnTo>
                    <a:pt x="31476" y="26019"/>
                  </a:lnTo>
                  <a:lnTo>
                    <a:pt x="30455" y="26261"/>
                  </a:lnTo>
                  <a:lnTo>
                    <a:pt x="29936" y="26298"/>
                  </a:lnTo>
                  <a:lnTo>
                    <a:pt x="29360" y="26298"/>
                  </a:lnTo>
                  <a:lnTo>
                    <a:pt x="28247" y="26094"/>
                  </a:lnTo>
                  <a:lnTo>
                    <a:pt x="27208" y="25667"/>
                  </a:lnTo>
                  <a:lnTo>
                    <a:pt x="26280" y="25017"/>
                  </a:lnTo>
                  <a:lnTo>
                    <a:pt x="25871" y="24627"/>
                  </a:lnTo>
                  <a:lnTo>
                    <a:pt x="25500" y="24201"/>
                  </a:lnTo>
                  <a:lnTo>
                    <a:pt x="24925" y="23291"/>
                  </a:lnTo>
                  <a:lnTo>
                    <a:pt x="24572" y="22326"/>
                  </a:lnTo>
                  <a:lnTo>
                    <a:pt x="24405" y="21287"/>
                  </a:lnTo>
                  <a:lnTo>
                    <a:pt x="24424" y="20248"/>
                  </a:lnTo>
                  <a:lnTo>
                    <a:pt x="24647" y="19227"/>
                  </a:lnTo>
                  <a:lnTo>
                    <a:pt x="25055" y="18262"/>
                  </a:lnTo>
                  <a:lnTo>
                    <a:pt x="25649" y="17352"/>
                  </a:lnTo>
                  <a:lnTo>
                    <a:pt x="26038" y="16963"/>
                  </a:lnTo>
                  <a:lnTo>
                    <a:pt x="33351" y="9651"/>
                  </a:lnTo>
                  <a:lnTo>
                    <a:pt x="39011" y="3972"/>
                  </a:lnTo>
                  <a:lnTo>
                    <a:pt x="39456" y="3563"/>
                  </a:lnTo>
                  <a:lnTo>
                    <a:pt x="40422" y="2895"/>
                  </a:lnTo>
                  <a:lnTo>
                    <a:pt x="41479" y="2413"/>
                  </a:lnTo>
                  <a:lnTo>
                    <a:pt x="42611" y="2134"/>
                  </a:lnTo>
                  <a:lnTo>
                    <a:pt x="43205" y="2079"/>
                  </a:lnTo>
                  <a:lnTo>
                    <a:pt x="42444" y="1577"/>
                  </a:lnTo>
                  <a:lnTo>
                    <a:pt x="40811" y="798"/>
                  </a:lnTo>
                  <a:lnTo>
                    <a:pt x="39067" y="260"/>
                  </a:lnTo>
                  <a:lnTo>
                    <a:pt x="37229" y="0"/>
                  </a:lnTo>
                  <a:lnTo>
                    <a:pt x="36283" y="0"/>
                  </a:lnTo>
                  <a:lnTo>
                    <a:pt x="35299" y="56"/>
                  </a:lnTo>
                  <a:lnTo>
                    <a:pt x="33425" y="371"/>
                  </a:lnTo>
                  <a:lnTo>
                    <a:pt x="31643" y="965"/>
                  </a:lnTo>
                  <a:lnTo>
                    <a:pt x="29991" y="1819"/>
                  </a:lnTo>
                  <a:lnTo>
                    <a:pt x="28507" y="2877"/>
                  </a:lnTo>
                  <a:lnTo>
                    <a:pt x="27171" y="4157"/>
                  </a:lnTo>
                  <a:lnTo>
                    <a:pt x="26057" y="5623"/>
                  </a:lnTo>
                  <a:lnTo>
                    <a:pt x="25129" y="7256"/>
                  </a:lnTo>
                  <a:lnTo>
                    <a:pt x="24776" y="8147"/>
                  </a:lnTo>
                  <a:lnTo>
                    <a:pt x="24721" y="8259"/>
                  </a:lnTo>
                  <a:lnTo>
                    <a:pt x="24517" y="8389"/>
                  </a:lnTo>
                  <a:lnTo>
                    <a:pt x="24294" y="8389"/>
                  </a:lnTo>
                  <a:lnTo>
                    <a:pt x="24090" y="8259"/>
                  </a:lnTo>
                  <a:lnTo>
                    <a:pt x="24034" y="8147"/>
                  </a:lnTo>
                  <a:lnTo>
                    <a:pt x="23663" y="7256"/>
                  </a:lnTo>
                  <a:lnTo>
                    <a:pt x="22754" y="5623"/>
                  </a:lnTo>
                  <a:lnTo>
                    <a:pt x="21640" y="4157"/>
                  </a:lnTo>
                  <a:lnTo>
                    <a:pt x="20304" y="2877"/>
                  </a:lnTo>
                  <a:lnTo>
                    <a:pt x="18819" y="1819"/>
                  </a:lnTo>
                  <a:lnTo>
                    <a:pt x="17167" y="965"/>
                  </a:lnTo>
                  <a:lnTo>
                    <a:pt x="15386" y="371"/>
                  </a:lnTo>
                  <a:lnTo>
                    <a:pt x="13493" y="56"/>
                  </a:lnTo>
                  <a:lnTo>
                    <a:pt x="12528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22257970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Cream">
  <p:cSld name="Blank Cream">
    <p:bg>
      <p:bgPr>
        <a:solidFill>
          <a:schemeClr val="lt2"/>
        </a:solidFill>
        <a:effectLst/>
      </p:bgPr>
    </p:bg>
    <p:spTree>
      <p:nvGrpSpPr>
        <p:cNvPr id="1" name="Shape 4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5" name="Google Shape;445;p27"/>
          <p:cNvSpPr txBox="1">
            <a:spLocks noGrp="1"/>
          </p:cNvSpPr>
          <p:nvPr>
            <p:ph type="sldNum" idx="12"/>
          </p:nvPr>
        </p:nvSpPr>
        <p:spPr>
          <a:xfrm>
            <a:off x="11044810" y="6091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2pPr>
            <a:lvl3pPr lvl="2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3pPr>
            <a:lvl4pPr lvl="3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4pPr>
            <a:lvl5pPr lvl="4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5pPr>
            <a:lvl6pPr lvl="5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6pPr>
            <a:lvl7pPr lvl="6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7pPr>
            <a:lvl8pPr lvl="7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8pPr>
            <a:lvl9pPr lvl="8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6857504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Cream _ logo">
  <p:cSld name="Blank Cream _ logo">
    <p:bg>
      <p:bgPr>
        <a:solidFill>
          <a:schemeClr val="lt2"/>
        </a:solidFill>
        <a:effectLst/>
      </p:bgPr>
    </p:bg>
    <p:spTree>
      <p:nvGrpSpPr>
        <p:cNvPr id="1" name="Shape 4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7" name="Google Shape;447;p28"/>
          <p:cNvSpPr txBox="1">
            <a:spLocks noGrp="1"/>
          </p:cNvSpPr>
          <p:nvPr>
            <p:ph type="sldNum" idx="12"/>
          </p:nvPr>
        </p:nvSpPr>
        <p:spPr>
          <a:xfrm>
            <a:off x="11044810" y="6091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2pPr>
            <a:lvl3pPr lvl="2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3pPr>
            <a:lvl4pPr lvl="3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4pPr>
            <a:lvl5pPr lvl="4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5pPr>
            <a:lvl6pPr lvl="5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6pPr>
            <a:lvl7pPr lvl="6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7pPr>
            <a:lvl8pPr lvl="7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8pPr>
            <a:lvl9pPr lvl="8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48" name="Google Shape;448;p28"/>
          <p:cNvSpPr/>
          <p:nvPr/>
        </p:nvSpPr>
        <p:spPr>
          <a:xfrm>
            <a:off x="11525533" y="364133"/>
            <a:ext cx="365273" cy="304371"/>
          </a:xfrm>
          <a:custGeom>
            <a:avLst/>
            <a:gdLst/>
            <a:ahLst/>
            <a:cxnLst/>
            <a:rect l="l" t="t" r="r" b="b"/>
            <a:pathLst>
              <a:path w="251479" h="209550" extrusionOk="0">
                <a:moveTo>
                  <a:pt x="62932" y="0"/>
                </a:moveTo>
                <a:lnTo>
                  <a:pt x="59858" y="78"/>
                </a:lnTo>
                <a:lnTo>
                  <a:pt x="56847" y="326"/>
                </a:lnTo>
                <a:lnTo>
                  <a:pt x="53851" y="714"/>
                </a:lnTo>
                <a:lnTo>
                  <a:pt x="50901" y="1257"/>
                </a:lnTo>
                <a:lnTo>
                  <a:pt x="47998" y="1925"/>
                </a:lnTo>
                <a:lnTo>
                  <a:pt x="45142" y="2748"/>
                </a:lnTo>
                <a:lnTo>
                  <a:pt x="42348" y="3695"/>
                </a:lnTo>
                <a:lnTo>
                  <a:pt x="39600" y="4781"/>
                </a:lnTo>
                <a:lnTo>
                  <a:pt x="36915" y="5992"/>
                </a:lnTo>
                <a:lnTo>
                  <a:pt x="34291" y="7327"/>
                </a:lnTo>
                <a:lnTo>
                  <a:pt x="31730" y="8786"/>
                </a:lnTo>
                <a:lnTo>
                  <a:pt x="29246" y="10354"/>
                </a:lnTo>
                <a:lnTo>
                  <a:pt x="26840" y="12031"/>
                </a:lnTo>
                <a:lnTo>
                  <a:pt x="24511" y="13831"/>
                </a:lnTo>
                <a:lnTo>
                  <a:pt x="22261" y="15741"/>
                </a:lnTo>
                <a:lnTo>
                  <a:pt x="20087" y="17743"/>
                </a:lnTo>
                <a:lnTo>
                  <a:pt x="18023" y="19839"/>
                </a:lnTo>
                <a:lnTo>
                  <a:pt x="16036" y="22043"/>
                </a:lnTo>
                <a:lnTo>
                  <a:pt x="14157" y="24325"/>
                </a:lnTo>
                <a:lnTo>
                  <a:pt x="12372" y="26716"/>
                </a:lnTo>
                <a:lnTo>
                  <a:pt x="10696" y="29168"/>
                </a:lnTo>
                <a:lnTo>
                  <a:pt x="9112" y="31714"/>
                </a:lnTo>
                <a:lnTo>
                  <a:pt x="7653" y="34338"/>
                </a:lnTo>
                <a:lnTo>
                  <a:pt x="6318" y="37039"/>
                </a:lnTo>
                <a:lnTo>
                  <a:pt x="5092" y="39802"/>
                </a:lnTo>
                <a:lnTo>
                  <a:pt x="3990" y="42643"/>
                </a:lnTo>
                <a:lnTo>
                  <a:pt x="3012" y="45546"/>
                </a:lnTo>
                <a:lnTo>
                  <a:pt x="2173" y="48495"/>
                </a:lnTo>
                <a:lnTo>
                  <a:pt x="1459" y="51507"/>
                </a:lnTo>
                <a:lnTo>
                  <a:pt x="885" y="54580"/>
                </a:lnTo>
                <a:lnTo>
                  <a:pt x="450" y="57700"/>
                </a:lnTo>
                <a:lnTo>
                  <a:pt x="310" y="59268"/>
                </a:lnTo>
                <a:lnTo>
                  <a:pt x="186" y="60665"/>
                </a:lnTo>
                <a:lnTo>
                  <a:pt x="31" y="63475"/>
                </a:lnTo>
                <a:lnTo>
                  <a:pt x="0" y="66269"/>
                </a:lnTo>
                <a:lnTo>
                  <a:pt x="62" y="69063"/>
                </a:lnTo>
                <a:lnTo>
                  <a:pt x="217" y="71842"/>
                </a:lnTo>
                <a:lnTo>
                  <a:pt x="466" y="74605"/>
                </a:lnTo>
                <a:lnTo>
                  <a:pt x="823" y="77368"/>
                </a:lnTo>
                <a:lnTo>
                  <a:pt x="1257" y="80132"/>
                </a:lnTo>
                <a:lnTo>
                  <a:pt x="1801" y="82864"/>
                </a:lnTo>
                <a:lnTo>
                  <a:pt x="2422" y="85611"/>
                </a:lnTo>
                <a:lnTo>
                  <a:pt x="3120" y="88328"/>
                </a:lnTo>
                <a:lnTo>
                  <a:pt x="3912" y="91045"/>
                </a:lnTo>
                <a:lnTo>
                  <a:pt x="4781" y="93730"/>
                </a:lnTo>
                <a:lnTo>
                  <a:pt x="5728" y="96416"/>
                </a:lnTo>
                <a:lnTo>
                  <a:pt x="7280" y="100436"/>
                </a:lnTo>
                <a:lnTo>
                  <a:pt x="9609" y="105714"/>
                </a:lnTo>
                <a:lnTo>
                  <a:pt x="12201" y="110946"/>
                </a:lnTo>
                <a:lnTo>
                  <a:pt x="15058" y="116099"/>
                </a:lnTo>
                <a:lnTo>
                  <a:pt x="18147" y="121191"/>
                </a:lnTo>
                <a:lnTo>
                  <a:pt x="21438" y="126205"/>
                </a:lnTo>
                <a:lnTo>
                  <a:pt x="24931" y="131126"/>
                </a:lnTo>
                <a:lnTo>
                  <a:pt x="28594" y="135969"/>
                </a:lnTo>
                <a:lnTo>
                  <a:pt x="32413" y="140719"/>
                </a:lnTo>
                <a:lnTo>
                  <a:pt x="36371" y="145392"/>
                </a:lnTo>
                <a:lnTo>
                  <a:pt x="40454" y="149940"/>
                </a:lnTo>
                <a:lnTo>
                  <a:pt x="44630" y="154395"/>
                </a:lnTo>
                <a:lnTo>
                  <a:pt x="48883" y="158742"/>
                </a:lnTo>
                <a:lnTo>
                  <a:pt x="53199" y="162964"/>
                </a:lnTo>
                <a:lnTo>
                  <a:pt x="57545" y="167078"/>
                </a:lnTo>
                <a:lnTo>
                  <a:pt x="61938" y="171068"/>
                </a:lnTo>
                <a:lnTo>
                  <a:pt x="66316" y="174917"/>
                </a:lnTo>
                <a:lnTo>
                  <a:pt x="70678" y="178643"/>
                </a:lnTo>
                <a:lnTo>
                  <a:pt x="75024" y="182229"/>
                </a:lnTo>
                <a:lnTo>
                  <a:pt x="81420" y="187352"/>
                </a:lnTo>
                <a:lnTo>
                  <a:pt x="89663" y="193639"/>
                </a:lnTo>
                <a:lnTo>
                  <a:pt x="97425" y="199274"/>
                </a:lnTo>
                <a:lnTo>
                  <a:pt x="101057" y="201819"/>
                </a:lnTo>
                <a:lnTo>
                  <a:pt x="102454" y="202766"/>
                </a:lnTo>
                <a:lnTo>
                  <a:pt x="105342" y="204458"/>
                </a:lnTo>
                <a:lnTo>
                  <a:pt x="108338" y="205918"/>
                </a:lnTo>
                <a:lnTo>
                  <a:pt x="111396" y="207128"/>
                </a:lnTo>
                <a:lnTo>
                  <a:pt x="114516" y="208091"/>
                </a:lnTo>
                <a:lnTo>
                  <a:pt x="117683" y="208820"/>
                </a:lnTo>
                <a:lnTo>
                  <a:pt x="120896" y="209302"/>
                </a:lnTo>
                <a:lnTo>
                  <a:pt x="124125" y="209550"/>
                </a:lnTo>
                <a:lnTo>
                  <a:pt x="127354" y="209550"/>
                </a:lnTo>
                <a:lnTo>
                  <a:pt x="130583" y="209302"/>
                </a:lnTo>
                <a:lnTo>
                  <a:pt x="133796" y="208820"/>
                </a:lnTo>
                <a:lnTo>
                  <a:pt x="136963" y="208091"/>
                </a:lnTo>
                <a:lnTo>
                  <a:pt x="140098" y="207128"/>
                </a:lnTo>
                <a:lnTo>
                  <a:pt x="143156" y="205918"/>
                </a:lnTo>
                <a:lnTo>
                  <a:pt x="146137" y="204458"/>
                </a:lnTo>
                <a:lnTo>
                  <a:pt x="149024" y="202766"/>
                </a:lnTo>
                <a:lnTo>
                  <a:pt x="150421" y="201819"/>
                </a:lnTo>
                <a:lnTo>
                  <a:pt x="154038" y="199289"/>
                </a:lnTo>
                <a:lnTo>
                  <a:pt x="161769" y="193670"/>
                </a:lnTo>
                <a:lnTo>
                  <a:pt x="169981" y="187414"/>
                </a:lnTo>
                <a:lnTo>
                  <a:pt x="176361" y="182306"/>
                </a:lnTo>
                <a:lnTo>
                  <a:pt x="180676" y="178736"/>
                </a:lnTo>
                <a:lnTo>
                  <a:pt x="185023" y="175042"/>
                </a:lnTo>
                <a:lnTo>
                  <a:pt x="189385" y="171192"/>
                </a:lnTo>
                <a:lnTo>
                  <a:pt x="193763" y="167233"/>
                </a:lnTo>
                <a:lnTo>
                  <a:pt x="198094" y="163151"/>
                </a:lnTo>
                <a:lnTo>
                  <a:pt x="202394" y="158944"/>
                </a:lnTo>
                <a:lnTo>
                  <a:pt x="206647" y="154613"/>
                </a:lnTo>
                <a:lnTo>
                  <a:pt x="210807" y="150189"/>
                </a:lnTo>
                <a:lnTo>
                  <a:pt x="214874" y="145656"/>
                </a:lnTo>
                <a:lnTo>
                  <a:pt x="218817" y="141014"/>
                </a:lnTo>
                <a:lnTo>
                  <a:pt x="222636" y="136280"/>
                </a:lnTo>
                <a:lnTo>
                  <a:pt x="226300" y="131467"/>
                </a:lnTo>
                <a:lnTo>
                  <a:pt x="229792" y="126562"/>
                </a:lnTo>
                <a:lnTo>
                  <a:pt x="233083" y="121579"/>
                </a:lnTo>
                <a:lnTo>
                  <a:pt x="236173" y="116518"/>
                </a:lnTo>
                <a:lnTo>
                  <a:pt x="239044" y="111380"/>
                </a:lnTo>
                <a:lnTo>
                  <a:pt x="241652" y="106180"/>
                </a:lnTo>
                <a:lnTo>
                  <a:pt x="243996" y="100917"/>
                </a:lnTo>
                <a:lnTo>
                  <a:pt x="245564" y="96928"/>
                </a:lnTo>
                <a:lnTo>
                  <a:pt x="246527" y="94258"/>
                </a:lnTo>
                <a:lnTo>
                  <a:pt x="247396" y="91572"/>
                </a:lnTo>
                <a:lnTo>
                  <a:pt x="248203" y="88871"/>
                </a:lnTo>
                <a:lnTo>
                  <a:pt x="248917" y="86155"/>
                </a:lnTo>
                <a:lnTo>
                  <a:pt x="249554" y="83438"/>
                </a:lnTo>
                <a:lnTo>
                  <a:pt x="250112" y="80706"/>
                </a:lnTo>
                <a:lnTo>
                  <a:pt x="250563" y="77958"/>
                </a:lnTo>
                <a:lnTo>
                  <a:pt x="250935" y="75211"/>
                </a:lnTo>
                <a:lnTo>
                  <a:pt x="251215" y="72448"/>
                </a:lnTo>
                <a:lnTo>
                  <a:pt x="251385" y="69684"/>
                </a:lnTo>
                <a:lnTo>
                  <a:pt x="251479" y="66906"/>
                </a:lnTo>
                <a:lnTo>
                  <a:pt x="251463" y="64127"/>
                </a:lnTo>
                <a:lnTo>
                  <a:pt x="251339" y="61333"/>
                </a:lnTo>
                <a:lnTo>
                  <a:pt x="251230" y="59936"/>
                </a:lnTo>
                <a:lnTo>
                  <a:pt x="251199" y="59610"/>
                </a:lnTo>
                <a:lnTo>
                  <a:pt x="251184" y="59268"/>
                </a:lnTo>
                <a:lnTo>
                  <a:pt x="250966" y="57235"/>
                </a:lnTo>
                <a:lnTo>
                  <a:pt x="250361" y="53199"/>
                </a:lnTo>
                <a:lnTo>
                  <a:pt x="249507" y="49256"/>
                </a:lnTo>
                <a:lnTo>
                  <a:pt x="248436" y="45421"/>
                </a:lnTo>
                <a:lnTo>
                  <a:pt x="247132" y="41665"/>
                </a:lnTo>
                <a:lnTo>
                  <a:pt x="245626" y="38032"/>
                </a:lnTo>
                <a:lnTo>
                  <a:pt x="243919" y="34508"/>
                </a:lnTo>
                <a:lnTo>
                  <a:pt x="242009" y="31124"/>
                </a:lnTo>
                <a:lnTo>
                  <a:pt x="240969" y="29479"/>
                </a:lnTo>
                <a:lnTo>
                  <a:pt x="240209" y="28299"/>
                </a:lnTo>
                <a:lnTo>
                  <a:pt x="239401" y="27135"/>
                </a:lnTo>
                <a:lnTo>
                  <a:pt x="238594" y="26110"/>
                </a:lnTo>
                <a:lnTo>
                  <a:pt x="237244" y="24667"/>
                </a:lnTo>
                <a:lnTo>
                  <a:pt x="236281" y="23766"/>
                </a:lnTo>
                <a:lnTo>
                  <a:pt x="235784" y="23332"/>
                </a:lnTo>
                <a:lnTo>
                  <a:pt x="234837" y="22571"/>
                </a:lnTo>
                <a:lnTo>
                  <a:pt x="232882" y="21236"/>
                </a:lnTo>
                <a:lnTo>
                  <a:pt x="230832" y="20134"/>
                </a:lnTo>
                <a:lnTo>
                  <a:pt x="228690" y="19233"/>
                </a:lnTo>
                <a:lnTo>
                  <a:pt x="226517" y="18566"/>
                </a:lnTo>
                <a:lnTo>
                  <a:pt x="224297" y="18116"/>
                </a:lnTo>
                <a:lnTo>
                  <a:pt x="222046" y="17883"/>
                </a:lnTo>
                <a:lnTo>
                  <a:pt x="219795" y="17867"/>
                </a:lnTo>
                <a:lnTo>
                  <a:pt x="217544" y="18069"/>
                </a:lnTo>
                <a:lnTo>
                  <a:pt x="215325" y="18473"/>
                </a:lnTo>
                <a:lnTo>
                  <a:pt x="213167" y="19094"/>
                </a:lnTo>
                <a:lnTo>
                  <a:pt x="211056" y="19916"/>
                </a:lnTo>
                <a:lnTo>
                  <a:pt x="209007" y="20957"/>
                </a:lnTo>
                <a:lnTo>
                  <a:pt x="207082" y="22214"/>
                </a:lnTo>
                <a:lnTo>
                  <a:pt x="205250" y="23658"/>
                </a:lnTo>
                <a:lnTo>
                  <a:pt x="203542" y="25319"/>
                </a:lnTo>
                <a:lnTo>
                  <a:pt x="202751" y="26219"/>
                </a:lnTo>
                <a:lnTo>
                  <a:pt x="185504" y="46787"/>
                </a:lnTo>
                <a:lnTo>
                  <a:pt x="141775" y="98899"/>
                </a:lnTo>
                <a:lnTo>
                  <a:pt x="141232" y="99567"/>
                </a:lnTo>
                <a:lnTo>
                  <a:pt x="140285" y="100964"/>
                </a:lnTo>
                <a:lnTo>
                  <a:pt x="139508" y="102439"/>
                </a:lnTo>
                <a:lnTo>
                  <a:pt x="138903" y="103976"/>
                </a:lnTo>
                <a:lnTo>
                  <a:pt x="138468" y="105543"/>
                </a:lnTo>
                <a:lnTo>
                  <a:pt x="138189" y="107142"/>
                </a:lnTo>
                <a:lnTo>
                  <a:pt x="138065" y="108741"/>
                </a:lnTo>
                <a:lnTo>
                  <a:pt x="138111" y="110356"/>
                </a:lnTo>
                <a:lnTo>
                  <a:pt x="138329" y="111955"/>
                </a:lnTo>
                <a:lnTo>
                  <a:pt x="138701" y="113522"/>
                </a:lnTo>
                <a:lnTo>
                  <a:pt x="139229" y="115044"/>
                </a:lnTo>
                <a:lnTo>
                  <a:pt x="139912" y="116518"/>
                </a:lnTo>
                <a:lnTo>
                  <a:pt x="140750" y="117931"/>
                </a:lnTo>
                <a:lnTo>
                  <a:pt x="141759" y="119266"/>
                </a:lnTo>
                <a:lnTo>
                  <a:pt x="142908" y="120492"/>
                </a:lnTo>
                <a:lnTo>
                  <a:pt x="144212" y="121626"/>
                </a:lnTo>
                <a:lnTo>
                  <a:pt x="144926" y="122138"/>
                </a:lnTo>
                <a:lnTo>
                  <a:pt x="145438" y="122479"/>
                </a:lnTo>
                <a:lnTo>
                  <a:pt x="146494" y="123085"/>
                </a:lnTo>
                <a:lnTo>
                  <a:pt x="147581" y="123613"/>
                </a:lnTo>
                <a:lnTo>
                  <a:pt x="148698" y="124063"/>
                </a:lnTo>
                <a:lnTo>
                  <a:pt x="149863" y="124420"/>
                </a:lnTo>
                <a:lnTo>
                  <a:pt x="151042" y="124684"/>
                </a:lnTo>
                <a:lnTo>
                  <a:pt x="152238" y="124854"/>
                </a:lnTo>
                <a:lnTo>
                  <a:pt x="153448" y="124932"/>
                </a:lnTo>
                <a:lnTo>
                  <a:pt x="154069" y="124932"/>
                </a:lnTo>
                <a:lnTo>
                  <a:pt x="154939" y="124901"/>
                </a:lnTo>
                <a:lnTo>
                  <a:pt x="156662" y="124699"/>
                </a:lnTo>
                <a:lnTo>
                  <a:pt x="158338" y="124311"/>
                </a:lnTo>
                <a:lnTo>
                  <a:pt x="159937" y="123752"/>
                </a:lnTo>
                <a:lnTo>
                  <a:pt x="161459" y="123038"/>
                </a:lnTo>
                <a:lnTo>
                  <a:pt x="162902" y="122153"/>
                </a:lnTo>
                <a:lnTo>
                  <a:pt x="164253" y="121113"/>
                </a:lnTo>
                <a:lnTo>
                  <a:pt x="165495" y="119918"/>
                </a:lnTo>
                <a:lnTo>
                  <a:pt x="166053" y="119266"/>
                </a:lnTo>
                <a:lnTo>
                  <a:pt x="210357" y="66471"/>
                </a:lnTo>
                <a:lnTo>
                  <a:pt x="210668" y="66130"/>
                </a:lnTo>
                <a:lnTo>
                  <a:pt x="211366" y="65586"/>
                </a:lnTo>
                <a:lnTo>
                  <a:pt x="212142" y="65183"/>
                </a:lnTo>
                <a:lnTo>
                  <a:pt x="212965" y="64950"/>
                </a:lnTo>
                <a:lnTo>
                  <a:pt x="213819" y="64872"/>
                </a:lnTo>
                <a:lnTo>
                  <a:pt x="214673" y="64965"/>
                </a:lnTo>
                <a:lnTo>
                  <a:pt x="215495" y="65214"/>
                </a:lnTo>
                <a:lnTo>
                  <a:pt x="216272" y="65633"/>
                </a:lnTo>
                <a:lnTo>
                  <a:pt x="216644" y="65928"/>
                </a:lnTo>
                <a:lnTo>
                  <a:pt x="219252" y="68117"/>
                </a:lnTo>
                <a:lnTo>
                  <a:pt x="219578" y="68412"/>
                </a:lnTo>
                <a:lnTo>
                  <a:pt x="220137" y="69110"/>
                </a:lnTo>
                <a:lnTo>
                  <a:pt x="220525" y="69886"/>
                </a:lnTo>
                <a:lnTo>
                  <a:pt x="220773" y="70709"/>
                </a:lnTo>
                <a:lnTo>
                  <a:pt x="220835" y="71563"/>
                </a:lnTo>
                <a:lnTo>
                  <a:pt x="220758" y="72417"/>
                </a:lnTo>
                <a:lnTo>
                  <a:pt x="220494" y="73239"/>
                </a:lnTo>
                <a:lnTo>
                  <a:pt x="220075" y="74031"/>
                </a:lnTo>
                <a:lnTo>
                  <a:pt x="219795" y="74388"/>
                </a:lnTo>
                <a:lnTo>
                  <a:pt x="175492" y="127183"/>
                </a:lnTo>
                <a:lnTo>
                  <a:pt x="174560" y="128239"/>
                </a:lnTo>
                <a:lnTo>
                  <a:pt x="172573" y="130195"/>
                </a:lnTo>
                <a:lnTo>
                  <a:pt x="170431" y="131918"/>
                </a:lnTo>
                <a:lnTo>
                  <a:pt x="168134" y="133423"/>
                </a:lnTo>
                <a:lnTo>
                  <a:pt x="165696" y="134681"/>
                </a:lnTo>
                <a:lnTo>
                  <a:pt x="163151" y="135705"/>
                </a:lnTo>
                <a:lnTo>
                  <a:pt x="160512" y="136481"/>
                </a:lnTo>
                <a:lnTo>
                  <a:pt x="157764" y="136994"/>
                </a:lnTo>
                <a:lnTo>
                  <a:pt x="156367" y="137133"/>
                </a:lnTo>
                <a:lnTo>
                  <a:pt x="155109" y="137227"/>
                </a:lnTo>
                <a:lnTo>
                  <a:pt x="153868" y="137242"/>
                </a:lnTo>
                <a:lnTo>
                  <a:pt x="152626" y="137227"/>
                </a:lnTo>
                <a:lnTo>
                  <a:pt x="150189" y="137009"/>
                </a:lnTo>
                <a:lnTo>
                  <a:pt x="147782" y="136590"/>
                </a:lnTo>
                <a:lnTo>
                  <a:pt x="145438" y="135954"/>
                </a:lnTo>
                <a:lnTo>
                  <a:pt x="143141" y="135131"/>
                </a:lnTo>
                <a:lnTo>
                  <a:pt x="140937" y="134091"/>
                </a:lnTo>
                <a:lnTo>
                  <a:pt x="138810" y="132865"/>
                </a:lnTo>
                <a:lnTo>
                  <a:pt x="136776" y="131436"/>
                </a:lnTo>
                <a:lnTo>
                  <a:pt x="135814" y="130645"/>
                </a:lnTo>
                <a:lnTo>
                  <a:pt x="135255" y="130179"/>
                </a:lnTo>
                <a:lnTo>
                  <a:pt x="134200" y="129201"/>
                </a:lnTo>
                <a:lnTo>
                  <a:pt x="132725" y="127649"/>
                </a:lnTo>
                <a:lnTo>
                  <a:pt x="130986" y="125460"/>
                </a:lnTo>
                <a:lnTo>
                  <a:pt x="129496" y="123131"/>
                </a:lnTo>
                <a:lnTo>
                  <a:pt x="128254" y="120679"/>
                </a:lnTo>
                <a:lnTo>
                  <a:pt x="127245" y="118148"/>
                </a:lnTo>
                <a:lnTo>
                  <a:pt x="126500" y="115540"/>
                </a:lnTo>
                <a:lnTo>
                  <a:pt x="126019" y="112870"/>
                </a:lnTo>
                <a:lnTo>
                  <a:pt x="125786" y="110185"/>
                </a:lnTo>
                <a:lnTo>
                  <a:pt x="125801" y="107468"/>
                </a:lnTo>
                <a:lnTo>
                  <a:pt x="126081" y="104783"/>
                </a:lnTo>
                <a:lnTo>
                  <a:pt x="126624" y="102113"/>
                </a:lnTo>
                <a:lnTo>
                  <a:pt x="127431" y="99489"/>
                </a:lnTo>
                <a:lnTo>
                  <a:pt x="128487" y="96928"/>
                </a:lnTo>
                <a:lnTo>
                  <a:pt x="129822" y="94460"/>
                </a:lnTo>
                <a:lnTo>
                  <a:pt x="131017" y="92690"/>
                </a:lnTo>
                <a:lnTo>
                  <a:pt x="131887" y="91541"/>
                </a:lnTo>
                <a:lnTo>
                  <a:pt x="132337" y="90967"/>
                </a:lnTo>
                <a:lnTo>
                  <a:pt x="157966" y="60432"/>
                </a:lnTo>
                <a:lnTo>
                  <a:pt x="193312" y="18302"/>
                </a:lnTo>
                <a:lnTo>
                  <a:pt x="193856" y="17681"/>
                </a:lnTo>
                <a:lnTo>
                  <a:pt x="194958" y="16470"/>
                </a:lnTo>
                <a:lnTo>
                  <a:pt x="196697" y="14778"/>
                </a:lnTo>
                <a:lnTo>
                  <a:pt x="199149" y="12745"/>
                </a:lnTo>
                <a:lnTo>
                  <a:pt x="201757" y="10960"/>
                </a:lnTo>
                <a:lnTo>
                  <a:pt x="204474" y="9423"/>
                </a:lnTo>
                <a:lnTo>
                  <a:pt x="207299" y="8134"/>
                </a:lnTo>
                <a:lnTo>
                  <a:pt x="210217" y="7110"/>
                </a:lnTo>
                <a:lnTo>
                  <a:pt x="213198" y="6334"/>
                </a:lnTo>
                <a:lnTo>
                  <a:pt x="214704" y="6054"/>
                </a:lnTo>
                <a:lnTo>
                  <a:pt x="213105" y="5309"/>
                </a:lnTo>
                <a:lnTo>
                  <a:pt x="209860" y="3958"/>
                </a:lnTo>
                <a:lnTo>
                  <a:pt x="206523" y="2810"/>
                </a:lnTo>
                <a:lnTo>
                  <a:pt x="203108" y="1832"/>
                </a:lnTo>
                <a:lnTo>
                  <a:pt x="199630" y="1056"/>
                </a:lnTo>
                <a:lnTo>
                  <a:pt x="196091" y="497"/>
                </a:lnTo>
                <a:lnTo>
                  <a:pt x="192505" y="140"/>
                </a:lnTo>
                <a:lnTo>
                  <a:pt x="188857" y="0"/>
                </a:lnTo>
                <a:lnTo>
                  <a:pt x="187010" y="16"/>
                </a:lnTo>
                <a:lnTo>
                  <a:pt x="185737" y="47"/>
                </a:lnTo>
                <a:lnTo>
                  <a:pt x="183222" y="202"/>
                </a:lnTo>
                <a:lnTo>
                  <a:pt x="180723" y="450"/>
                </a:lnTo>
                <a:lnTo>
                  <a:pt x="178255" y="776"/>
                </a:lnTo>
                <a:lnTo>
                  <a:pt x="175802" y="1195"/>
                </a:lnTo>
                <a:lnTo>
                  <a:pt x="173380" y="1708"/>
                </a:lnTo>
                <a:lnTo>
                  <a:pt x="171005" y="2313"/>
                </a:lnTo>
                <a:lnTo>
                  <a:pt x="168646" y="2996"/>
                </a:lnTo>
                <a:lnTo>
                  <a:pt x="166317" y="3757"/>
                </a:lnTo>
                <a:lnTo>
                  <a:pt x="164035" y="4610"/>
                </a:lnTo>
                <a:lnTo>
                  <a:pt x="161800" y="5542"/>
                </a:lnTo>
                <a:lnTo>
                  <a:pt x="159596" y="6551"/>
                </a:lnTo>
                <a:lnTo>
                  <a:pt x="157422" y="7638"/>
                </a:lnTo>
                <a:lnTo>
                  <a:pt x="155311" y="8786"/>
                </a:lnTo>
                <a:lnTo>
                  <a:pt x="153247" y="10028"/>
                </a:lnTo>
                <a:lnTo>
                  <a:pt x="151213" y="11332"/>
                </a:lnTo>
                <a:lnTo>
                  <a:pt x="149257" y="12714"/>
                </a:lnTo>
                <a:lnTo>
                  <a:pt x="147332" y="14157"/>
                </a:lnTo>
                <a:lnTo>
                  <a:pt x="145469" y="15679"/>
                </a:lnTo>
                <a:lnTo>
                  <a:pt x="143669" y="17262"/>
                </a:lnTo>
                <a:lnTo>
                  <a:pt x="141930" y="18907"/>
                </a:lnTo>
                <a:lnTo>
                  <a:pt x="140254" y="20615"/>
                </a:lnTo>
                <a:lnTo>
                  <a:pt x="138624" y="22385"/>
                </a:lnTo>
                <a:lnTo>
                  <a:pt x="137071" y="24216"/>
                </a:lnTo>
                <a:lnTo>
                  <a:pt x="135597" y="26095"/>
                </a:lnTo>
                <a:lnTo>
                  <a:pt x="134184" y="28035"/>
                </a:lnTo>
                <a:lnTo>
                  <a:pt x="132833" y="30038"/>
                </a:lnTo>
                <a:lnTo>
                  <a:pt x="131561" y="32102"/>
                </a:lnTo>
                <a:lnTo>
                  <a:pt x="130381" y="34198"/>
                </a:lnTo>
                <a:lnTo>
                  <a:pt x="129263" y="36356"/>
                </a:lnTo>
                <a:lnTo>
                  <a:pt x="128223" y="38560"/>
                </a:lnTo>
                <a:lnTo>
                  <a:pt x="127276" y="40826"/>
                </a:lnTo>
                <a:lnTo>
                  <a:pt x="126841" y="41960"/>
                </a:lnTo>
                <a:lnTo>
                  <a:pt x="126717" y="42270"/>
                </a:lnTo>
                <a:lnTo>
                  <a:pt x="126469" y="42720"/>
                </a:lnTo>
                <a:lnTo>
                  <a:pt x="126205" y="42969"/>
                </a:lnTo>
                <a:lnTo>
                  <a:pt x="125910" y="43062"/>
                </a:lnTo>
                <a:lnTo>
                  <a:pt x="125739" y="43077"/>
                </a:lnTo>
                <a:lnTo>
                  <a:pt x="125569" y="43062"/>
                </a:lnTo>
                <a:lnTo>
                  <a:pt x="125274" y="42969"/>
                </a:lnTo>
                <a:lnTo>
                  <a:pt x="125010" y="42720"/>
                </a:lnTo>
                <a:lnTo>
                  <a:pt x="124761" y="42270"/>
                </a:lnTo>
                <a:lnTo>
                  <a:pt x="124637" y="41960"/>
                </a:lnTo>
                <a:lnTo>
                  <a:pt x="124202" y="40826"/>
                </a:lnTo>
                <a:lnTo>
                  <a:pt x="123256" y="38560"/>
                </a:lnTo>
                <a:lnTo>
                  <a:pt x="122215" y="36356"/>
                </a:lnTo>
                <a:lnTo>
                  <a:pt x="121098" y="34198"/>
                </a:lnTo>
                <a:lnTo>
                  <a:pt x="119918" y="32102"/>
                </a:lnTo>
                <a:lnTo>
                  <a:pt x="118645" y="30038"/>
                </a:lnTo>
                <a:lnTo>
                  <a:pt x="117295" y="28035"/>
                </a:lnTo>
                <a:lnTo>
                  <a:pt x="115882" y="26095"/>
                </a:lnTo>
                <a:lnTo>
                  <a:pt x="114407" y="24216"/>
                </a:lnTo>
                <a:lnTo>
                  <a:pt x="112855" y="22385"/>
                </a:lnTo>
                <a:lnTo>
                  <a:pt x="111225" y="20615"/>
                </a:lnTo>
                <a:lnTo>
                  <a:pt x="109548" y="18907"/>
                </a:lnTo>
                <a:lnTo>
                  <a:pt x="107810" y="17262"/>
                </a:lnTo>
                <a:lnTo>
                  <a:pt x="106009" y="15679"/>
                </a:lnTo>
                <a:lnTo>
                  <a:pt x="104146" y="14157"/>
                </a:lnTo>
                <a:lnTo>
                  <a:pt x="102221" y="12714"/>
                </a:lnTo>
                <a:lnTo>
                  <a:pt x="100265" y="11332"/>
                </a:lnTo>
                <a:lnTo>
                  <a:pt x="98232" y="10028"/>
                </a:lnTo>
                <a:lnTo>
                  <a:pt x="96167" y="8786"/>
                </a:lnTo>
                <a:lnTo>
                  <a:pt x="94056" y="7638"/>
                </a:lnTo>
                <a:lnTo>
                  <a:pt x="91883" y="6551"/>
                </a:lnTo>
                <a:lnTo>
                  <a:pt x="89678" y="5542"/>
                </a:lnTo>
                <a:lnTo>
                  <a:pt x="87443" y="4610"/>
                </a:lnTo>
                <a:lnTo>
                  <a:pt x="85161" y="3757"/>
                </a:lnTo>
                <a:lnTo>
                  <a:pt x="82833" y="2996"/>
                </a:lnTo>
                <a:lnTo>
                  <a:pt x="80473" y="2313"/>
                </a:lnTo>
                <a:lnTo>
                  <a:pt x="78098" y="1708"/>
                </a:lnTo>
                <a:lnTo>
                  <a:pt x="75676" y="1195"/>
                </a:lnTo>
                <a:lnTo>
                  <a:pt x="73224" y="776"/>
                </a:lnTo>
                <a:lnTo>
                  <a:pt x="70756" y="450"/>
                </a:lnTo>
                <a:lnTo>
                  <a:pt x="68256" y="202"/>
                </a:lnTo>
                <a:lnTo>
                  <a:pt x="65741" y="47"/>
                </a:lnTo>
                <a:lnTo>
                  <a:pt x="64469" y="16"/>
                </a:lnTo>
                <a:lnTo>
                  <a:pt x="62932" y="0"/>
                </a:lnTo>
                <a:close/>
              </a:path>
            </a:pathLst>
          </a:custGeom>
          <a:solidFill>
            <a:srgbClr val="F7224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9524596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White">
  <p:cSld name="Blank White">
    <p:bg>
      <p:bgPr>
        <a:solidFill>
          <a:schemeClr val="lt1"/>
        </a:solidFill>
        <a:effectLst/>
      </p:bgPr>
    </p:bg>
    <p:spTree>
      <p:nvGrpSpPr>
        <p:cNvPr id="1" name="Shape 4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" name="Google Shape;450;p29"/>
          <p:cNvSpPr txBox="1">
            <a:spLocks noGrp="1"/>
          </p:cNvSpPr>
          <p:nvPr>
            <p:ph type="sldNum" idx="12"/>
          </p:nvPr>
        </p:nvSpPr>
        <p:spPr>
          <a:xfrm>
            <a:off x="11044810" y="6091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2pPr>
            <a:lvl3pPr lvl="2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3pPr>
            <a:lvl4pPr lvl="3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4pPr>
            <a:lvl5pPr lvl="4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5pPr>
            <a:lvl6pPr lvl="5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6pPr>
            <a:lvl7pPr lvl="6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7pPr>
            <a:lvl8pPr lvl="7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8pPr>
            <a:lvl9pPr lvl="8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525695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284214-FAB1-4313-9089-7BAD481B8429}" type="datetime1">
              <a:rPr lang="en-US" smtClean="0"/>
              <a:t>6/27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bg>
      <p:bgPr>
        <a:solidFill>
          <a:schemeClr val="lt2"/>
        </a:solidFill>
        <a:effectLst/>
      </p:bgPr>
    </p:bg>
    <p:spTree>
      <p:nvGrpSpPr>
        <p:cNvPr id="1" name="Shape 4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2" name="Google Shape;452;p30"/>
          <p:cNvSpPr txBox="1">
            <a:spLocks noGrp="1"/>
          </p:cNvSpPr>
          <p:nvPr>
            <p:ph type="title" hasCustomPrompt="1"/>
          </p:nvPr>
        </p:nvSpPr>
        <p:spPr>
          <a:xfrm>
            <a:off x="415600" y="1474833"/>
            <a:ext cx="11360700" cy="26181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6000"/>
              <a:buNone/>
              <a:defRPr sz="16000"/>
            </a:lvl1pPr>
            <a:lvl2pPr lvl="1" rtl="0">
              <a:spcBef>
                <a:spcPts val="0"/>
              </a:spcBef>
              <a:spcAft>
                <a:spcPts val="0"/>
              </a:spcAft>
              <a:buSzPts val="16000"/>
              <a:buNone/>
              <a:defRPr sz="16000"/>
            </a:lvl2pPr>
            <a:lvl3pPr lvl="2" rtl="0">
              <a:spcBef>
                <a:spcPts val="0"/>
              </a:spcBef>
              <a:spcAft>
                <a:spcPts val="0"/>
              </a:spcAft>
              <a:buSzPts val="16000"/>
              <a:buNone/>
              <a:defRPr sz="16000"/>
            </a:lvl3pPr>
            <a:lvl4pPr lvl="3" rtl="0">
              <a:spcBef>
                <a:spcPts val="0"/>
              </a:spcBef>
              <a:spcAft>
                <a:spcPts val="0"/>
              </a:spcAft>
              <a:buSzPts val="16000"/>
              <a:buNone/>
              <a:defRPr sz="16000"/>
            </a:lvl4pPr>
            <a:lvl5pPr lvl="4" rtl="0">
              <a:spcBef>
                <a:spcPts val="0"/>
              </a:spcBef>
              <a:spcAft>
                <a:spcPts val="0"/>
              </a:spcAft>
              <a:buSzPts val="16000"/>
              <a:buNone/>
              <a:defRPr sz="16000"/>
            </a:lvl5pPr>
            <a:lvl6pPr lvl="5" rtl="0">
              <a:spcBef>
                <a:spcPts val="0"/>
              </a:spcBef>
              <a:spcAft>
                <a:spcPts val="0"/>
              </a:spcAft>
              <a:buSzPts val="16000"/>
              <a:buNone/>
              <a:defRPr sz="16000"/>
            </a:lvl6pPr>
            <a:lvl7pPr lvl="6" rtl="0">
              <a:spcBef>
                <a:spcPts val="0"/>
              </a:spcBef>
              <a:spcAft>
                <a:spcPts val="0"/>
              </a:spcAft>
              <a:buSzPts val="16000"/>
              <a:buNone/>
              <a:defRPr sz="16000"/>
            </a:lvl7pPr>
            <a:lvl8pPr lvl="7" rtl="0">
              <a:spcBef>
                <a:spcPts val="0"/>
              </a:spcBef>
              <a:spcAft>
                <a:spcPts val="0"/>
              </a:spcAft>
              <a:buSzPts val="16000"/>
              <a:buNone/>
              <a:defRPr sz="16000"/>
            </a:lvl8pPr>
            <a:lvl9pPr lvl="8" rtl="0">
              <a:spcBef>
                <a:spcPts val="0"/>
              </a:spcBef>
              <a:spcAft>
                <a:spcPts val="0"/>
              </a:spcAft>
              <a:buSzPts val="16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453" name="Google Shape;453;p30"/>
          <p:cNvSpPr txBox="1">
            <a:spLocks noGrp="1"/>
          </p:cNvSpPr>
          <p:nvPr>
            <p:ph type="sldNum" idx="12"/>
          </p:nvPr>
        </p:nvSpPr>
        <p:spPr>
          <a:xfrm>
            <a:off x="11044810" y="6091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54" name="Google Shape;454;p30"/>
          <p:cNvSpPr txBox="1">
            <a:spLocks noGrp="1"/>
          </p:cNvSpPr>
          <p:nvPr>
            <p:ph type="body" idx="1"/>
          </p:nvPr>
        </p:nvSpPr>
        <p:spPr>
          <a:xfrm>
            <a:off x="415600" y="4202967"/>
            <a:ext cx="11360700" cy="17343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30200" rtl="0">
              <a:spcBef>
                <a:spcPts val="0"/>
              </a:spcBef>
              <a:spcAft>
                <a:spcPts val="0"/>
              </a:spcAft>
              <a:buSzPts val="1600"/>
              <a:buChar char="•"/>
              <a:defRPr sz="1600"/>
            </a:lvl1pPr>
            <a:lvl2pPr marL="914400" lvl="1" indent="-323850" rtl="0">
              <a:spcBef>
                <a:spcPts val="1300"/>
              </a:spcBef>
              <a:spcAft>
                <a:spcPts val="0"/>
              </a:spcAft>
              <a:buSzPts val="1500"/>
              <a:buChar char="○"/>
              <a:defRPr sz="1500"/>
            </a:lvl2pPr>
            <a:lvl3pPr marL="1371600" lvl="2" indent="-311150" rtl="0">
              <a:spcBef>
                <a:spcPts val="1300"/>
              </a:spcBef>
              <a:spcAft>
                <a:spcPts val="0"/>
              </a:spcAft>
              <a:buSzPts val="1300"/>
              <a:buChar char="•"/>
              <a:defRPr sz="1300"/>
            </a:lvl3pPr>
            <a:lvl4pPr marL="1828800" lvl="3" indent="-304800" rtl="0">
              <a:spcBef>
                <a:spcPts val="1300"/>
              </a:spcBef>
              <a:spcAft>
                <a:spcPts val="0"/>
              </a:spcAft>
              <a:buSzPts val="1200"/>
              <a:buChar char="◦"/>
              <a:defRPr sz="1200"/>
            </a:lvl4pPr>
            <a:lvl5pPr marL="2286000" lvl="4" indent="-298450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/>
            </a:lvl5pPr>
            <a:lvl6pPr marL="2743200" lvl="5" indent="-298450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/>
            </a:lvl6pPr>
            <a:lvl7pPr marL="3200400" lvl="6" indent="-298450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/>
            </a:lvl7pPr>
            <a:lvl8pPr marL="3657600" lvl="7" indent="-298450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 rtl="0">
              <a:spcBef>
                <a:spcPts val="1300"/>
              </a:spcBef>
              <a:spcAft>
                <a:spcPts val="1300"/>
              </a:spcAft>
              <a:buSzPts val="11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2333659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2B Big Number">
  <p:cSld name="B2B Big Number">
    <p:bg>
      <p:bgPr>
        <a:solidFill>
          <a:schemeClr val="lt2"/>
        </a:solidFill>
        <a:effectLst/>
      </p:bgPr>
    </p:bg>
    <p:spTree>
      <p:nvGrpSpPr>
        <p:cNvPr id="1" name="Shape 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6" name="Google Shape;456;p31"/>
          <p:cNvSpPr txBox="1">
            <a:spLocks noGrp="1"/>
          </p:cNvSpPr>
          <p:nvPr>
            <p:ph type="title" hasCustomPrompt="1"/>
          </p:nvPr>
        </p:nvSpPr>
        <p:spPr>
          <a:xfrm>
            <a:off x="415600" y="1474833"/>
            <a:ext cx="11360700" cy="26181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0"/>
              <a:buNone/>
              <a:defRPr sz="16000">
                <a:solidFill>
                  <a:schemeClr val="dk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6000"/>
              <a:buNone/>
              <a:defRPr sz="16000">
                <a:solidFill>
                  <a:schemeClr val="accent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6000"/>
              <a:buNone/>
              <a:defRPr sz="16000">
                <a:solidFill>
                  <a:schemeClr val="accent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6000"/>
              <a:buNone/>
              <a:defRPr sz="16000">
                <a:solidFill>
                  <a:schemeClr val="accent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6000"/>
              <a:buNone/>
              <a:defRPr sz="16000">
                <a:solidFill>
                  <a:schemeClr val="accent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6000"/>
              <a:buNone/>
              <a:defRPr sz="16000">
                <a:solidFill>
                  <a:schemeClr val="accent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6000"/>
              <a:buNone/>
              <a:defRPr sz="16000">
                <a:solidFill>
                  <a:schemeClr val="accent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6000"/>
              <a:buNone/>
              <a:defRPr sz="16000">
                <a:solidFill>
                  <a:schemeClr val="accent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6000"/>
              <a:buNone/>
              <a:defRPr sz="16000">
                <a:solidFill>
                  <a:schemeClr val="accent2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457" name="Google Shape;457;p31"/>
          <p:cNvSpPr txBox="1">
            <a:spLocks noGrp="1"/>
          </p:cNvSpPr>
          <p:nvPr>
            <p:ph type="body" idx="1"/>
          </p:nvPr>
        </p:nvSpPr>
        <p:spPr>
          <a:xfrm>
            <a:off x="415600" y="4202967"/>
            <a:ext cx="11360700" cy="17343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30200" rtl="0">
              <a:spcBef>
                <a:spcPts val="0"/>
              </a:spcBef>
              <a:spcAft>
                <a:spcPts val="0"/>
              </a:spcAft>
              <a:buSzPts val="1600"/>
              <a:buChar char="•"/>
              <a:defRPr sz="1600"/>
            </a:lvl1pPr>
            <a:lvl2pPr marL="914400" lvl="1" indent="-323850" rtl="0">
              <a:spcBef>
                <a:spcPts val="1300"/>
              </a:spcBef>
              <a:spcAft>
                <a:spcPts val="0"/>
              </a:spcAft>
              <a:buSzPts val="1500"/>
              <a:buChar char="○"/>
              <a:defRPr sz="1500"/>
            </a:lvl2pPr>
            <a:lvl3pPr marL="1371600" lvl="2" indent="-311150" rtl="0">
              <a:spcBef>
                <a:spcPts val="1300"/>
              </a:spcBef>
              <a:spcAft>
                <a:spcPts val="0"/>
              </a:spcAft>
              <a:buSzPts val="1300"/>
              <a:buChar char="•"/>
              <a:defRPr sz="1300"/>
            </a:lvl3pPr>
            <a:lvl4pPr marL="1828800" lvl="3" indent="-304800" rtl="0">
              <a:spcBef>
                <a:spcPts val="1300"/>
              </a:spcBef>
              <a:spcAft>
                <a:spcPts val="0"/>
              </a:spcAft>
              <a:buSzPts val="1200"/>
              <a:buChar char="◦"/>
              <a:defRPr sz="1200"/>
            </a:lvl4pPr>
            <a:lvl5pPr marL="2286000" lvl="4" indent="-298450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/>
            </a:lvl5pPr>
            <a:lvl6pPr marL="2743200" lvl="5" indent="-298450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/>
            </a:lvl6pPr>
            <a:lvl7pPr marL="3200400" lvl="6" indent="-298450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/>
            </a:lvl7pPr>
            <a:lvl8pPr marL="3657600" lvl="7" indent="-298450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 rtl="0">
              <a:spcBef>
                <a:spcPts val="1300"/>
              </a:spcBef>
              <a:spcAft>
                <a:spcPts val="1300"/>
              </a:spcAft>
              <a:buSzPts val="1100"/>
              <a:buChar char="•"/>
              <a:defRPr/>
            </a:lvl9pPr>
          </a:lstStyle>
          <a:p>
            <a:endParaRPr/>
          </a:p>
        </p:txBody>
      </p:sp>
      <p:sp>
        <p:nvSpPr>
          <p:cNvPr id="458" name="Google Shape;458;p31"/>
          <p:cNvSpPr txBox="1">
            <a:spLocks noGrp="1"/>
          </p:cNvSpPr>
          <p:nvPr>
            <p:ph type="sldNum" idx="12"/>
          </p:nvPr>
        </p:nvSpPr>
        <p:spPr>
          <a:xfrm>
            <a:off x="11044810" y="6091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6301029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 1">
  <p:cSld name="Custom Layout 1">
    <p:spTree>
      <p:nvGrpSpPr>
        <p:cNvPr id="1" name="Shape 4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" name="Google Shape;460;p32"/>
          <p:cNvSpPr txBox="1">
            <a:spLocks noGrp="1"/>
          </p:cNvSpPr>
          <p:nvPr>
            <p:ph type="sldNum" idx="12"/>
          </p:nvPr>
        </p:nvSpPr>
        <p:spPr>
          <a:xfrm>
            <a:off x="11044810" y="6091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61" name="Google Shape;461;p32"/>
          <p:cNvSpPr>
            <a:spLocks noGrp="1"/>
          </p:cNvSpPr>
          <p:nvPr>
            <p:ph type="pic" idx="2"/>
          </p:nvPr>
        </p:nvSpPr>
        <p:spPr>
          <a:xfrm>
            <a:off x="0" y="-20233"/>
            <a:ext cx="12192000" cy="6878400"/>
          </a:xfrm>
          <a:prstGeom prst="rect">
            <a:avLst/>
          </a:prstGeom>
          <a:noFill/>
          <a:ln>
            <a:noFill/>
          </a:ln>
        </p:spPr>
      </p:sp>
      <p:sp>
        <p:nvSpPr>
          <p:cNvPr id="462" name="Google Shape;462;p32"/>
          <p:cNvSpPr txBox="1">
            <a:spLocks noGrp="1"/>
          </p:cNvSpPr>
          <p:nvPr>
            <p:ph type="title"/>
          </p:nvPr>
        </p:nvSpPr>
        <p:spPr>
          <a:xfrm>
            <a:off x="2486967" y="2213967"/>
            <a:ext cx="2001600" cy="363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63" name="Google Shape;463;p32"/>
          <p:cNvSpPr txBox="1">
            <a:spLocks noGrp="1"/>
          </p:cNvSpPr>
          <p:nvPr>
            <p:ph type="body" idx="1"/>
          </p:nvPr>
        </p:nvSpPr>
        <p:spPr>
          <a:xfrm>
            <a:off x="2543367" y="2866333"/>
            <a:ext cx="1945200" cy="2354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11150" algn="r" rtl="0">
              <a:spcBef>
                <a:spcPts val="0"/>
              </a:spcBef>
              <a:spcAft>
                <a:spcPts val="0"/>
              </a:spcAft>
              <a:buSzPts val="1300"/>
              <a:buChar char="•"/>
              <a:defRPr sz="1300"/>
            </a:lvl1pPr>
            <a:lvl2pPr marL="914400" lvl="1" indent="-311150" algn="r" rtl="0">
              <a:spcBef>
                <a:spcPts val="1300"/>
              </a:spcBef>
              <a:spcAft>
                <a:spcPts val="0"/>
              </a:spcAft>
              <a:buSzPts val="1300"/>
              <a:buChar char="○"/>
              <a:defRPr sz="1300"/>
            </a:lvl2pPr>
            <a:lvl3pPr marL="1371600" lvl="2" indent="-311150" algn="r" rtl="0">
              <a:spcBef>
                <a:spcPts val="1300"/>
              </a:spcBef>
              <a:spcAft>
                <a:spcPts val="0"/>
              </a:spcAft>
              <a:buSzPts val="1300"/>
              <a:buChar char="•"/>
              <a:defRPr sz="1300"/>
            </a:lvl3pPr>
            <a:lvl4pPr marL="1828800" lvl="3" indent="-298450" algn="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/>
            </a:lvl4pPr>
            <a:lvl5pPr marL="2286000" lvl="4" indent="-311150" algn="r" rtl="0">
              <a:spcBef>
                <a:spcPts val="1300"/>
              </a:spcBef>
              <a:spcAft>
                <a:spcPts val="0"/>
              </a:spcAft>
              <a:buSzPts val="1300"/>
              <a:buChar char="•"/>
              <a:defRPr sz="1300"/>
            </a:lvl5pPr>
            <a:lvl6pPr marL="2743200" lvl="5" indent="-311150" algn="r" rtl="0">
              <a:spcBef>
                <a:spcPts val="1300"/>
              </a:spcBef>
              <a:spcAft>
                <a:spcPts val="0"/>
              </a:spcAft>
              <a:buSzPts val="1300"/>
              <a:buChar char="◦"/>
              <a:defRPr sz="1300"/>
            </a:lvl6pPr>
            <a:lvl7pPr marL="3200400" lvl="6" indent="-311150" algn="r" rtl="0">
              <a:spcBef>
                <a:spcPts val="1300"/>
              </a:spcBef>
              <a:spcAft>
                <a:spcPts val="0"/>
              </a:spcAft>
              <a:buSzPts val="1300"/>
              <a:buChar char="•"/>
              <a:defRPr sz="1300"/>
            </a:lvl7pPr>
            <a:lvl8pPr marL="3657600" lvl="7" indent="-311150" algn="r" rtl="0">
              <a:spcBef>
                <a:spcPts val="1300"/>
              </a:spcBef>
              <a:spcAft>
                <a:spcPts val="0"/>
              </a:spcAft>
              <a:buSzPts val="1300"/>
              <a:buChar char="○"/>
              <a:defRPr sz="1300"/>
            </a:lvl8pPr>
            <a:lvl9pPr marL="4114800" lvl="8" indent="-311150" algn="r" rtl="0">
              <a:spcBef>
                <a:spcPts val="1300"/>
              </a:spcBef>
              <a:spcAft>
                <a:spcPts val="1300"/>
              </a:spcAft>
              <a:buSzPts val="1300"/>
              <a:buChar char="•"/>
              <a:defRPr sz="13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6549569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lumns with Subtitles and Icons">
  <p:cSld name="3 Columns with Subtitles and Icons">
    <p:bg>
      <p:bgPr>
        <a:solidFill>
          <a:schemeClr val="lt1"/>
        </a:solidFill>
        <a:effectLst/>
      </p:bgPr>
    </p:bg>
    <p:spTree>
      <p:nvGrpSpPr>
        <p:cNvPr id="1" name="Shape 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5" name="Google Shape;465;p33"/>
          <p:cNvSpPr txBox="1">
            <a:spLocks noGrp="1"/>
          </p:cNvSpPr>
          <p:nvPr>
            <p:ph type="sldNum" idx="12"/>
          </p:nvPr>
        </p:nvSpPr>
        <p:spPr>
          <a:xfrm>
            <a:off x="11044810" y="6091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algn="ctr" rtl="0">
              <a:buNone/>
              <a:defRPr/>
            </a:lvl1pPr>
            <a:lvl2pPr lvl="1" algn="ctr" rtl="0">
              <a:buNone/>
              <a:defRPr/>
            </a:lvl2pPr>
            <a:lvl3pPr lvl="2" algn="ctr" rtl="0">
              <a:buNone/>
              <a:defRPr/>
            </a:lvl3pPr>
            <a:lvl4pPr lvl="3" algn="ctr" rtl="0">
              <a:buNone/>
              <a:defRPr/>
            </a:lvl4pPr>
            <a:lvl5pPr lvl="4" algn="ctr" rtl="0">
              <a:buNone/>
              <a:defRPr/>
            </a:lvl5pPr>
            <a:lvl6pPr lvl="5" algn="ctr" rtl="0">
              <a:buNone/>
              <a:defRPr/>
            </a:lvl6pPr>
            <a:lvl7pPr lvl="6" algn="ctr" rtl="0">
              <a:buNone/>
              <a:defRPr/>
            </a:lvl7pPr>
            <a:lvl8pPr lvl="7" algn="ctr" rtl="0">
              <a:buNone/>
              <a:defRPr/>
            </a:lvl8pPr>
            <a:lvl9pPr lvl="8" algn="ctr" rtl="0">
              <a:buNone/>
              <a:defRPr/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66" name="Google Shape;466;p33"/>
          <p:cNvSpPr txBox="1">
            <a:spLocks noGrp="1"/>
          </p:cNvSpPr>
          <p:nvPr>
            <p:ph type="body" idx="1"/>
          </p:nvPr>
        </p:nvSpPr>
        <p:spPr>
          <a:xfrm>
            <a:off x="1300333" y="2913800"/>
            <a:ext cx="2990400" cy="275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0480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Lato Black"/>
              <a:buChar char="•"/>
              <a:defRPr sz="1200"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1pPr>
            <a:lvl2pPr marL="914400" lvl="1" indent="-3048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Lato Black"/>
              <a:buChar char="○"/>
              <a:defRPr sz="1200"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2pPr>
            <a:lvl3pPr marL="1371600" lvl="2" indent="-3048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Lato Black"/>
              <a:buChar char="•"/>
              <a:defRPr sz="1200"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3pPr>
            <a:lvl4pPr marL="1828800" lvl="3" indent="-3048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Lato Black"/>
              <a:buChar char="◦"/>
              <a:defRPr sz="1200"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4pPr>
            <a:lvl5pPr marL="2286000" lvl="4" indent="-29845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Lato Black"/>
              <a:buChar char="•"/>
              <a:defRPr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5pPr>
            <a:lvl6pPr marL="2743200" lvl="5" indent="-29845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Lato Black"/>
              <a:buChar char="◦"/>
              <a:defRPr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6pPr>
            <a:lvl7pPr marL="3200400" lvl="6" indent="-29845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Lato Black"/>
              <a:buChar char="•"/>
              <a:defRPr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7pPr>
            <a:lvl8pPr marL="3657600" lvl="7" indent="-29845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Lato Black"/>
              <a:buChar char="○"/>
              <a:defRPr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8pPr>
            <a:lvl9pPr marL="4114800" lvl="8" indent="-298450" algn="ctr" rtl="0">
              <a:spcBef>
                <a:spcPts val="1300"/>
              </a:spcBef>
              <a:spcAft>
                <a:spcPts val="1300"/>
              </a:spcAft>
              <a:buClr>
                <a:schemeClr val="dk1"/>
              </a:buClr>
              <a:buSzPts val="1100"/>
              <a:buFont typeface="Lato Black"/>
              <a:buChar char="•"/>
              <a:defRPr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9pPr>
          </a:lstStyle>
          <a:p>
            <a:endParaRPr/>
          </a:p>
        </p:txBody>
      </p:sp>
      <p:sp>
        <p:nvSpPr>
          <p:cNvPr id="467" name="Google Shape;467;p33"/>
          <p:cNvSpPr txBox="1">
            <a:spLocks noGrp="1"/>
          </p:cNvSpPr>
          <p:nvPr>
            <p:ph type="body" idx="2"/>
          </p:nvPr>
        </p:nvSpPr>
        <p:spPr>
          <a:xfrm>
            <a:off x="7924800" y="2913800"/>
            <a:ext cx="2990400" cy="275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0480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Lato Black"/>
              <a:buChar char="•"/>
              <a:defRPr sz="1200"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1pPr>
            <a:lvl2pPr marL="914400" lvl="1" indent="-3048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Lato Black"/>
              <a:buChar char="○"/>
              <a:defRPr sz="1200"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2pPr>
            <a:lvl3pPr marL="1371600" lvl="2" indent="-3048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Lato Black"/>
              <a:buChar char="•"/>
              <a:defRPr sz="1200"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3pPr>
            <a:lvl4pPr marL="1828800" lvl="3" indent="-3048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Lato Black"/>
              <a:buChar char="◦"/>
              <a:defRPr sz="1200"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4pPr>
            <a:lvl5pPr marL="2286000" lvl="4" indent="-29845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Lato Black"/>
              <a:buChar char="•"/>
              <a:defRPr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5pPr>
            <a:lvl6pPr marL="2743200" lvl="5" indent="-29845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Lato Black"/>
              <a:buChar char="◦"/>
              <a:defRPr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6pPr>
            <a:lvl7pPr marL="3200400" lvl="6" indent="-29845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Lato Black"/>
              <a:buChar char="•"/>
              <a:defRPr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7pPr>
            <a:lvl8pPr marL="3657600" lvl="7" indent="-29845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Lato Black"/>
              <a:buChar char="○"/>
              <a:defRPr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8pPr>
            <a:lvl9pPr marL="4114800" lvl="8" indent="-298450" algn="ctr" rtl="0">
              <a:spcBef>
                <a:spcPts val="1300"/>
              </a:spcBef>
              <a:spcAft>
                <a:spcPts val="1300"/>
              </a:spcAft>
              <a:buClr>
                <a:schemeClr val="dk1"/>
              </a:buClr>
              <a:buSzPts val="1100"/>
              <a:buFont typeface="Lato Black"/>
              <a:buChar char="•"/>
              <a:defRPr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9pPr>
          </a:lstStyle>
          <a:p>
            <a:endParaRPr/>
          </a:p>
        </p:txBody>
      </p:sp>
      <p:sp>
        <p:nvSpPr>
          <p:cNvPr id="468" name="Google Shape;468;p33"/>
          <p:cNvSpPr txBox="1">
            <a:spLocks noGrp="1"/>
          </p:cNvSpPr>
          <p:nvPr>
            <p:ph type="body" idx="3"/>
          </p:nvPr>
        </p:nvSpPr>
        <p:spPr>
          <a:xfrm>
            <a:off x="4600793" y="2913800"/>
            <a:ext cx="2990400" cy="275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0480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Lato Black"/>
              <a:buChar char="•"/>
              <a:defRPr sz="1200"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1pPr>
            <a:lvl2pPr marL="914400" lvl="1" indent="-3048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Lato Black"/>
              <a:buChar char="○"/>
              <a:defRPr sz="1200"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2pPr>
            <a:lvl3pPr marL="1371600" lvl="2" indent="-3048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Lato Black"/>
              <a:buChar char="•"/>
              <a:defRPr sz="1200"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3pPr>
            <a:lvl4pPr marL="1828800" lvl="3" indent="-3048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Lato Black"/>
              <a:buChar char="◦"/>
              <a:defRPr sz="1200"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4pPr>
            <a:lvl5pPr marL="2286000" lvl="4" indent="-29845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Lato Black"/>
              <a:buChar char="•"/>
              <a:defRPr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5pPr>
            <a:lvl6pPr marL="2743200" lvl="5" indent="-29845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Lato Black"/>
              <a:buChar char="◦"/>
              <a:defRPr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6pPr>
            <a:lvl7pPr marL="3200400" lvl="6" indent="-29845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Lato Black"/>
              <a:buChar char="•"/>
              <a:defRPr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7pPr>
            <a:lvl8pPr marL="3657600" lvl="7" indent="-29845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Lato Black"/>
              <a:buChar char="○"/>
              <a:defRPr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8pPr>
            <a:lvl9pPr marL="4114800" lvl="8" indent="-298450" algn="ctr" rtl="0">
              <a:spcBef>
                <a:spcPts val="1300"/>
              </a:spcBef>
              <a:spcAft>
                <a:spcPts val="1300"/>
              </a:spcAft>
              <a:buClr>
                <a:schemeClr val="dk1"/>
              </a:buClr>
              <a:buSzPts val="1100"/>
              <a:buFont typeface="Lato Black"/>
              <a:buChar char="•"/>
              <a:defRPr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9pPr>
          </a:lstStyle>
          <a:p>
            <a:endParaRPr/>
          </a:p>
        </p:txBody>
      </p:sp>
      <p:sp>
        <p:nvSpPr>
          <p:cNvPr id="469" name="Google Shape;469;p33"/>
          <p:cNvSpPr>
            <a:spLocks noGrp="1"/>
          </p:cNvSpPr>
          <p:nvPr>
            <p:ph type="pic" idx="4"/>
          </p:nvPr>
        </p:nvSpPr>
        <p:spPr>
          <a:xfrm>
            <a:off x="2280333" y="1804567"/>
            <a:ext cx="1030500" cy="1030500"/>
          </a:xfrm>
          <a:prstGeom prst="rect">
            <a:avLst/>
          </a:prstGeom>
          <a:noFill/>
          <a:ln>
            <a:noFill/>
          </a:ln>
        </p:spPr>
      </p:sp>
      <p:sp>
        <p:nvSpPr>
          <p:cNvPr id="470" name="Google Shape;470;p33"/>
          <p:cNvSpPr>
            <a:spLocks noGrp="1"/>
          </p:cNvSpPr>
          <p:nvPr>
            <p:ph type="pic" idx="5"/>
          </p:nvPr>
        </p:nvSpPr>
        <p:spPr>
          <a:xfrm>
            <a:off x="5580833" y="1804567"/>
            <a:ext cx="1030500" cy="1030500"/>
          </a:xfrm>
          <a:prstGeom prst="rect">
            <a:avLst/>
          </a:prstGeom>
          <a:noFill/>
          <a:ln>
            <a:noFill/>
          </a:ln>
        </p:spPr>
      </p:sp>
      <p:sp>
        <p:nvSpPr>
          <p:cNvPr id="471" name="Google Shape;471;p33"/>
          <p:cNvSpPr>
            <a:spLocks noGrp="1"/>
          </p:cNvSpPr>
          <p:nvPr>
            <p:ph type="pic" idx="6"/>
          </p:nvPr>
        </p:nvSpPr>
        <p:spPr>
          <a:xfrm>
            <a:off x="8881278" y="1804567"/>
            <a:ext cx="1030500" cy="1030500"/>
          </a:xfrm>
          <a:prstGeom prst="rect">
            <a:avLst/>
          </a:prstGeom>
          <a:noFill/>
          <a:ln>
            <a:noFill/>
          </a:ln>
        </p:spPr>
      </p:sp>
      <p:sp>
        <p:nvSpPr>
          <p:cNvPr id="472" name="Google Shape;472;p33"/>
          <p:cNvSpPr txBox="1">
            <a:spLocks noGrp="1"/>
          </p:cNvSpPr>
          <p:nvPr>
            <p:ph type="body" idx="7"/>
          </p:nvPr>
        </p:nvSpPr>
        <p:spPr>
          <a:xfrm>
            <a:off x="1300333" y="5483649"/>
            <a:ext cx="2990400" cy="275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0480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Lato Black"/>
              <a:buChar char="•"/>
              <a:defRPr sz="1200"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1pPr>
            <a:lvl2pPr marL="914400" lvl="1" indent="-3048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Lato Black"/>
              <a:buChar char="○"/>
              <a:defRPr sz="1200"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2pPr>
            <a:lvl3pPr marL="1371600" lvl="2" indent="-3048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Lato Black"/>
              <a:buChar char="•"/>
              <a:defRPr sz="1200"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3pPr>
            <a:lvl4pPr marL="1828800" lvl="3" indent="-3048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Lato Black"/>
              <a:buChar char="◦"/>
              <a:defRPr sz="1200"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4pPr>
            <a:lvl5pPr marL="2286000" lvl="4" indent="-29845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Lato Black"/>
              <a:buChar char="•"/>
              <a:defRPr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5pPr>
            <a:lvl6pPr marL="2743200" lvl="5" indent="-29845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Lato Black"/>
              <a:buChar char="◦"/>
              <a:defRPr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6pPr>
            <a:lvl7pPr marL="3200400" lvl="6" indent="-29845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Lato Black"/>
              <a:buChar char="•"/>
              <a:defRPr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7pPr>
            <a:lvl8pPr marL="3657600" lvl="7" indent="-29845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Lato Black"/>
              <a:buChar char="○"/>
              <a:defRPr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8pPr>
            <a:lvl9pPr marL="4114800" lvl="8" indent="-298450" algn="ctr" rtl="0">
              <a:spcBef>
                <a:spcPts val="1300"/>
              </a:spcBef>
              <a:spcAft>
                <a:spcPts val="1300"/>
              </a:spcAft>
              <a:buClr>
                <a:schemeClr val="dk1"/>
              </a:buClr>
              <a:buSzPts val="1100"/>
              <a:buFont typeface="Lato Black"/>
              <a:buChar char="•"/>
              <a:defRPr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9pPr>
          </a:lstStyle>
          <a:p>
            <a:endParaRPr/>
          </a:p>
        </p:txBody>
      </p:sp>
      <p:sp>
        <p:nvSpPr>
          <p:cNvPr id="473" name="Google Shape;473;p33"/>
          <p:cNvSpPr txBox="1">
            <a:spLocks noGrp="1"/>
          </p:cNvSpPr>
          <p:nvPr>
            <p:ph type="body" idx="8"/>
          </p:nvPr>
        </p:nvSpPr>
        <p:spPr>
          <a:xfrm>
            <a:off x="7924800" y="5483649"/>
            <a:ext cx="2990400" cy="275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0480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Lato Black"/>
              <a:buChar char="•"/>
              <a:defRPr sz="1200"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1pPr>
            <a:lvl2pPr marL="914400" lvl="1" indent="-3048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Lato Black"/>
              <a:buChar char="○"/>
              <a:defRPr sz="1200"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2pPr>
            <a:lvl3pPr marL="1371600" lvl="2" indent="-3048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Lato Black"/>
              <a:buChar char="•"/>
              <a:defRPr sz="1200"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3pPr>
            <a:lvl4pPr marL="1828800" lvl="3" indent="-3048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Lato Black"/>
              <a:buChar char="◦"/>
              <a:defRPr sz="1200"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4pPr>
            <a:lvl5pPr marL="2286000" lvl="4" indent="-29845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Lato Black"/>
              <a:buChar char="•"/>
              <a:defRPr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5pPr>
            <a:lvl6pPr marL="2743200" lvl="5" indent="-29845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Lato Black"/>
              <a:buChar char="◦"/>
              <a:defRPr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6pPr>
            <a:lvl7pPr marL="3200400" lvl="6" indent="-29845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Lato Black"/>
              <a:buChar char="•"/>
              <a:defRPr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7pPr>
            <a:lvl8pPr marL="3657600" lvl="7" indent="-29845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Lato Black"/>
              <a:buChar char="○"/>
              <a:defRPr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8pPr>
            <a:lvl9pPr marL="4114800" lvl="8" indent="-298450" algn="ctr" rtl="0">
              <a:spcBef>
                <a:spcPts val="1300"/>
              </a:spcBef>
              <a:spcAft>
                <a:spcPts val="1300"/>
              </a:spcAft>
              <a:buClr>
                <a:schemeClr val="dk1"/>
              </a:buClr>
              <a:buSzPts val="1100"/>
              <a:buFont typeface="Lato Black"/>
              <a:buChar char="•"/>
              <a:defRPr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9pPr>
          </a:lstStyle>
          <a:p>
            <a:endParaRPr/>
          </a:p>
        </p:txBody>
      </p:sp>
      <p:sp>
        <p:nvSpPr>
          <p:cNvPr id="474" name="Google Shape;474;p33"/>
          <p:cNvSpPr txBox="1">
            <a:spLocks noGrp="1"/>
          </p:cNvSpPr>
          <p:nvPr>
            <p:ph type="body" idx="9"/>
          </p:nvPr>
        </p:nvSpPr>
        <p:spPr>
          <a:xfrm>
            <a:off x="4600793" y="5483649"/>
            <a:ext cx="2990400" cy="275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0480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Lato Black"/>
              <a:buChar char="•"/>
              <a:defRPr sz="1200"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1pPr>
            <a:lvl2pPr marL="914400" lvl="1" indent="-3048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Lato Black"/>
              <a:buChar char="○"/>
              <a:defRPr sz="1200"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2pPr>
            <a:lvl3pPr marL="1371600" lvl="2" indent="-3048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Lato Black"/>
              <a:buChar char="•"/>
              <a:defRPr sz="1200"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3pPr>
            <a:lvl4pPr marL="1828800" lvl="3" indent="-30480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Lato Black"/>
              <a:buChar char="◦"/>
              <a:defRPr sz="1200"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4pPr>
            <a:lvl5pPr marL="2286000" lvl="4" indent="-29845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Lato Black"/>
              <a:buChar char="•"/>
              <a:defRPr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5pPr>
            <a:lvl6pPr marL="2743200" lvl="5" indent="-29845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Lato Black"/>
              <a:buChar char="◦"/>
              <a:defRPr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6pPr>
            <a:lvl7pPr marL="3200400" lvl="6" indent="-29845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Lato Black"/>
              <a:buChar char="•"/>
              <a:defRPr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7pPr>
            <a:lvl8pPr marL="3657600" lvl="7" indent="-298450" algn="ctr" rtl="0"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Lato Black"/>
              <a:buChar char="○"/>
              <a:defRPr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8pPr>
            <a:lvl9pPr marL="4114800" lvl="8" indent="-298450" algn="ctr" rtl="0">
              <a:spcBef>
                <a:spcPts val="1300"/>
              </a:spcBef>
              <a:spcAft>
                <a:spcPts val="1300"/>
              </a:spcAft>
              <a:buClr>
                <a:schemeClr val="dk1"/>
              </a:buClr>
              <a:buSzPts val="1100"/>
              <a:buFont typeface="Lato Black"/>
              <a:buChar char="•"/>
              <a:defRPr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9pPr>
          </a:lstStyle>
          <a:p>
            <a:endParaRPr/>
          </a:p>
        </p:txBody>
      </p:sp>
      <p:sp>
        <p:nvSpPr>
          <p:cNvPr id="475" name="Google Shape;475;p33"/>
          <p:cNvSpPr>
            <a:spLocks noGrp="1"/>
          </p:cNvSpPr>
          <p:nvPr>
            <p:ph type="pic" idx="13"/>
          </p:nvPr>
        </p:nvSpPr>
        <p:spPr>
          <a:xfrm>
            <a:off x="2280333" y="4429433"/>
            <a:ext cx="1030500" cy="1030500"/>
          </a:xfrm>
          <a:prstGeom prst="rect">
            <a:avLst/>
          </a:prstGeom>
          <a:noFill/>
          <a:ln>
            <a:noFill/>
          </a:ln>
        </p:spPr>
      </p:sp>
      <p:sp>
        <p:nvSpPr>
          <p:cNvPr id="476" name="Google Shape;476;p33"/>
          <p:cNvSpPr>
            <a:spLocks noGrp="1"/>
          </p:cNvSpPr>
          <p:nvPr>
            <p:ph type="pic" idx="14"/>
          </p:nvPr>
        </p:nvSpPr>
        <p:spPr>
          <a:xfrm>
            <a:off x="5580833" y="4429433"/>
            <a:ext cx="1030500" cy="1030500"/>
          </a:xfrm>
          <a:prstGeom prst="rect">
            <a:avLst/>
          </a:prstGeom>
          <a:noFill/>
          <a:ln>
            <a:noFill/>
          </a:ln>
        </p:spPr>
      </p:sp>
      <p:sp>
        <p:nvSpPr>
          <p:cNvPr id="477" name="Google Shape;477;p33"/>
          <p:cNvSpPr>
            <a:spLocks noGrp="1"/>
          </p:cNvSpPr>
          <p:nvPr>
            <p:ph type="pic" idx="15"/>
          </p:nvPr>
        </p:nvSpPr>
        <p:spPr>
          <a:xfrm>
            <a:off x="8881278" y="4429433"/>
            <a:ext cx="1030500" cy="1030500"/>
          </a:xfrm>
          <a:prstGeom prst="rect">
            <a:avLst/>
          </a:prstGeom>
          <a:noFill/>
          <a:ln>
            <a:noFill/>
          </a:ln>
        </p:spPr>
      </p:sp>
      <p:sp>
        <p:nvSpPr>
          <p:cNvPr id="478" name="Google Shape;478;p33"/>
          <p:cNvSpPr txBox="1">
            <a:spLocks noGrp="1"/>
          </p:cNvSpPr>
          <p:nvPr>
            <p:ph type="body" idx="16"/>
          </p:nvPr>
        </p:nvSpPr>
        <p:spPr>
          <a:xfrm>
            <a:off x="1300333" y="3256667"/>
            <a:ext cx="2990400" cy="10305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98450" algn="ctr" rtl="0">
              <a:spcBef>
                <a:spcPts val="0"/>
              </a:spcBef>
              <a:spcAft>
                <a:spcPts val="0"/>
              </a:spcAft>
              <a:buSzPts val="1100"/>
              <a:buChar char="•"/>
              <a:defRPr sz="1100"/>
            </a:lvl1pPr>
            <a:lvl2pPr marL="914400" lvl="1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/>
            </a:lvl3pPr>
            <a:lvl4pPr marL="1828800" lvl="3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 sz="1100"/>
            </a:lvl4pPr>
            <a:lvl5pPr marL="2286000" lvl="4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/>
            </a:lvl5pPr>
            <a:lvl6pPr marL="2743200" lvl="5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 sz="1100"/>
            </a:lvl6pPr>
            <a:lvl7pPr marL="3200400" lvl="6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/>
            </a:lvl7pPr>
            <a:lvl8pPr marL="3657600" lvl="7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 algn="ctr" rtl="0">
              <a:spcBef>
                <a:spcPts val="1300"/>
              </a:spcBef>
              <a:spcAft>
                <a:spcPts val="1300"/>
              </a:spcAft>
              <a:buSzPts val="1100"/>
              <a:buChar char="•"/>
              <a:defRPr sz="1100"/>
            </a:lvl9pPr>
          </a:lstStyle>
          <a:p>
            <a:endParaRPr/>
          </a:p>
        </p:txBody>
      </p:sp>
      <p:sp>
        <p:nvSpPr>
          <p:cNvPr id="479" name="Google Shape;479;p33"/>
          <p:cNvSpPr txBox="1">
            <a:spLocks noGrp="1"/>
          </p:cNvSpPr>
          <p:nvPr>
            <p:ph type="body" idx="17"/>
          </p:nvPr>
        </p:nvSpPr>
        <p:spPr>
          <a:xfrm>
            <a:off x="7924803" y="3256667"/>
            <a:ext cx="2990400" cy="10305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98450" algn="ctr" rtl="0">
              <a:spcBef>
                <a:spcPts val="0"/>
              </a:spcBef>
              <a:spcAft>
                <a:spcPts val="0"/>
              </a:spcAft>
              <a:buSzPts val="1100"/>
              <a:buChar char="•"/>
              <a:defRPr sz="1100"/>
            </a:lvl1pPr>
            <a:lvl2pPr marL="914400" lvl="1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/>
            </a:lvl3pPr>
            <a:lvl4pPr marL="1828800" lvl="3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 sz="1100"/>
            </a:lvl4pPr>
            <a:lvl5pPr marL="2286000" lvl="4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/>
            </a:lvl5pPr>
            <a:lvl6pPr marL="2743200" lvl="5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 sz="1100"/>
            </a:lvl6pPr>
            <a:lvl7pPr marL="3200400" lvl="6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/>
            </a:lvl7pPr>
            <a:lvl8pPr marL="3657600" lvl="7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 algn="ctr" rtl="0">
              <a:spcBef>
                <a:spcPts val="1300"/>
              </a:spcBef>
              <a:spcAft>
                <a:spcPts val="1300"/>
              </a:spcAft>
              <a:buSzPts val="1100"/>
              <a:buChar char="•"/>
              <a:defRPr sz="1100"/>
            </a:lvl9pPr>
          </a:lstStyle>
          <a:p>
            <a:endParaRPr/>
          </a:p>
        </p:txBody>
      </p:sp>
      <p:sp>
        <p:nvSpPr>
          <p:cNvPr id="480" name="Google Shape;480;p33"/>
          <p:cNvSpPr txBox="1">
            <a:spLocks noGrp="1"/>
          </p:cNvSpPr>
          <p:nvPr>
            <p:ph type="body" idx="18"/>
          </p:nvPr>
        </p:nvSpPr>
        <p:spPr>
          <a:xfrm>
            <a:off x="4600795" y="3256667"/>
            <a:ext cx="2990400" cy="10305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98450" algn="ctr" rtl="0">
              <a:spcBef>
                <a:spcPts val="0"/>
              </a:spcBef>
              <a:spcAft>
                <a:spcPts val="0"/>
              </a:spcAft>
              <a:buSzPts val="1100"/>
              <a:buChar char="•"/>
              <a:defRPr sz="1100"/>
            </a:lvl1pPr>
            <a:lvl2pPr marL="914400" lvl="1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/>
            </a:lvl3pPr>
            <a:lvl4pPr marL="1828800" lvl="3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 sz="1100"/>
            </a:lvl4pPr>
            <a:lvl5pPr marL="2286000" lvl="4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/>
            </a:lvl5pPr>
            <a:lvl6pPr marL="2743200" lvl="5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 sz="1100"/>
            </a:lvl6pPr>
            <a:lvl7pPr marL="3200400" lvl="6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/>
            </a:lvl7pPr>
            <a:lvl8pPr marL="3657600" lvl="7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 algn="ctr" rtl="0">
              <a:spcBef>
                <a:spcPts val="1300"/>
              </a:spcBef>
              <a:spcAft>
                <a:spcPts val="1300"/>
              </a:spcAft>
              <a:buSzPts val="1100"/>
              <a:buChar char="•"/>
              <a:defRPr sz="1100"/>
            </a:lvl9pPr>
          </a:lstStyle>
          <a:p>
            <a:endParaRPr/>
          </a:p>
        </p:txBody>
      </p:sp>
      <p:sp>
        <p:nvSpPr>
          <p:cNvPr id="481" name="Google Shape;481;p33"/>
          <p:cNvSpPr txBox="1">
            <a:spLocks noGrp="1"/>
          </p:cNvSpPr>
          <p:nvPr>
            <p:ph type="body" idx="19"/>
          </p:nvPr>
        </p:nvSpPr>
        <p:spPr>
          <a:xfrm>
            <a:off x="1300333" y="5881533"/>
            <a:ext cx="2990400" cy="10305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98450" algn="ctr" rtl="0">
              <a:spcBef>
                <a:spcPts val="0"/>
              </a:spcBef>
              <a:spcAft>
                <a:spcPts val="0"/>
              </a:spcAft>
              <a:buSzPts val="1100"/>
              <a:buChar char="•"/>
              <a:defRPr sz="1100"/>
            </a:lvl1pPr>
            <a:lvl2pPr marL="914400" lvl="1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/>
            </a:lvl3pPr>
            <a:lvl4pPr marL="1828800" lvl="3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 sz="1100"/>
            </a:lvl4pPr>
            <a:lvl5pPr marL="2286000" lvl="4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/>
            </a:lvl5pPr>
            <a:lvl6pPr marL="2743200" lvl="5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 sz="1100"/>
            </a:lvl6pPr>
            <a:lvl7pPr marL="3200400" lvl="6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/>
            </a:lvl7pPr>
            <a:lvl8pPr marL="3657600" lvl="7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 algn="ctr" rtl="0">
              <a:spcBef>
                <a:spcPts val="1300"/>
              </a:spcBef>
              <a:spcAft>
                <a:spcPts val="1300"/>
              </a:spcAft>
              <a:buSzPts val="1100"/>
              <a:buChar char="•"/>
              <a:defRPr sz="1100"/>
            </a:lvl9pPr>
          </a:lstStyle>
          <a:p>
            <a:endParaRPr/>
          </a:p>
        </p:txBody>
      </p:sp>
      <p:sp>
        <p:nvSpPr>
          <p:cNvPr id="482" name="Google Shape;482;p33"/>
          <p:cNvSpPr txBox="1">
            <a:spLocks noGrp="1"/>
          </p:cNvSpPr>
          <p:nvPr>
            <p:ph type="body" idx="20"/>
          </p:nvPr>
        </p:nvSpPr>
        <p:spPr>
          <a:xfrm>
            <a:off x="7924803" y="5881533"/>
            <a:ext cx="2990400" cy="10305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98450" algn="ctr" rtl="0">
              <a:spcBef>
                <a:spcPts val="0"/>
              </a:spcBef>
              <a:spcAft>
                <a:spcPts val="0"/>
              </a:spcAft>
              <a:buSzPts val="1100"/>
              <a:buChar char="•"/>
              <a:defRPr sz="1100"/>
            </a:lvl1pPr>
            <a:lvl2pPr marL="914400" lvl="1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/>
            </a:lvl3pPr>
            <a:lvl4pPr marL="1828800" lvl="3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 sz="1100"/>
            </a:lvl4pPr>
            <a:lvl5pPr marL="2286000" lvl="4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/>
            </a:lvl5pPr>
            <a:lvl6pPr marL="2743200" lvl="5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 sz="1100"/>
            </a:lvl6pPr>
            <a:lvl7pPr marL="3200400" lvl="6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/>
            </a:lvl7pPr>
            <a:lvl8pPr marL="3657600" lvl="7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 algn="ctr" rtl="0">
              <a:spcBef>
                <a:spcPts val="1300"/>
              </a:spcBef>
              <a:spcAft>
                <a:spcPts val="1300"/>
              </a:spcAft>
              <a:buSzPts val="1100"/>
              <a:buChar char="•"/>
              <a:defRPr sz="1100"/>
            </a:lvl9pPr>
          </a:lstStyle>
          <a:p>
            <a:endParaRPr/>
          </a:p>
        </p:txBody>
      </p:sp>
      <p:sp>
        <p:nvSpPr>
          <p:cNvPr id="483" name="Google Shape;483;p33"/>
          <p:cNvSpPr txBox="1">
            <a:spLocks noGrp="1"/>
          </p:cNvSpPr>
          <p:nvPr>
            <p:ph type="body" idx="21"/>
          </p:nvPr>
        </p:nvSpPr>
        <p:spPr>
          <a:xfrm>
            <a:off x="4600795" y="5881533"/>
            <a:ext cx="2990400" cy="10305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98450" algn="ctr" rtl="0">
              <a:spcBef>
                <a:spcPts val="0"/>
              </a:spcBef>
              <a:spcAft>
                <a:spcPts val="0"/>
              </a:spcAft>
              <a:buSzPts val="1100"/>
              <a:buChar char="•"/>
              <a:defRPr sz="1100"/>
            </a:lvl1pPr>
            <a:lvl2pPr marL="914400" lvl="1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/>
            </a:lvl3pPr>
            <a:lvl4pPr marL="1828800" lvl="3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 sz="1100"/>
            </a:lvl4pPr>
            <a:lvl5pPr marL="2286000" lvl="4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/>
            </a:lvl5pPr>
            <a:lvl6pPr marL="2743200" lvl="5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 sz="1100"/>
            </a:lvl6pPr>
            <a:lvl7pPr marL="3200400" lvl="6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 sz="1100"/>
            </a:lvl7pPr>
            <a:lvl8pPr marL="3657600" lvl="7" indent="-298450" algn="ctr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 algn="ctr" rtl="0">
              <a:spcBef>
                <a:spcPts val="1300"/>
              </a:spcBef>
              <a:spcAft>
                <a:spcPts val="1300"/>
              </a:spcAft>
              <a:buSzPts val="1100"/>
              <a:buChar char="•"/>
              <a:defRPr sz="1100"/>
            </a:lvl9pPr>
          </a:lstStyle>
          <a:p>
            <a:endParaRPr/>
          </a:p>
        </p:txBody>
      </p:sp>
      <p:sp>
        <p:nvSpPr>
          <p:cNvPr id="484" name="Google Shape;484;p33"/>
          <p:cNvSpPr/>
          <p:nvPr/>
        </p:nvSpPr>
        <p:spPr>
          <a:xfrm rot="10800000">
            <a:off x="3833" y="67"/>
            <a:ext cx="11147700" cy="10329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5" name="Google Shape;485;p33"/>
          <p:cNvSpPr/>
          <p:nvPr/>
        </p:nvSpPr>
        <p:spPr>
          <a:xfrm>
            <a:off x="-23600" y="0"/>
            <a:ext cx="1266300" cy="10329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6" name="Google Shape;486;p33"/>
          <p:cNvSpPr txBox="1">
            <a:spLocks noGrp="1"/>
          </p:cNvSpPr>
          <p:nvPr>
            <p:ph type="title"/>
          </p:nvPr>
        </p:nvSpPr>
        <p:spPr>
          <a:xfrm>
            <a:off x="415600" y="398067"/>
            <a:ext cx="101241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1pPr>
            <a:lvl2pPr lvl="1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2pPr>
            <a:lvl3pPr lvl="2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3pPr>
            <a:lvl4pPr lvl="3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4pPr>
            <a:lvl5pPr lvl="4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5pPr>
            <a:lvl6pPr lvl="5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6pPr>
            <a:lvl7pPr lvl="6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7pPr>
            <a:lvl8pPr lvl="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8pPr>
            <a:lvl9pPr lvl="8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487" name="Google Shape;487;p33"/>
          <p:cNvSpPr txBox="1">
            <a:spLocks noGrp="1"/>
          </p:cNvSpPr>
          <p:nvPr>
            <p:ph type="title" idx="22"/>
          </p:nvPr>
        </p:nvSpPr>
        <p:spPr>
          <a:xfrm>
            <a:off x="415600" y="1226067"/>
            <a:ext cx="11360700" cy="393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00"/>
              <a:buFont typeface="Lato"/>
              <a:buNone/>
              <a:defRPr sz="19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488" name="Google Shape;488;p33"/>
          <p:cNvSpPr/>
          <p:nvPr/>
        </p:nvSpPr>
        <p:spPr>
          <a:xfrm>
            <a:off x="11525533" y="364133"/>
            <a:ext cx="365273" cy="304371"/>
          </a:xfrm>
          <a:custGeom>
            <a:avLst/>
            <a:gdLst/>
            <a:ahLst/>
            <a:cxnLst/>
            <a:rect l="l" t="t" r="r" b="b"/>
            <a:pathLst>
              <a:path w="251479" h="209550" extrusionOk="0">
                <a:moveTo>
                  <a:pt x="62932" y="0"/>
                </a:moveTo>
                <a:lnTo>
                  <a:pt x="59858" y="78"/>
                </a:lnTo>
                <a:lnTo>
                  <a:pt x="56847" y="326"/>
                </a:lnTo>
                <a:lnTo>
                  <a:pt x="53851" y="714"/>
                </a:lnTo>
                <a:lnTo>
                  <a:pt x="50901" y="1257"/>
                </a:lnTo>
                <a:lnTo>
                  <a:pt x="47998" y="1925"/>
                </a:lnTo>
                <a:lnTo>
                  <a:pt x="45142" y="2748"/>
                </a:lnTo>
                <a:lnTo>
                  <a:pt x="42348" y="3695"/>
                </a:lnTo>
                <a:lnTo>
                  <a:pt x="39600" y="4781"/>
                </a:lnTo>
                <a:lnTo>
                  <a:pt x="36915" y="5992"/>
                </a:lnTo>
                <a:lnTo>
                  <a:pt x="34291" y="7327"/>
                </a:lnTo>
                <a:lnTo>
                  <a:pt x="31730" y="8786"/>
                </a:lnTo>
                <a:lnTo>
                  <a:pt x="29246" y="10354"/>
                </a:lnTo>
                <a:lnTo>
                  <a:pt x="26840" y="12031"/>
                </a:lnTo>
                <a:lnTo>
                  <a:pt x="24511" y="13831"/>
                </a:lnTo>
                <a:lnTo>
                  <a:pt x="22261" y="15741"/>
                </a:lnTo>
                <a:lnTo>
                  <a:pt x="20087" y="17743"/>
                </a:lnTo>
                <a:lnTo>
                  <a:pt x="18023" y="19839"/>
                </a:lnTo>
                <a:lnTo>
                  <a:pt x="16036" y="22043"/>
                </a:lnTo>
                <a:lnTo>
                  <a:pt x="14157" y="24325"/>
                </a:lnTo>
                <a:lnTo>
                  <a:pt x="12372" y="26716"/>
                </a:lnTo>
                <a:lnTo>
                  <a:pt x="10696" y="29168"/>
                </a:lnTo>
                <a:lnTo>
                  <a:pt x="9112" y="31714"/>
                </a:lnTo>
                <a:lnTo>
                  <a:pt x="7653" y="34338"/>
                </a:lnTo>
                <a:lnTo>
                  <a:pt x="6318" y="37039"/>
                </a:lnTo>
                <a:lnTo>
                  <a:pt x="5092" y="39802"/>
                </a:lnTo>
                <a:lnTo>
                  <a:pt x="3990" y="42643"/>
                </a:lnTo>
                <a:lnTo>
                  <a:pt x="3012" y="45546"/>
                </a:lnTo>
                <a:lnTo>
                  <a:pt x="2173" y="48495"/>
                </a:lnTo>
                <a:lnTo>
                  <a:pt x="1459" y="51507"/>
                </a:lnTo>
                <a:lnTo>
                  <a:pt x="885" y="54580"/>
                </a:lnTo>
                <a:lnTo>
                  <a:pt x="450" y="57700"/>
                </a:lnTo>
                <a:lnTo>
                  <a:pt x="310" y="59268"/>
                </a:lnTo>
                <a:lnTo>
                  <a:pt x="186" y="60665"/>
                </a:lnTo>
                <a:lnTo>
                  <a:pt x="31" y="63475"/>
                </a:lnTo>
                <a:lnTo>
                  <a:pt x="0" y="66269"/>
                </a:lnTo>
                <a:lnTo>
                  <a:pt x="62" y="69063"/>
                </a:lnTo>
                <a:lnTo>
                  <a:pt x="217" y="71842"/>
                </a:lnTo>
                <a:lnTo>
                  <a:pt x="466" y="74605"/>
                </a:lnTo>
                <a:lnTo>
                  <a:pt x="823" y="77368"/>
                </a:lnTo>
                <a:lnTo>
                  <a:pt x="1257" y="80132"/>
                </a:lnTo>
                <a:lnTo>
                  <a:pt x="1801" y="82864"/>
                </a:lnTo>
                <a:lnTo>
                  <a:pt x="2422" y="85611"/>
                </a:lnTo>
                <a:lnTo>
                  <a:pt x="3120" y="88328"/>
                </a:lnTo>
                <a:lnTo>
                  <a:pt x="3912" y="91045"/>
                </a:lnTo>
                <a:lnTo>
                  <a:pt x="4781" y="93730"/>
                </a:lnTo>
                <a:lnTo>
                  <a:pt x="5728" y="96416"/>
                </a:lnTo>
                <a:lnTo>
                  <a:pt x="7280" y="100436"/>
                </a:lnTo>
                <a:lnTo>
                  <a:pt x="9609" y="105714"/>
                </a:lnTo>
                <a:lnTo>
                  <a:pt x="12201" y="110946"/>
                </a:lnTo>
                <a:lnTo>
                  <a:pt x="15058" y="116099"/>
                </a:lnTo>
                <a:lnTo>
                  <a:pt x="18147" y="121191"/>
                </a:lnTo>
                <a:lnTo>
                  <a:pt x="21438" y="126205"/>
                </a:lnTo>
                <a:lnTo>
                  <a:pt x="24931" y="131126"/>
                </a:lnTo>
                <a:lnTo>
                  <a:pt x="28594" y="135969"/>
                </a:lnTo>
                <a:lnTo>
                  <a:pt x="32413" y="140719"/>
                </a:lnTo>
                <a:lnTo>
                  <a:pt x="36371" y="145392"/>
                </a:lnTo>
                <a:lnTo>
                  <a:pt x="40454" y="149940"/>
                </a:lnTo>
                <a:lnTo>
                  <a:pt x="44630" y="154395"/>
                </a:lnTo>
                <a:lnTo>
                  <a:pt x="48883" y="158742"/>
                </a:lnTo>
                <a:lnTo>
                  <a:pt x="53199" y="162964"/>
                </a:lnTo>
                <a:lnTo>
                  <a:pt x="57545" y="167078"/>
                </a:lnTo>
                <a:lnTo>
                  <a:pt x="61938" y="171068"/>
                </a:lnTo>
                <a:lnTo>
                  <a:pt x="66316" y="174917"/>
                </a:lnTo>
                <a:lnTo>
                  <a:pt x="70678" y="178643"/>
                </a:lnTo>
                <a:lnTo>
                  <a:pt x="75024" y="182229"/>
                </a:lnTo>
                <a:lnTo>
                  <a:pt x="81420" y="187352"/>
                </a:lnTo>
                <a:lnTo>
                  <a:pt x="89663" y="193639"/>
                </a:lnTo>
                <a:lnTo>
                  <a:pt x="97425" y="199274"/>
                </a:lnTo>
                <a:lnTo>
                  <a:pt x="101057" y="201819"/>
                </a:lnTo>
                <a:lnTo>
                  <a:pt x="102454" y="202766"/>
                </a:lnTo>
                <a:lnTo>
                  <a:pt x="105342" y="204458"/>
                </a:lnTo>
                <a:lnTo>
                  <a:pt x="108338" y="205918"/>
                </a:lnTo>
                <a:lnTo>
                  <a:pt x="111396" y="207128"/>
                </a:lnTo>
                <a:lnTo>
                  <a:pt x="114516" y="208091"/>
                </a:lnTo>
                <a:lnTo>
                  <a:pt x="117683" y="208820"/>
                </a:lnTo>
                <a:lnTo>
                  <a:pt x="120896" y="209302"/>
                </a:lnTo>
                <a:lnTo>
                  <a:pt x="124125" y="209550"/>
                </a:lnTo>
                <a:lnTo>
                  <a:pt x="127354" y="209550"/>
                </a:lnTo>
                <a:lnTo>
                  <a:pt x="130583" y="209302"/>
                </a:lnTo>
                <a:lnTo>
                  <a:pt x="133796" y="208820"/>
                </a:lnTo>
                <a:lnTo>
                  <a:pt x="136963" y="208091"/>
                </a:lnTo>
                <a:lnTo>
                  <a:pt x="140098" y="207128"/>
                </a:lnTo>
                <a:lnTo>
                  <a:pt x="143156" y="205918"/>
                </a:lnTo>
                <a:lnTo>
                  <a:pt x="146137" y="204458"/>
                </a:lnTo>
                <a:lnTo>
                  <a:pt x="149024" y="202766"/>
                </a:lnTo>
                <a:lnTo>
                  <a:pt x="150421" y="201819"/>
                </a:lnTo>
                <a:lnTo>
                  <a:pt x="154038" y="199289"/>
                </a:lnTo>
                <a:lnTo>
                  <a:pt x="161769" y="193670"/>
                </a:lnTo>
                <a:lnTo>
                  <a:pt x="169981" y="187414"/>
                </a:lnTo>
                <a:lnTo>
                  <a:pt x="176361" y="182306"/>
                </a:lnTo>
                <a:lnTo>
                  <a:pt x="180676" y="178736"/>
                </a:lnTo>
                <a:lnTo>
                  <a:pt x="185023" y="175042"/>
                </a:lnTo>
                <a:lnTo>
                  <a:pt x="189385" y="171192"/>
                </a:lnTo>
                <a:lnTo>
                  <a:pt x="193763" y="167233"/>
                </a:lnTo>
                <a:lnTo>
                  <a:pt x="198094" y="163151"/>
                </a:lnTo>
                <a:lnTo>
                  <a:pt x="202394" y="158944"/>
                </a:lnTo>
                <a:lnTo>
                  <a:pt x="206647" y="154613"/>
                </a:lnTo>
                <a:lnTo>
                  <a:pt x="210807" y="150189"/>
                </a:lnTo>
                <a:lnTo>
                  <a:pt x="214874" y="145656"/>
                </a:lnTo>
                <a:lnTo>
                  <a:pt x="218817" y="141014"/>
                </a:lnTo>
                <a:lnTo>
                  <a:pt x="222636" y="136280"/>
                </a:lnTo>
                <a:lnTo>
                  <a:pt x="226300" y="131467"/>
                </a:lnTo>
                <a:lnTo>
                  <a:pt x="229792" y="126562"/>
                </a:lnTo>
                <a:lnTo>
                  <a:pt x="233083" y="121579"/>
                </a:lnTo>
                <a:lnTo>
                  <a:pt x="236173" y="116518"/>
                </a:lnTo>
                <a:lnTo>
                  <a:pt x="239044" y="111380"/>
                </a:lnTo>
                <a:lnTo>
                  <a:pt x="241652" y="106180"/>
                </a:lnTo>
                <a:lnTo>
                  <a:pt x="243996" y="100917"/>
                </a:lnTo>
                <a:lnTo>
                  <a:pt x="245564" y="96928"/>
                </a:lnTo>
                <a:lnTo>
                  <a:pt x="246527" y="94258"/>
                </a:lnTo>
                <a:lnTo>
                  <a:pt x="247396" y="91572"/>
                </a:lnTo>
                <a:lnTo>
                  <a:pt x="248203" y="88871"/>
                </a:lnTo>
                <a:lnTo>
                  <a:pt x="248917" y="86155"/>
                </a:lnTo>
                <a:lnTo>
                  <a:pt x="249554" y="83438"/>
                </a:lnTo>
                <a:lnTo>
                  <a:pt x="250112" y="80706"/>
                </a:lnTo>
                <a:lnTo>
                  <a:pt x="250563" y="77958"/>
                </a:lnTo>
                <a:lnTo>
                  <a:pt x="250935" y="75211"/>
                </a:lnTo>
                <a:lnTo>
                  <a:pt x="251215" y="72448"/>
                </a:lnTo>
                <a:lnTo>
                  <a:pt x="251385" y="69684"/>
                </a:lnTo>
                <a:lnTo>
                  <a:pt x="251479" y="66906"/>
                </a:lnTo>
                <a:lnTo>
                  <a:pt x="251463" y="64127"/>
                </a:lnTo>
                <a:lnTo>
                  <a:pt x="251339" y="61333"/>
                </a:lnTo>
                <a:lnTo>
                  <a:pt x="251230" y="59936"/>
                </a:lnTo>
                <a:lnTo>
                  <a:pt x="251199" y="59610"/>
                </a:lnTo>
                <a:lnTo>
                  <a:pt x="251184" y="59268"/>
                </a:lnTo>
                <a:lnTo>
                  <a:pt x="250966" y="57235"/>
                </a:lnTo>
                <a:lnTo>
                  <a:pt x="250361" y="53199"/>
                </a:lnTo>
                <a:lnTo>
                  <a:pt x="249507" y="49256"/>
                </a:lnTo>
                <a:lnTo>
                  <a:pt x="248436" y="45421"/>
                </a:lnTo>
                <a:lnTo>
                  <a:pt x="247132" y="41665"/>
                </a:lnTo>
                <a:lnTo>
                  <a:pt x="245626" y="38032"/>
                </a:lnTo>
                <a:lnTo>
                  <a:pt x="243919" y="34508"/>
                </a:lnTo>
                <a:lnTo>
                  <a:pt x="242009" y="31124"/>
                </a:lnTo>
                <a:lnTo>
                  <a:pt x="240969" y="29479"/>
                </a:lnTo>
                <a:lnTo>
                  <a:pt x="240209" y="28299"/>
                </a:lnTo>
                <a:lnTo>
                  <a:pt x="239401" y="27135"/>
                </a:lnTo>
                <a:lnTo>
                  <a:pt x="238594" y="26110"/>
                </a:lnTo>
                <a:lnTo>
                  <a:pt x="237244" y="24667"/>
                </a:lnTo>
                <a:lnTo>
                  <a:pt x="236281" y="23766"/>
                </a:lnTo>
                <a:lnTo>
                  <a:pt x="235784" y="23332"/>
                </a:lnTo>
                <a:lnTo>
                  <a:pt x="234837" y="22571"/>
                </a:lnTo>
                <a:lnTo>
                  <a:pt x="232882" y="21236"/>
                </a:lnTo>
                <a:lnTo>
                  <a:pt x="230832" y="20134"/>
                </a:lnTo>
                <a:lnTo>
                  <a:pt x="228690" y="19233"/>
                </a:lnTo>
                <a:lnTo>
                  <a:pt x="226517" y="18566"/>
                </a:lnTo>
                <a:lnTo>
                  <a:pt x="224297" y="18116"/>
                </a:lnTo>
                <a:lnTo>
                  <a:pt x="222046" y="17883"/>
                </a:lnTo>
                <a:lnTo>
                  <a:pt x="219795" y="17867"/>
                </a:lnTo>
                <a:lnTo>
                  <a:pt x="217544" y="18069"/>
                </a:lnTo>
                <a:lnTo>
                  <a:pt x="215325" y="18473"/>
                </a:lnTo>
                <a:lnTo>
                  <a:pt x="213167" y="19094"/>
                </a:lnTo>
                <a:lnTo>
                  <a:pt x="211056" y="19916"/>
                </a:lnTo>
                <a:lnTo>
                  <a:pt x="209007" y="20957"/>
                </a:lnTo>
                <a:lnTo>
                  <a:pt x="207082" y="22214"/>
                </a:lnTo>
                <a:lnTo>
                  <a:pt x="205250" y="23658"/>
                </a:lnTo>
                <a:lnTo>
                  <a:pt x="203542" y="25319"/>
                </a:lnTo>
                <a:lnTo>
                  <a:pt x="202751" y="26219"/>
                </a:lnTo>
                <a:lnTo>
                  <a:pt x="185504" y="46787"/>
                </a:lnTo>
                <a:lnTo>
                  <a:pt x="141775" y="98899"/>
                </a:lnTo>
                <a:lnTo>
                  <a:pt x="141232" y="99567"/>
                </a:lnTo>
                <a:lnTo>
                  <a:pt x="140285" y="100964"/>
                </a:lnTo>
                <a:lnTo>
                  <a:pt x="139508" y="102439"/>
                </a:lnTo>
                <a:lnTo>
                  <a:pt x="138903" y="103976"/>
                </a:lnTo>
                <a:lnTo>
                  <a:pt x="138468" y="105543"/>
                </a:lnTo>
                <a:lnTo>
                  <a:pt x="138189" y="107142"/>
                </a:lnTo>
                <a:lnTo>
                  <a:pt x="138065" y="108741"/>
                </a:lnTo>
                <a:lnTo>
                  <a:pt x="138111" y="110356"/>
                </a:lnTo>
                <a:lnTo>
                  <a:pt x="138329" y="111955"/>
                </a:lnTo>
                <a:lnTo>
                  <a:pt x="138701" y="113522"/>
                </a:lnTo>
                <a:lnTo>
                  <a:pt x="139229" y="115044"/>
                </a:lnTo>
                <a:lnTo>
                  <a:pt x="139912" y="116518"/>
                </a:lnTo>
                <a:lnTo>
                  <a:pt x="140750" y="117931"/>
                </a:lnTo>
                <a:lnTo>
                  <a:pt x="141759" y="119266"/>
                </a:lnTo>
                <a:lnTo>
                  <a:pt x="142908" y="120492"/>
                </a:lnTo>
                <a:lnTo>
                  <a:pt x="144212" y="121626"/>
                </a:lnTo>
                <a:lnTo>
                  <a:pt x="144926" y="122138"/>
                </a:lnTo>
                <a:lnTo>
                  <a:pt x="145438" y="122479"/>
                </a:lnTo>
                <a:lnTo>
                  <a:pt x="146494" y="123085"/>
                </a:lnTo>
                <a:lnTo>
                  <a:pt x="147581" y="123613"/>
                </a:lnTo>
                <a:lnTo>
                  <a:pt x="148698" y="124063"/>
                </a:lnTo>
                <a:lnTo>
                  <a:pt x="149863" y="124420"/>
                </a:lnTo>
                <a:lnTo>
                  <a:pt x="151042" y="124684"/>
                </a:lnTo>
                <a:lnTo>
                  <a:pt x="152238" y="124854"/>
                </a:lnTo>
                <a:lnTo>
                  <a:pt x="153448" y="124932"/>
                </a:lnTo>
                <a:lnTo>
                  <a:pt x="154069" y="124932"/>
                </a:lnTo>
                <a:lnTo>
                  <a:pt x="154939" y="124901"/>
                </a:lnTo>
                <a:lnTo>
                  <a:pt x="156662" y="124699"/>
                </a:lnTo>
                <a:lnTo>
                  <a:pt x="158338" y="124311"/>
                </a:lnTo>
                <a:lnTo>
                  <a:pt x="159937" y="123752"/>
                </a:lnTo>
                <a:lnTo>
                  <a:pt x="161459" y="123038"/>
                </a:lnTo>
                <a:lnTo>
                  <a:pt x="162902" y="122153"/>
                </a:lnTo>
                <a:lnTo>
                  <a:pt x="164253" y="121113"/>
                </a:lnTo>
                <a:lnTo>
                  <a:pt x="165495" y="119918"/>
                </a:lnTo>
                <a:lnTo>
                  <a:pt x="166053" y="119266"/>
                </a:lnTo>
                <a:lnTo>
                  <a:pt x="210357" y="66471"/>
                </a:lnTo>
                <a:lnTo>
                  <a:pt x="210668" y="66130"/>
                </a:lnTo>
                <a:lnTo>
                  <a:pt x="211366" y="65586"/>
                </a:lnTo>
                <a:lnTo>
                  <a:pt x="212142" y="65183"/>
                </a:lnTo>
                <a:lnTo>
                  <a:pt x="212965" y="64950"/>
                </a:lnTo>
                <a:lnTo>
                  <a:pt x="213819" y="64872"/>
                </a:lnTo>
                <a:lnTo>
                  <a:pt x="214673" y="64965"/>
                </a:lnTo>
                <a:lnTo>
                  <a:pt x="215495" y="65214"/>
                </a:lnTo>
                <a:lnTo>
                  <a:pt x="216272" y="65633"/>
                </a:lnTo>
                <a:lnTo>
                  <a:pt x="216644" y="65928"/>
                </a:lnTo>
                <a:lnTo>
                  <a:pt x="219252" y="68117"/>
                </a:lnTo>
                <a:lnTo>
                  <a:pt x="219578" y="68412"/>
                </a:lnTo>
                <a:lnTo>
                  <a:pt x="220137" y="69110"/>
                </a:lnTo>
                <a:lnTo>
                  <a:pt x="220525" y="69886"/>
                </a:lnTo>
                <a:lnTo>
                  <a:pt x="220773" y="70709"/>
                </a:lnTo>
                <a:lnTo>
                  <a:pt x="220835" y="71563"/>
                </a:lnTo>
                <a:lnTo>
                  <a:pt x="220758" y="72417"/>
                </a:lnTo>
                <a:lnTo>
                  <a:pt x="220494" y="73239"/>
                </a:lnTo>
                <a:lnTo>
                  <a:pt x="220075" y="74031"/>
                </a:lnTo>
                <a:lnTo>
                  <a:pt x="219795" y="74388"/>
                </a:lnTo>
                <a:lnTo>
                  <a:pt x="175492" y="127183"/>
                </a:lnTo>
                <a:lnTo>
                  <a:pt x="174560" y="128239"/>
                </a:lnTo>
                <a:lnTo>
                  <a:pt x="172573" y="130195"/>
                </a:lnTo>
                <a:lnTo>
                  <a:pt x="170431" y="131918"/>
                </a:lnTo>
                <a:lnTo>
                  <a:pt x="168134" y="133423"/>
                </a:lnTo>
                <a:lnTo>
                  <a:pt x="165696" y="134681"/>
                </a:lnTo>
                <a:lnTo>
                  <a:pt x="163151" y="135705"/>
                </a:lnTo>
                <a:lnTo>
                  <a:pt x="160512" y="136481"/>
                </a:lnTo>
                <a:lnTo>
                  <a:pt x="157764" y="136994"/>
                </a:lnTo>
                <a:lnTo>
                  <a:pt x="156367" y="137133"/>
                </a:lnTo>
                <a:lnTo>
                  <a:pt x="155109" y="137227"/>
                </a:lnTo>
                <a:lnTo>
                  <a:pt x="153868" y="137242"/>
                </a:lnTo>
                <a:lnTo>
                  <a:pt x="152626" y="137227"/>
                </a:lnTo>
                <a:lnTo>
                  <a:pt x="150189" y="137009"/>
                </a:lnTo>
                <a:lnTo>
                  <a:pt x="147782" y="136590"/>
                </a:lnTo>
                <a:lnTo>
                  <a:pt x="145438" y="135954"/>
                </a:lnTo>
                <a:lnTo>
                  <a:pt x="143141" y="135131"/>
                </a:lnTo>
                <a:lnTo>
                  <a:pt x="140937" y="134091"/>
                </a:lnTo>
                <a:lnTo>
                  <a:pt x="138810" y="132865"/>
                </a:lnTo>
                <a:lnTo>
                  <a:pt x="136776" y="131436"/>
                </a:lnTo>
                <a:lnTo>
                  <a:pt x="135814" y="130645"/>
                </a:lnTo>
                <a:lnTo>
                  <a:pt x="135255" y="130179"/>
                </a:lnTo>
                <a:lnTo>
                  <a:pt x="134200" y="129201"/>
                </a:lnTo>
                <a:lnTo>
                  <a:pt x="132725" y="127649"/>
                </a:lnTo>
                <a:lnTo>
                  <a:pt x="130986" y="125460"/>
                </a:lnTo>
                <a:lnTo>
                  <a:pt x="129496" y="123131"/>
                </a:lnTo>
                <a:lnTo>
                  <a:pt x="128254" y="120679"/>
                </a:lnTo>
                <a:lnTo>
                  <a:pt x="127245" y="118148"/>
                </a:lnTo>
                <a:lnTo>
                  <a:pt x="126500" y="115540"/>
                </a:lnTo>
                <a:lnTo>
                  <a:pt x="126019" y="112870"/>
                </a:lnTo>
                <a:lnTo>
                  <a:pt x="125786" y="110185"/>
                </a:lnTo>
                <a:lnTo>
                  <a:pt x="125801" y="107468"/>
                </a:lnTo>
                <a:lnTo>
                  <a:pt x="126081" y="104783"/>
                </a:lnTo>
                <a:lnTo>
                  <a:pt x="126624" y="102113"/>
                </a:lnTo>
                <a:lnTo>
                  <a:pt x="127431" y="99489"/>
                </a:lnTo>
                <a:lnTo>
                  <a:pt x="128487" y="96928"/>
                </a:lnTo>
                <a:lnTo>
                  <a:pt x="129822" y="94460"/>
                </a:lnTo>
                <a:lnTo>
                  <a:pt x="131017" y="92690"/>
                </a:lnTo>
                <a:lnTo>
                  <a:pt x="131887" y="91541"/>
                </a:lnTo>
                <a:lnTo>
                  <a:pt x="132337" y="90967"/>
                </a:lnTo>
                <a:lnTo>
                  <a:pt x="157966" y="60432"/>
                </a:lnTo>
                <a:lnTo>
                  <a:pt x="193312" y="18302"/>
                </a:lnTo>
                <a:lnTo>
                  <a:pt x="193856" y="17681"/>
                </a:lnTo>
                <a:lnTo>
                  <a:pt x="194958" y="16470"/>
                </a:lnTo>
                <a:lnTo>
                  <a:pt x="196697" y="14778"/>
                </a:lnTo>
                <a:lnTo>
                  <a:pt x="199149" y="12745"/>
                </a:lnTo>
                <a:lnTo>
                  <a:pt x="201757" y="10960"/>
                </a:lnTo>
                <a:lnTo>
                  <a:pt x="204474" y="9423"/>
                </a:lnTo>
                <a:lnTo>
                  <a:pt x="207299" y="8134"/>
                </a:lnTo>
                <a:lnTo>
                  <a:pt x="210217" y="7110"/>
                </a:lnTo>
                <a:lnTo>
                  <a:pt x="213198" y="6334"/>
                </a:lnTo>
                <a:lnTo>
                  <a:pt x="214704" y="6054"/>
                </a:lnTo>
                <a:lnTo>
                  <a:pt x="213105" y="5309"/>
                </a:lnTo>
                <a:lnTo>
                  <a:pt x="209860" y="3958"/>
                </a:lnTo>
                <a:lnTo>
                  <a:pt x="206523" y="2810"/>
                </a:lnTo>
                <a:lnTo>
                  <a:pt x="203108" y="1832"/>
                </a:lnTo>
                <a:lnTo>
                  <a:pt x="199630" y="1056"/>
                </a:lnTo>
                <a:lnTo>
                  <a:pt x="196091" y="497"/>
                </a:lnTo>
                <a:lnTo>
                  <a:pt x="192505" y="140"/>
                </a:lnTo>
                <a:lnTo>
                  <a:pt x="188857" y="0"/>
                </a:lnTo>
                <a:lnTo>
                  <a:pt x="187010" y="16"/>
                </a:lnTo>
                <a:lnTo>
                  <a:pt x="185737" y="47"/>
                </a:lnTo>
                <a:lnTo>
                  <a:pt x="183222" y="202"/>
                </a:lnTo>
                <a:lnTo>
                  <a:pt x="180723" y="450"/>
                </a:lnTo>
                <a:lnTo>
                  <a:pt x="178255" y="776"/>
                </a:lnTo>
                <a:lnTo>
                  <a:pt x="175802" y="1195"/>
                </a:lnTo>
                <a:lnTo>
                  <a:pt x="173380" y="1708"/>
                </a:lnTo>
                <a:lnTo>
                  <a:pt x="171005" y="2313"/>
                </a:lnTo>
                <a:lnTo>
                  <a:pt x="168646" y="2996"/>
                </a:lnTo>
                <a:lnTo>
                  <a:pt x="166317" y="3757"/>
                </a:lnTo>
                <a:lnTo>
                  <a:pt x="164035" y="4610"/>
                </a:lnTo>
                <a:lnTo>
                  <a:pt x="161800" y="5542"/>
                </a:lnTo>
                <a:lnTo>
                  <a:pt x="159596" y="6551"/>
                </a:lnTo>
                <a:lnTo>
                  <a:pt x="157422" y="7638"/>
                </a:lnTo>
                <a:lnTo>
                  <a:pt x="155311" y="8786"/>
                </a:lnTo>
                <a:lnTo>
                  <a:pt x="153247" y="10028"/>
                </a:lnTo>
                <a:lnTo>
                  <a:pt x="151213" y="11332"/>
                </a:lnTo>
                <a:lnTo>
                  <a:pt x="149257" y="12714"/>
                </a:lnTo>
                <a:lnTo>
                  <a:pt x="147332" y="14157"/>
                </a:lnTo>
                <a:lnTo>
                  <a:pt x="145469" y="15679"/>
                </a:lnTo>
                <a:lnTo>
                  <a:pt x="143669" y="17262"/>
                </a:lnTo>
                <a:lnTo>
                  <a:pt x="141930" y="18907"/>
                </a:lnTo>
                <a:lnTo>
                  <a:pt x="140254" y="20615"/>
                </a:lnTo>
                <a:lnTo>
                  <a:pt x="138624" y="22385"/>
                </a:lnTo>
                <a:lnTo>
                  <a:pt x="137071" y="24216"/>
                </a:lnTo>
                <a:lnTo>
                  <a:pt x="135597" y="26095"/>
                </a:lnTo>
                <a:lnTo>
                  <a:pt x="134184" y="28035"/>
                </a:lnTo>
                <a:lnTo>
                  <a:pt x="132833" y="30038"/>
                </a:lnTo>
                <a:lnTo>
                  <a:pt x="131561" y="32102"/>
                </a:lnTo>
                <a:lnTo>
                  <a:pt x="130381" y="34198"/>
                </a:lnTo>
                <a:lnTo>
                  <a:pt x="129263" y="36356"/>
                </a:lnTo>
                <a:lnTo>
                  <a:pt x="128223" y="38560"/>
                </a:lnTo>
                <a:lnTo>
                  <a:pt x="127276" y="40826"/>
                </a:lnTo>
                <a:lnTo>
                  <a:pt x="126841" y="41960"/>
                </a:lnTo>
                <a:lnTo>
                  <a:pt x="126717" y="42270"/>
                </a:lnTo>
                <a:lnTo>
                  <a:pt x="126469" y="42720"/>
                </a:lnTo>
                <a:lnTo>
                  <a:pt x="126205" y="42969"/>
                </a:lnTo>
                <a:lnTo>
                  <a:pt x="125910" y="43062"/>
                </a:lnTo>
                <a:lnTo>
                  <a:pt x="125739" y="43077"/>
                </a:lnTo>
                <a:lnTo>
                  <a:pt x="125569" y="43062"/>
                </a:lnTo>
                <a:lnTo>
                  <a:pt x="125274" y="42969"/>
                </a:lnTo>
                <a:lnTo>
                  <a:pt x="125010" y="42720"/>
                </a:lnTo>
                <a:lnTo>
                  <a:pt x="124761" y="42270"/>
                </a:lnTo>
                <a:lnTo>
                  <a:pt x="124637" y="41960"/>
                </a:lnTo>
                <a:lnTo>
                  <a:pt x="124202" y="40826"/>
                </a:lnTo>
                <a:lnTo>
                  <a:pt x="123256" y="38560"/>
                </a:lnTo>
                <a:lnTo>
                  <a:pt x="122215" y="36356"/>
                </a:lnTo>
                <a:lnTo>
                  <a:pt x="121098" y="34198"/>
                </a:lnTo>
                <a:lnTo>
                  <a:pt x="119918" y="32102"/>
                </a:lnTo>
                <a:lnTo>
                  <a:pt x="118645" y="30038"/>
                </a:lnTo>
                <a:lnTo>
                  <a:pt x="117295" y="28035"/>
                </a:lnTo>
                <a:lnTo>
                  <a:pt x="115882" y="26095"/>
                </a:lnTo>
                <a:lnTo>
                  <a:pt x="114407" y="24216"/>
                </a:lnTo>
                <a:lnTo>
                  <a:pt x="112855" y="22385"/>
                </a:lnTo>
                <a:lnTo>
                  <a:pt x="111225" y="20615"/>
                </a:lnTo>
                <a:lnTo>
                  <a:pt x="109548" y="18907"/>
                </a:lnTo>
                <a:lnTo>
                  <a:pt x="107810" y="17262"/>
                </a:lnTo>
                <a:lnTo>
                  <a:pt x="106009" y="15679"/>
                </a:lnTo>
                <a:lnTo>
                  <a:pt x="104146" y="14157"/>
                </a:lnTo>
                <a:lnTo>
                  <a:pt x="102221" y="12714"/>
                </a:lnTo>
                <a:lnTo>
                  <a:pt x="100265" y="11332"/>
                </a:lnTo>
                <a:lnTo>
                  <a:pt x="98232" y="10028"/>
                </a:lnTo>
                <a:lnTo>
                  <a:pt x="96167" y="8786"/>
                </a:lnTo>
                <a:lnTo>
                  <a:pt x="94056" y="7638"/>
                </a:lnTo>
                <a:lnTo>
                  <a:pt x="91883" y="6551"/>
                </a:lnTo>
                <a:lnTo>
                  <a:pt x="89678" y="5542"/>
                </a:lnTo>
                <a:lnTo>
                  <a:pt x="87443" y="4610"/>
                </a:lnTo>
                <a:lnTo>
                  <a:pt x="85161" y="3757"/>
                </a:lnTo>
                <a:lnTo>
                  <a:pt x="82833" y="2996"/>
                </a:lnTo>
                <a:lnTo>
                  <a:pt x="80473" y="2313"/>
                </a:lnTo>
                <a:lnTo>
                  <a:pt x="78098" y="1708"/>
                </a:lnTo>
                <a:lnTo>
                  <a:pt x="75676" y="1195"/>
                </a:lnTo>
                <a:lnTo>
                  <a:pt x="73224" y="776"/>
                </a:lnTo>
                <a:lnTo>
                  <a:pt x="70756" y="450"/>
                </a:lnTo>
                <a:lnTo>
                  <a:pt x="68256" y="202"/>
                </a:lnTo>
                <a:lnTo>
                  <a:pt x="65741" y="47"/>
                </a:lnTo>
                <a:lnTo>
                  <a:pt x="64469" y="16"/>
                </a:lnTo>
                <a:lnTo>
                  <a:pt x="62932" y="0"/>
                </a:lnTo>
                <a:close/>
              </a:path>
            </a:pathLst>
          </a:custGeom>
          <a:solidFill>
            <a:srgbClr val="F7224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96855578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tile - revised">
  <p:cSld name="Ttile - revised">
    <p:bg>
      <p:bgPr>
        <a:solidFill>
          <a:schemeClr val="lt1"/>
        </a:solidFill>
        <a:effectLst/>
      </p:bgPr>
    </p:bg>
    <p:spTree>
      <p:nvGrpSpPr>
        <p:cNvPr id="1" name="Shape 4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0" name="Google Shape;490;p34"/>
          <p:cNvSpPr/>
          <p:nvPr/>
        </p:nvSpPr>
        <p:spPr>
          <a:xfrm rot="10800000">
            <a:off x="-24" y="0"/>
            <a:ext cx="9826500" cy="10329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91" name="Google Shape;491;p34"/>
          <p:cNvSpPr/>
          <p:nvPr/>
        </p:nvSpPr>
        <p:spPr>
          <a:xfrm>
            <a:off x="-23600" y="0"/>
            <a:ext cx="1266300" cy="10329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92" name="Google Shape;492;p34"/>
          <p:cNvSpPr txBox="1">
            <a:spLocks noGrp="1"/>
          </p:cNvSpPr>
          <p:nvPr>
            <p:ph type="title"/>
          </p:nvPr>
        </p:nvSpPr>
        <p:spPr>
          <a:xfrm>
            <a:off x="415600" y="398067"/>
            <a:ext cx="101241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1pPr>
            <a:lvl2pPr lvl="1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2pPr>
            <a:lvl3pPr lvl="2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3pPr>
            <a:lvl4pPr lvl="3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4pPr>
            <a:lvl5pPr lvl="4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5pPr>
            <a:lvl6pPr lvl="5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6pPr>
            <a:lvl7pPr lvl="6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7pPr>
            <a:lvl8pPr lvl="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8pPr>
            <a:lvl9pPr lvl="8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493" name="Google Shape;493;p34"/>
          <p:cNvSpPr/>
          <p:nvPr/>
        </p:nvSpPr>
        <p:spPr>
          <a:xfrm>
            <a:off x="11525533" y="364133"/>
            <a:ext cx="365273" cy="304371"/>
          </a:xfrm>
          <a:custGeom>
            <a:avLst/>
            <a:gdLst/>
            <a:ahLst/>
            <a:cxnLst/>
            <a:rect l="l" t="t" r="r" b="b"/>
            <a:pathLst>
              <a:path w="251479" h="209550" extrusionOk="0">
                <a:moveTo>
                  <a:pt x="62932" y="0"/>
                </a:moveTo>
                <a:lnTo>
                  <a:pt x="59858" y="78"/>
                </a:lnTo>
                <a:lnTo>
                  <a:pt x="56847" y="326"/>
                </a:lnTo>
                <a:lnTo>
                  <a:pt x="53851" y="714"/>
                </a:lnTo>
                <a:lnTo>
                  <a:pt x="50901" y="1257"/>
                </a:lnTo>
                <a:lnTo>
                  <a:pt x="47998" y="1925"/>
                </a:lnTo>
                <a:lnTo>
                  <a:pt x="45142" y="2748"/>
                </a:lnTo>
                <a:lnTo>
                  <a:pt x="42348" y="3695"/>
                </a:lnTo>
                <a:lnTo>
                  <a:pt x="39600" y="4781"/>
                </a:lnTo>
                <a:lnTo>
                  <a:pt x="36915" y="5992"/>
                </a:lnTo>
                <a:lnTo>
                  <a:pt x="34291" y="7327"/>
                </a:lnTo>
                <a:lnTo>
                  <a:pt x="31730" y="8786"/>
                </a:lnTo>
                <a:lnTo>
                  <a:pt x="29246" y="10354"/>
                </a:lnTo>
                <a:lnTo>
                  <a:pt x="26840" y="12031"/>
                </a:lnTo>
                <a:lnTo>
                  <a:pt x="24511" y="13831"/>
                </a:lnTo>
                <a:lnTo>
                  <a:pt x="22261" y="15741"/>
                </a:lnTo>
                <a:lnTo>
                  <a:pt x="20087" y="17743"/>
                </a:lnTo>
                <a:lnTo>
                  <a:pt x="18023" y="19839"/>
                </a:lnTo>
                <a:lnTo>
                  <a:pt x="16036" y="22043"/>
                </a:lnTo>
                <a:lnTo>
                  <a:pt x="14157" y="24325"/>
                </a:lnTo>
                <a:lnTo>
                  <a:pt x="12372" y="26716"/>
                </a:lnTo>
                <a:lnTo>
                  <a:pt x="10696" y="29168"/>
                </a:lnTo>
                <a:lnTo>
                  <a:pt x="9112" y="31714"/>
                </a:lnTo>
                <a:lnTo>
                  <a:pt x="7653" y="34338"/>
                </a:lnTo>
                <a:lnTo>
                  <a:pt x="6318" y="37039"/>
                </a:lnTo>
                <a:lnTo>
                  <a:pt x="5092" y="39802"/>
                </a:lnTo>
                <a:lnTo>
                  <a:pt x="3990" y="42643"/>
                </a:lnTo>
                <a:lnTo>
                  <a:pt x="3012" y="45546"/>
                </a:lnTo>
                <a:lnTo>
                  <a:pt x="2173" y="48495"/>
                </a:lnTo>
                <a:lnTo>
                  <a:pt x="1459" y="51507"/>
                </a:lnTo>
                <a:lnTo>
                  <a:pt x="885" y="54580"/>
                </a:lnTo>
                <a:lnTo>
                  <a:pt x="450" y="57700"/>
                </a:lnTo>
                <a:lnTo>
                  <a:pt x="310" y="59268"/>
                </a:lnTo>
                <a:lnTo>
                  <a:pt x="186" y="60665"/>
                </a:lnTo>
                <a:lnTo>
                  <a:pt x="31" y="63475"/>
                </a:lnTo>
                <a:lnTo>
                  <a:pt x="0" y="66269"/>
                </a:lnTo>
                <a:lnTo>
                  <a:pt x="62" y="69063"/>
                </a:lnTo>
                <a:lnTo>
                  <a:pt x="217" y="71842"/>
                </a:lnTo>
                <a:lnTo>
                  <a:pt x="466" y="74605"/>
                </a:lnTo>
                <a:lnTo>
                  <a:pt x="823" y="77368"/>
                </a:lnTo>
                <a:lnTo>
                  <a:pt x="1257" y="80132"/>
                </a:lnTo>
                <a:lnTo>
                  <a:pt x="1801" y="82864"/>
                </a:lnTo>
                <a:lnTo>
                  <a:pt x="2422" y="85611"/>
                </a:lnTo>
                <a:lnTo>
                  <a:pt x="3120" y="88328"/>
                </a:lnTo>
                <a:lnTo>
                  <a:pt x="3912" y="91045"/>
                </a:lnTo>
                <a:lnTo>
                  <a:pt x="4781" y="93730"/>
                </a:lnTo>
                <a:lnTo>
                  <a:pt x="5728" y="96416"/>
                </a:lnTo>
                <a:lnTo>
                  <a:pt x="7280" y="100436"/>
                </a:lnTo>
                <a:lnTo>
                  <a:pt x="9609" y="105714"/>
                </a:lnTo>
                <a:lnTo>
                  <a:pt x="12201" y="110946"/>
                </a:lnTo>
                <a:lnTo>
                  <a:pt x="15058" y="116099"/>
                </a:lnTo>
                <a:lnTo>
                  <a:pt x="18147" y="121191"/>
                </a:lnTo>
                <a:lnTo>
                  <a:pt x="21438" y="126205"/>
                </a:lnTo>
                <a:lnTo>
                  <a:pt x="24931" y="131126"/>
                </a:lnTo>
                <a:lnTo>
                  <a:pt x="28594" y="135969"/>
                </a:lnTo>
                <a:lnTo>
                  <a:pt x="32413" y="140719"/>
                </a:lnTo>
                <a:lnTo>
                  <a:pt x="36371" y="145392"/>
                </a:lnTo>
                <a:lnTo>
                  <a:pt x="40454" y="149940"/>
                </a:lnTo>
                <a:lnTo>
                  <a:pt x="44630" y="154395"/>
                </a:lnTo>
                <a:lnTo>
                  <a:pt x="48883" y="158742"/>
                </a:lnTo>
                <a:lnTo>
                  <a:pt x="53199" y="162964"/>
                </a:lnTo>
                <a:lnTo>
                  <a:pt x="57545" y="167078"/>
                </a:lnTo>
                <a:lnTo>
                  <a:pt x="61938" y="171068"/>
                </a:lnTo>
                <a:lnTo>
                  <a:pt x="66316" y="174917"/>
                </a:lnTo>
                <a:lnTo>
                  <a:pt x="70678" y="178643"/>
                </a:lnTo>
                <a:lnTo>
                  <a:pt x="75024" y="182229"/>
                </a:lnTo>
                <a:lnTo>
                  <a:pt x="81420" y="187352"/>
                </a:lnTo>
                <a:lnTo>
                  <a:pt x="89663" y="193639"/>
                </a:lnTo>
                <a:lnTo>
                  <a:pt x="97425" y="199274"/>
                </a:lnTo>
                <a:lnTo>
                  <a:pt x="101057" y="201819"/>
                </a:lnTo>
                <a:lnTo>
                  <a:pt x="102454" y="202766"/>
                </a:lnTo>
                <a:lnTo>
                  <a:pt x="105342" y="204458"/>
                </a:lnTo>
                <a:lnTo>
                  <a:pt x="108338" y="205918"/>
                </a:lnTo>
                <a:lnTo>
                  <a:pt x="111396" y="207128"/>
                </a:lnTo>
                <a:lnTo>
                  <a:pt x="114516" y="208091"/>
                </a:lnTo>
                <a:lnTo>
                  <a:pt x="117683" y="208820"/>
                </a:lnTo>
                <a:lnTo>
                  <a:pt x="120896" y="209302"/>
                </a:lnTo>
                <a:lnTo>
                  <a:pt x="124125" y="209550"/>
                </a:lnTo>
                <a:lnTo>
                  <a:pt x="127354" y="209550"/>
                </a:lnTo>
                <a:lnTo>
                  <a:pt x="130583" y="209302"/>
                </a:lnTo>
                <a:lnTo>
                  <a:pt x="133796" y="208820"/>
                </a:lnTo>
                <a:lnTo>
                  <a:pt x="136963" y="208091"/>
                </a:lnTo>
                <a:lnTo>
                  <a:pt x="140098" y="207128"/>
                </a:lnTo>
                <a:lnTo>
                  <a:pt x="143156" y="205918"/>
                </a:lnTo>
                <a:lnTo>
                  <a:pt x="146137" y="204458"/>
                </a:lnTo>
                <a:lnTo>
                  <a:pt x="149024" y="202766"/>
                </a:lnTo>
                <a:lnTo>
                  <a:pt x="150421" y="201819"/>
                </a:lnTo>
                <a:lnTo>
                  <a:pt x="154038" y="199289"/>
                </a:lnTo>
                <a:lnTo>
                  <a:pt x="161769" y="193670"/>
                </a:lnTo>
                <a:lnTo>
                  <a:pt x="169981" y="187414"/>
                </a:lnTo>
                <a:lnTo>
                  <a:pt x="176361" y="182306"/>
                </a:lnTo>
                <a:lnTo>
                  <a:pt x="180676" y="178736"/>
                </a:lnTo>
                <a:lnTo>
                  <a:pt x="185023" y="175042"/>
                </a:lnTo>
                <a:lnTo>
                  <a:pt x="189385" y="171192"/>
                </a:lnTo>
                <a:lnTo>
                  <a:pt x="193763" y="167233"/>
                </a:lnTo>
                <a:lnTo>
                  <a:pt x="198094" y="163151"/>
                </a:lnTo>
                <a:lnTo>
                  <a:pt x="202394" y="158944"/>
                </a:lnTo>
                <a:lnTo>
                  <a:pt x="206647" y="154613"/>
                </a:lnTo>
                <a:lnTo>
                  <a:pt x="210807" y="150189"/>
                </a:lnTo>
                <a:lnTo>
                  <a:pt x="214874" y="145656"/>
                </a:lnTo>
                <a:lnTo>
                  <a:pt x="218817" y="141014"/>
                </a:lnTo>
                <a:lnTo>
                  <a:pt x="222636" y="136280"/>
                </a:lnTo>
                <a:lnTo>
                  <a:pt x="226300" y="131467"/>
                </a:lnTo>
                <a:lnTo>
                  <a:pt x="229792" y="126562"/>
                </a:lnTo>
                <a:lnTo>
                  <a:pt x="233083" y="121579"/>
                </a:lnTo>
                <a:lnTo>
                  <a:pt x="236173" y="116518"/>
                </a:lnTo>
                <a:lnTo>
                  <a:pt x="239044" y="111380"/>
                </a:lnTo>
                <a:lnTo>
                  <a:pt x="241652" y="106180"/>
                </a:lnTo>
                <a:lnTo>
                  <a:pt x="243996" y="100917"/>
                </a:lnTo>
                <a:lnTo>
                  <a:pt x="245564" y="96928"/>
                </a:lnTo>
                <a:lnTo>
                  <a:pt x="246527" y="94258"/>
                </a:lnTo>
                <a:lnTo>
                  <a:pt x="247396" y="91572"/>
                </a:lnTo>
                <a:lnTo>
                  <a:pt x="248203" y="88871"/>
                </a:lnTo>
                <a:lnTo>
                  <a:pt x="248917" y="86155"/>
                </a:lnTo>
                <a:lnTo>
                  <a:pt x="249554" y="83438"/>
                </a:lnTo>
                <a:lnTo>
                  <a:pt x="250112" y="80706"/>
                </a:lnTo>
                <a:lnTo>
                  <a:pt x="250563" y="77958"/>
                </a:lnTo>
                <a:lnTo>
                  <a:pt x="250935" y="75211"/>
                </a:lnTo>
                <a:lnTo>
                  <a:pt x="251215" y="72448"/>
                </a:lnTo>
                <a:lnTo>
                  <a:pt x="251385" y="69684"/>
                </a:lnTo>
                <a:lnTo>
                  <a:pt x="251479" y="66906"/>
                </a:lnTo>
                <a:lnTo>
                  <a:pt x="251463" y="64127"/>
                </a:lnTo>
                <a:lnTo>
                  <a:pt x="251339" y="61333"/>
                </a:lnTo>
                <a:lnTo>
                  <a:pt x="251230" y="59936"/>
                </a:lnTo>
                <a:lnTo>
                  <a:pt x="251199" y="59610"/>
                </a:lnTo>
                <a:lnTo>
                  <a:pt x="251184" y="59268"/>
                </a:lnTo>
                <a:lnTo>
                  <a:pt x="250966" y="57235"/>
                </a:lnTo>
                <a:lnTo>
                  <a:pt x="250361" y="53199"/>
                </a:lnTo>
                <a:lnTo>
                  <a:pt x="249507" y="49256"/>
                </a:lnTo>
                <a:lnTo>
                  <a:pt x="248436" y="45421"/>
                </a:lnTo>
                <a:lnTo>
                  <a:pt x="247132" y="41665"/>
                </a:lnTo>
                <a:lnTo>
                  <a:pt x="245626" y="38032"/>
                </a:lnTo>
                <a:lnTo>
                  <a:pt x="243919" y="34508"/>
                </a:lnTo>
                <a:lnTo>
                  <a:pt x="242009" y="31124"/>
                </a:lnTo>
                <a:lnTo>
                  <a:pt x="240969" y="29479"/>
                </a:lnTo>
                <a:lnTo>
                  <a:pt x="240209" y="28299"/>
                </a:lnTo>
                <a:lnTo>
                  <a:pt x="239401" y="27135"/>
                </a:lnTo>
                <a:lnTo>
                  <a:pt x="238594" y="26110"/>
                </a:lnTo>
                <a:lnTo>
                  <a:pt x="237244" y="24667"/>
                </a:lnTo>
                <a:lnTo>
                  <a:pt x="236281" y="23766"/>
                </a:lnTo>
                <a:lnTo>
                  <a:pt x="235784" y="23332"/>
                </a:lnTo>
                <a:lnTo>
                  <a:pt x="234837" y="22571"/>
                </a:lnTo>
                <a:lnTo>
                  <a:pt x="232882" y="21236"/>
                </a:lnTo>
                <a:lnTo>
                  <a:pt x="230832" y="20134"/>
                </a:lnTo>
                <a:lnTo>
                  <a:pt x="228690" y="19233"/>
                </a:lnTo>
                <a:lnTo>
                  <a:pt x="226517" y="18566"/>
                </a:lnTo>
                <a:lnTo>
                  <a:pt x="224297" y="18116"/>
                </a:lnTo>
                <a:lnTo>
                  <a:pt x="222046" y="17883"/>
                </a:lnTo>
                <a:lnTo>
                  <a:pt x="219795" y="17867"/>
                </a:lnTo>
                <a:lnTo>
                  <a:pt x="217544" y="18069"/>
                </a:lnTo>
                <a:lnTo>
                  <a:pt x="215325" y="18473"/>
                </a:lnTo>
                <a:lnTo>
                  <a:pt x="213167" y="19094"/>
                </a:lnTo>
                <a:lnTo>
                  <a:pt x="211056" y="19916"/>
                </a:lnTo>
                <a:lnTo>
                  <a:pt x="209007" y="20957"/>
                </a:lnTo>
                <a:lnTo>
                  <a:pt x="207082" y="22214"/>
                </a:lnTo>
                <a:lnTo>
                  <a:pt x="205250" y="23658"/>
                </a:lnTo>
                <a:lnTo>
                  <a:pt x="203542" y="25319"/>
                </a:lnTo>
                <a:lnTo>
                  <a:pt x="202751" y="26219"/>
                </a:lnTo>
                <a:lnTo>
                  <a:pt x="185504" y="46787"/>
                </a:lnTo>
                <a:lnTo>
                  <a:pt x="141775" y="98899"/>
                </a:lnTo>
                <a:lnTo>
                  <a:pt x="141232" y="99567"/>
                </a:lnTo>
                <a:lnTo>
                  <a:pt x="140285" y="100964"/>
                </a:lnTo>
                <a:lnTo>
                  <a:pt x="139508" y="102439"/>
                </a:lnTo>
                <a:lnTo>
                  <a:pt x="138903" y="103976"/>
                </a:lnTo>
                <a:lnTo>
                  <a:pt x="138468" y="105543"/>
                </a:lnTo>
                <a:lnTo>
                  <a:pt x="138189" y="107142"/>
                </a:lnTo>
                <a:lnTo>
                  <a:pt x="138065" y="108741"/>
                </a:lnTo>
                <a:lnTo>
                  <a:pt x="138111" y="110356"/>
                </a:lnTo>
                <a:lnTo>
                  <a:pt x="138329" y="111955"/>
                </a:lnTo>
                <a:lnTo>
                  <a:pt x="138701" y="113522"/>
                </a:lnTo>
                <a:lnTo>
                  <a:pt x="139229" y="115044"/>
                </a:lnTo>
                <a:lnTo>
                  <a:pt x="139912" y="116518"/>
                </a:lnTo>
                <a:lnTo>
                  <a:pt x="140750" y="117931"/>
                </a:lnTo>
                <a:lnTo>
                  <a:pt x="141759" y="119266"/>
                </a:lnTo>
                <a:lnTo>
                  <a:pt x="142908" y="120492"/>
                </a:lnTo>
                <a:lnTo>
                  <a:pt x="144212" y="121626"/>
                </a:lnTo>
                <a:lnTo>
                  <a:pt x="144926" y="122138"/>
                </a:lnTo>
                <a:lnTo>
                  <a:pt x="145438" y="122479"/>
                </a:lnTo>
                <a:lnTo>
                  <a:pt x="146494" y="123085"/>
                </a:lnTo>
                <a:lnTo>
                  <a:pt x="147581" y="123613"/>
                </a:lnTo>
                <a:lnTo>
                  <a:pt x="148698" y="124063"/>
                </a:lnTo>
                <a:lnTo>
                  <a:pt x="149863" y="124420"/>
                </a:lnTo>
                <a:lnTo>
                  <a:pt x="151042" y="124684"/>
                </a:lnTo>
                <a:lnTo>
                  <a:pt x="152238" y="124854"/>
                </a:lnTo>
                <a:lnTo>
                  <a:pt x="153448" y="124932"/>
                </a:lnTo>
                <a:lnTo>
                  <a:pt x="154069" y="124932"/>
                </a:lnTo>
                <a:lnTo>
                  <a:pt x="154939" y="124901"/>
                </a:lnTo>
                <a:lnTo>
                  <a:pt x="156662" y="124699"/>
                </a:lnTo>
                <a:lnTo>
                  <a:pt x="158338" y="124311"/>
                </a:lnTo>
                <a:lnTo>
                  <a:pt x="159937" y="123752"/>
                </a:lnTo>
                <a:lnTo>
                  <a:pt x="161459" y="123038"/>
                </a:lnTo>
                <a:lnTo>
                  <a:pt x="162902" y="122153"/>
                </a:lnTo>
                <a:lnTo>
                  <a:pt x="164253" y="121113"/>
                </a:lnTo>
                <a:lnTo>
                  <a:pt x="165495" y="119918"/>
                </a:lnTo>
                <a:lnTo>
                  <a:pt x="166053" y="119266"/>
                </a:lnTo>
                <a:lnTo>
                  <a:pt x="210357" y="66471"/>
                </a:lnTo>
                <a:lnTo>
                  <a:pt x="210668" y="66130"/>
                </a:lnTo>
                <a:lnTo>
                  <a:pt x="211366" y="65586"/>
                </a:lnTo>
                <a:lnTo>
                  <a:pt x="212142" y="65183"/>
                </a:lnTo>
                <a:lnTo>
                  <a:pt x="212965" y="64950"/>
                </a:lnTo>
                <a:lnTo>
                  <a:pt x="213819" y="64872"/>
                </a:lnTo>
                <a:lnTo>
                  <a:pt x="214673" y="64965"/>
                </a:lnTo>
                <a:lnTo>
                  <a:pt x="215495" y="65214"/>
                </a:lnTo>
                <a:lnTo>
                  <a:pt x="216272" y="65633"/>
                </a:lnTo>
                <a:lnTo>
                  <a:pt x="216644" y="65928"/>
                </a:lnTo>
                <a:lnTo>
                  <a:pt x="219252" y="68117"/>
                </a:lnTo>
                <a:lnTo>
                  <a:pt x="219578" y="68412"/>
                </a:lnTo>
                <a:lnTo>
                  <a:pt x="220137" y="69110"/>
                </a:lnTo>
                <a:lnTo>
                  <a:pt x="220525" y="69886"/>
                </a:lnTo>
                <a:lnTo>
                  <a:pt x="220773" y="70709"/>
                </a:lnTo>
                <a:lnTo>
                  <a:pt x="220835" y="71563"/>
                </a:lnTo>
                <a:lnTo>
                  <a:pt x="220758" y="72417"/>
                </a:lnTo>
                <a:lnTo>
                  <a:pt x="220494" y="73239"/>
                </a:lnTo>
                <a:lnTo>
                  <a:pt x="220075" y="74031"/>
                </a:lnTo>
                <a:lnTo>
                  <a:pt x="219795" y="74388"/>
                </a:lnTo>
                <a:lnTo>
                  <a:pt x="175492" y="127183"/>
                </a:lnTo>
                <a:lnTo>
                  <a:pt x="174560" y="128239"/>
                </a:lnTo>
                <a:lnTo>
                  <a:pt x="172573" y="130195"/>
                </a:lnTo>
                <a:lnTo>
                  <a:pt x="170431" y="131918"/>
                </a:lnTo>
                <a:lnTo>
                  <a:pt x="168134" y="133423"/>
                </a:lnTo>
                <a:lnTo>
                  <a:pt x="165696" y="134681"/>
                </a:lnTo>
                <a:lnTo>
                  <a:pt x="163151" y="135705"/>
                </a:lnTo>
                <a:lnTo>
                  <a:pt x="160512" y="136481"/>
                </a:lnTo>
                <a:lnTo>
                  <a:pt x="157764" y="136994"/>
                </a:lnTo>
                <a:lnTo>
                  <a:pt x="156367" y="137133"/>
                </a:lnTo>
                <a:lnTo>
                  <a:pt x="155109" y="137227"/>
                </a:lnTo>
                <a:lnTo>
                  <a:pt x="153868" y="137242"/>
                </a:lnTo>
                <a:lnTo>
                  <a:pt x="152626" y="137227"/>
                </a:lnTo>
                <a:lnTo>
                  <a:pt x="150189" y="137009"/>
                </a:lnTo>
                <a:lnTo>
                  <a:pt x="147782" y="136590"/>
                </a:lnTo>
                <a:lnTo>
                  <a:pt x="145438" y="135954"/>
                </a:lnTo>
                <a:lnTo>
                  <a:pt x="143141" y="135131"/>
                </a:lnTo>
                <a:lnTo>
                  <a:pt x="140937" y="134091"/>
                </a:lnTo>
                <a:lnTo>
                  <a:pt x="138810" y="132865"/>
                </a:lnTo>
                <a:lnTo>
                  <a:pt x="136776" y="131436"/>
                </a:lnTo>
                <a:lnTo>
                  <a:pt x="135814" y="130645"/>
                </a:lnTo>
                <a:lnTo>
                  <a:pt x="135255" y="130179"/>
                </a:lnTo>
                <a:lnTo>
                  <a:pt x="134200" y="129201"/>
                </a:lnTo>
                <a:lnTo>
                  <a:pt x="132725" y="127649"/>
                </a:lnTo>
                <a:lnTo>
                  <a:pt x="130986" y="125460"/>
                </a:lnTo>
                <a:lnTo>
                  <a:pt x="129496" y="123131"/>
                </a:lnTo>
                <a:lnTo>
                  <a:pt x="128254" y="120679"/>
                </a:lnTo>
                <a:lnTo>
                  <a:pt x="127245" y="118148"/>
                </a:lnTo>
                <a:lnTo>
                  <a:pt x="126500" y="115540"/>
                </a:lnTo>
                <a:lnTo>
                  <a:pt x="126019" y="112870"/>
                </a:lnTo>
                <a:lnTo>
                  <a:pt x="125786" y="110185"/>
                </a:lnTo>
                <a:lnTo>
                  <a:pt x="125801" y="107468"/>
                </a:lnTo>
                <a:lnTo>
                  <a:pt x="126081" y="104783"/>
                </a:lnTo>
                <a:lnTo>
                  <a:pt x="126624" y="102113"/>
                </a:lnTo>
                <a:lnTo>
                  <a:pt x="127431" y="99489"/>
                </a:lnTo>
                <a:lnTo>
                  <a:pt x="128487" y="96928"/>
                </a:lnTo>
                <a:lnTo>
                  <a:pt x="129822" y="94460"/>
                </a:lnTo>
                <a:lnTo>
                  <a:pt x="131017" y="92690"/>
                </a:lnTo>
                <a:lnTo>
                  <a:pt x="131887" y="91541"/>
                </a:lnTo>
                <a:lnTo>
                  <a:pt x="132337" y="90967"/>
                </a:lnTo>
                <a:lnTo>
                  <a:pt x="157966" y="60432"/>
                </a:lnTo>
                <a:lnTo>
                  <a:pt x="193312" y="18302"/>
                </a:lnTo>
                <a:lnTo>
                  <a:pt x="193856" y="17681"/>
                </a:lnTo>
                <a:lnTo>
                  <a:pt x="194958" y="16470"/>
                </a:lnTo>
                <a:lnTo>
                  <a:pt x="196697" y="14778"/>
                </a:lnTo>
                <a:lnTo>
                  <a:pt x="199149" y="12745"/>
                </a:lnTo>
                <a:lnTo>
                  <a:pt x="201757" y="10960"/>
                </a:lnTo>
                <a:lnTo>
                  <a:pt x="204474" y="9423"/>
                </a:lnTo>
                <a:lnTo>
                  <a:pt x="207299" y="8134"/>
                </a:lnTo>
                <a:lnTo>
                  <a:pt x="210217" y="7110"/>
                </a:lnTo>
                <a:lnTo>
                  <a:pt x="213198" y="6334"/>
                </a:lnTo>
                <a:lnTo>
                  <a:pt x="214704" y="6054"/>
                </a:lnTo>
                <a:lnTo>
                  <a:pt x="213105" y="5309"/>
                </a:lnTo>
                <a:lnTo>
                  <a:pt x="209860" y="3958"/>
                </a:lnTo>
                <a:lnTo>
                  <a:pt x="206523" y="2810"/>
                </a:lnTo>
                <a:lnTo>
                  <a:pt x="203108" y="1832"/>
                </a:lnTo>
                <a:lnTo>
                  <a:pt x="199630" y="1056"/>
                </a:lnTo>
                <a:lnTo>
                  <a:pt x="196091" y="497"/>
                </a:lnTo>
                <a:lnTo>
                  <a:pt x="192505" y="140"/>
                </a:lnTo>
                <a:lnTo>
                  <a:pt x="188857" y="0"/>
                </a:lnTo>
                <a:lnTo>
                  <a:pt x="187010" y="16"/>
                </a:lnTo>
                <a:lnTo>
                  <a:pt x="185737" y="47"/>
                </a:lnTo>
                <a:lnTo>
                  <a:pt x="183222" y="202"/>
                </a:lnTo>
                <a:lnTo>
                  <a:pt x="180723" y="450"/>
                </a:lnTo>
                <a:lnTo>
                  <a:pt x="178255" y="776"/>
                </a:lnTo>
                <a:lnTo>
                  <a:pt x="175802" y="1195"/>
                </a:lnTo>
                <a:lnTo>
                  <a:pt x="173380" y="1708"/>
                </a:lnTo>
                <a:lnTo>
                  <a:pt x="171005" y="2313"/>
                </a:lnTo>
                <a:lnTo>
                  <a:pt x="168646" y="2996"/>
                </a:lnTo>
                <a:lnTo>
                  <a:pt x="166317" y="3757"/>
                </a:lnTo>
                <a:lnTo>
                  <a:pt x="164035" y="4610"/>
                </a:lnTo>
                <a:lnTo>
                  <a:pt x="161800" y="5542"/>
                </a:lnTo>
                <a:lnTo>
                  <a:pt x="159596" y="6551"/>
                </a:lnTo>
                <a:lnTo>
                  <a:pt x="157422" y="7638"/>
                </a:lnTo>
                <a:lnTo>
                  <a:pt x="155311" y="8786"/>
                </a:lnTo>
                <a:lnTo>
                  <a:pt x="153247" y="10028"/>
                </a:lnTo>
                <a:lnTo>
                  <a:pt x="151213" y="11332"/>
                </a:lnTo>
                <a:lnTo>
                  <a:pt x="149257" y="12714"/>
                </a:lnTo>
                <a:lnTo>
                  <a:pt x="147332" y="14157"/>
                </a:lnTo>
                <a:lnTo>
                  <a:pt x="145469" y="15679"/>
                </a:lnTo>
                <a:lnTo>
                  <a:pt x="143669" y="17262"/>
                </a:lnTo>
                <a:lnTo>
                  <a:pt x="141930" y="18907"/>
                </a:lnTo>
                <a:lnTo>
                  <a:pt x="140254" y="20615"/>
                </a:lnTo>
                <a:lnTo>
                  <a:pt x="138624" y="22385"/>
                </a:lnTo>
                <a:lnTo>
                  <a:pt x="137071" y="24216"/>
                </a:lnTo>
                <a:lnTo>
                  <a:pt x="135597" y="26095"/>
                </a:lnTo>
                <a:lnTo>
                  <a:pt x="134184" y="28035"/>
                </a:lnTo>
                <a:lnTo>
                  <a:pt x="132833" y="30038"/>
                </a:lnTo>
                <a:lnTo>
                  <a:pt x="131561" y="32102"/>
                </a:lnTo>
                <a:lnTo>
                  <a:pt x="130381" y="34198"/>
                </a:lnTo>
                <a:lnTo>
                  <a:pt x="129263" y="36356"/>
                </a:lnTo>
                <a:lnTo>
                  <a:pt x="128223" y="38560"/>
                </a:lnTo>
                <a:lnTo>
                  <a:pt x="127276" y="40826"/>
                </a:lnTo>
                <a:lnTo>
                  <a:pt x="126841" y="41960"/>
                </a:lnTo>
                <a:lnTo>
                  <a:pt x="126717" y="42270"/>
                </a:lnTo>
                <a:lnTo>
                  <a:pt x="126469" y="42720"/>
                </a:lnTo>
                <a:lnTo>
                  <a:pt x="126205" y="42969"/>
                </a:lnTo>
                <a:lnTo>
                  <a:pt x="125910" y="43062"/>
                </a:lnTo>
                <a:lnTo>
                  <a:pt x="125739" y="43077"/>
                </a:lnTo>
                <a:lnTo>
                  <a:pt x="125569" y="43062"/>
                </a:lnTo>
                <a:lnTo>
                  <a:pt x="125274" y="42969"/>
                </a:lnTo>
                <a:lnTo>
                  <a:pt x="125010" y="42720"/>
                </a:lnTo>
                <a:lnTo>
                  <a:pt x="124761" y="42270"/>
                </a:lnTo>
                <a:lnTo>
                  <a:pt x="124637" y="41960"/>
                </a:lnTo>
                <a:lnTo>
                  <a:pt x="124202" y="40826"/>
                </a:lnTo>
                <a:lnTo>
                  <a:pt x="123256" y="38560"/>
                </a:lnTo>
                <a:lnTo>
                  <a:pt x="122215" y="36356"/>
                </a:lnTo>
                <a:lnTo>
                  <a:pt x="121098" y="34198"/>
                </a:lnTo>
                <a:lnTo>
                  <a:pt x="119918" y="32102"/>
                </a:lnTo>
                <a:lnTo>
                  <a:pt x="118645" y="30038"/>
                </a:lnTo>
                <a:lnTo>
                  <a:pt x="117295" y="28035"/>
                </a:lnTo>
                <a:lnTo>
                  <a:pt x="115882" y="26095"/>
                </a:lnTo>
                <a:lnTo>
                  <a:pt x="114407" y="24216"/>
                </a:lnTo>
                <a:lnTo>
                  <a:pt x="112855" y="22385"/>
                </a:lnTo>
                <a:lnTo>
                  <a:pt x="111225" y="20615"/>
                </a:lnTo>
                <a:lnTo>
                  <a:pt x="109548" y="18907"/>
                </a:lnTo>
                <a:lnTo>
                  <a:pt x="107810" y="17262"/>
                </a:lnTo>
                <a:lnTo>
                  <a:pt x="106009" y="15679"/>
                </a:lnTo>
                <a:lnTo>
                  <a:pt x="104146" y="14157"/>
                </a:lnTo>
                <a:lnTo>
                  <a:pt x="102221" y="12714"/>
                </a:lnTo>
                <a:lnTo>
                  <a:pt x="100265" y="11332"/>
                </a:lnTo>
                <a:lnTo>
                  <a:pt x="98232" y="10028"/>
                </a:lnTo>
                <a:lnTo>
                  <a:pt x="96167" y="8786"/>
                </a:lnTo>
                <a:lnTo>
                  <a:pt x="94056" y="7638"/>
                </a:lnTo>
                <a:lnTo>
                  <a:pt x="91883" y="6551"/>
                </a:lnTo>
                <a:lnTo>
                  <a:pt x="89678" y="5542"/>
                </a:lnTo>
                <a:lnTo>
                  <a:pt x="87443" y="4610"/>
                </a:lnTo>
                <a:lnTo>
                  <a:pt x="85161" y="3757"/>
                </a:lnTo>
                <a:lnTo>
                  <a:pt x="82833" y="2996"/>
                </a:lnTo>
                <a:lnTo>
                  <a:pt x="80473" y="2313"/>
                </a:lnTo>
                <a:lnTo>
                  <a:pt x="78098" y="1708"/>
                </a:lnTo>
                <a:lnTo>
                  <a:pt x="75676" y="1195"/>
                </a:lnTo>
                <a:lnTo>
                  <a:pt x="73224" y="776"/>
                </a:lnTo>
                <a:lnTo>
                  <a:pt x="70756" y="450"/>
                </a:lnTo>
                <a:lnTo>
                  <a:pt x="68256" y="202"/>
                </a:lnTo>
                <a:lnTo>
                  <a:pt x="65741" y="47"/>
                </a:lnTo>
                <a:lnTo>
                  <a:pt x="64469" y="16"/>
                </a:lnTo>
                <a:lnTo>
                  <a:pt x="62932" y="0"/>
                </a:lnTo>
                <a:close/>
              </a:path>
            </a:pathLst>
          </a:custGeom>
          <a:solidFill>
            <a:srgbClr val="F7224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117145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tile - revised - left panel">
  <p:cSld name="Ttile - revised - left panel">
    <p:bg>
      <p:bgPr>
        <a:solidFill>
          <a:schemeClr val="lt1"/>
        </a:solidFill>
        <a:effectLst/>
      </p:bgPr>
    </p:bg>
    <p:spTree>
      <p:nvGrpSpPr>
        <p:cNvPr id="1" name="Shape 4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5" name="Google Shape;495;p35"/>
          <p:cNvSpPr/>
          <p:nvPr/>
        </p:nvSpPr>
        <p:spPr>
          <a:xfrm>
            <a:off x="-23600" y="0"/>
            <a:ext cx="49005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496" name="Google Shape;496;p35"/>
          <p:cNvSpPr/>
          <p:nvPr/>
        </p:nvSpPr>
        <p:spPr>
          <a:xfrm rot="10800000">
            <a:off x="3833" y="67"/>
            <a:ext cx="11147700" cy="10329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97" name="Google Shape;497;p35"/>
          <p:cNvSpPr/>
          <p:nvPr/>
        </p:nvSpPr>
        <p:spPr>
          <a:xfrm>
            <a:off x="-23600" y="0"/>
            <a:ext cx="1266300" cy="10329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98" name="Google Shape;498;p35"/>
          <p:cNvSpPr txBox="1">
            <a:spLocks noGrp="1"/>
          </p:cNvSpPr>
          <p:nvPr>
            <p:ph type="title"/>
          </p:nvPr>
        </p:nvSpPr>
        <p:spPr>
          <a:xfrm>
            <a:off x="415600" y="398067"/>
            <a:ext cx="101241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1pPr>
            <a:lvl2pPr lvl="1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2pPr>
            <a:lvl3pPr lvl="2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3pPr>
            <a:lvl4pPr lvl="3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4pPr>
            <a:lvl5pPr lvl="4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5pPr>
            <a:lvl6pPr lvl="5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6pPr>
            <a:lvl7pPr lvl="6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7pPr>
            <a:lvl8pPr lvl="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8pPr>
            <a:lvl9pPr lvl="8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499" name="Google Shape;499;p35"/>
          <p:cNvSpPr/>
          <p:nvPr/>
        </p:nvSpPr>
        <p:spPr>
          <a:xfrm>
            <a:off x="11525533" y="364133"/>
            <a:ext cx="365273" cy="304371"/>
          </a:xfrm>
          <a:custGeom>
            <a:avLst/>
            <a:gdLst/>
            <a:ahLst/>
            <a:cxnLst/>
            <a:rect l="l" t="t" r="r" b="b"/>
            <a:pathLst>
              <a:path w="251479" h="209550" extrusionOk="0">
                <a:moveTo>
                  <a:pt x="62932" y="0"/>
                </a:moveTo>
                <a:lnTo>
                  <a:pt x="59858" y="78"/>
                </a:lnTo>
                <a:lnTo>
                  <a:pt x="56847" y="326"/>
                </a:lnTo>
                <a:lnTo>
                  <a:pt x="53851" y="714"/>
                </a:lnTo>
                <a:lnTo>
                  <a:pt x="50901" y="1257"/>
                </a:lnTo>
                <a:lnTo>
                  <a:pt x="47998" y="1925"/>
                </a:lnTo>
                <a:lnTo>
                  <a:pt x="45142" y="2748"/>
                </a:lnTo>
                <a:lnTo>
                  <a:pt x="42348" y="3695"/>
                </a:lnTo>
                <a:lnTo>
                  <a:pt x="39600" y="4781"/>
                </a:lnTo>
                <a:lnTo>
                  <a:pt x="36915" y="5992"/>
                </a:lnTo>
                <a:lnTo>
                  <a:pt x="34291" y="7327"/>
                </a:lnTo>
                <a:lnTo>
                  <a:pt x="31730" y="8786"/>
                </a:lnTo>
                <a:lnTo>
                  <a:pt x="29246" y="10354"/>
                </a:lnTo>
                <a:lnTo>
                  <a:pt x="26840" y="12031"/>
                </a:lnTo>
                <a:lnTo>
                  <a:pt x="24511" y="13831"/>
                </a:lnTo>
                <a:lnTo>
                  <a:pt x="22261" y="15741"/>
                </a:lnTo>
                <a:lnTo>
                  <a:pt x="20087" y="17743"/>
                </a:lnTo>
                <a:lnTo>
                  <a:pt x="18023" y="19839"/>
                </a:lnTo>
                <a:lnTo>
                  <a:pt x="16036" y="22043"/>
                </a:lnTo>
                <a:lnTo>
                  <a:pt x="14157" y="24325"/>
                </a:lnTo>
                <a:lnTo>
                  <a:pt x="12372" y="26716"/>
                </a:lnTo>
                <a:lnTo>
                  <a:pt x="10696" y="29168"/>
                </a:lnTo>
                <a:lnTo>
                  <a:pt x="9112" y="31714"/>
                </a:lnTo>
                <a:lnTo>
                  <a:pt x="7653" y="34338"/>
                </a:lnTo>
                <a:lnTo>
                  <a:pt x="6318" y="37039"/>
                </a:lnTo>
                <a:lnTo>
                  <a:pt x="5092" y="39802"/>
                </a:lnTo>
                <a:lnTo>
                  <a:pt x="3990" y="42643"/>
                </a:lnTo>
                <a:lnTo>
                  <a:pt x="3012" y="45546"/>
                </a:lnTo>
                <a:lnTo>
                  <a:pt x="2173" y="48495"/>
                </a:lnTo>
                <a:lnTo>
                  <a:pt x="1459" y="51507"/>
                </a:lnTo>
                <a:lnTo>
                  <a:pt x="885" y="54580"/>
                </a:lnTo>
                <a:lnTo>
                  <a:pt x="450" y="57700"/>
                </a:lnTo>
                <a:lnTo>
                  <a:pt x="310" y="59268"/>
                </a:lnTo>
                <a:lnTo>
                  <a:pt x="186" y="60665"/>
                </a:lnTo>
                <a:lnTo>
                  <a:pt x="31" y="63475"/>
                </a:lnTo>
                <a:lnTo>
                  <a:pt x="0" y="66269"/>
                </a:lnTo>
                <a:lnTo>
                  <a:pt x="62" y="69063"/>
                </a:lnTo>
                <a:lnTo>
                  <a:pt x="217" y="71842"/>
                </a:lnTo>
                <a:lnTo>
                  <a:pt x="466" y="74605"/>
                </a:lnTo>
                <a:lnTo>
                  <a:pt x="823" y="77368"/>
                </a:lnTo>
                <a:lnTo>
                  <a:pt x="1257" y="80132"/>
                </a:lnTo>
                <a:lnTo>
                  <a:pt x="1801" y="82864"/>
                </a:lnTo>
                <a:lnTo>
                  <a:pt x="2422" y="85611"/>
                </a:lnTo>
                <a:lnTo>
                  <a:pt x="3120" y="88328"/>
                </a:lnTo>
                <a:lnTo>
                  <a:pt x="3912" y="91045"/>
                </a:lnTo>
                <a:lnTo>
                  <a:pt x="4781" y="93730"/>
                </a:lnTo>
                <a:lnTo>
                  <a:pt x="5728" y="96416"/>
                </a:lnTo>
                <a:lnTo>
                  <a:pt x="7280" y="100436"/>
                </a:lnTo>
                <a:lnTo>
                  <a:pt x="9609" y="105714"/>
                </a:lnTo>
                <a:lnTo>
                  <a:pt x="12201" y="110946"/>
                </a:lnTo>
                <a:lnTo>
                  <a:pt x="15058" y="116099"/>
                </a:lnTo>
                <a:lnTo>
                  <a:pt x="18147" y="121191"/>
                </a:lnTo>
                <a:lnTo>
                  <a:pt x="21438" y="126205"/>
                </a:lnTo>
                <a:lnTo>
                  <a:pt x="24931" y="131126"/>
                </a:lnTo>
                <a:lnTo>
                  <a:pt x="28594" y="135969"/>
                </a:lnTo>
                <a:lnTo>
                  <a:pt x="32413" y="140719"/>
                </a:lnTo>
                <a:lnTo>
                  <a:pt x="36371" y="145392"/>
                </a:lnTo>
                <a:lnTo>
                  <a:pt x="40454" y="149940"/>
                </a:lnTo>
                <a:lnTo>
                  <a:pt x="44630" y="154395"/>
                </a:lnTo>
                <a:lnTo>
                  <a:pt x="48883" y="158742"/>
                </a:lnTo>
                <a:lnTo>
                  <a:pt x="53199" y="162964"/>
                </a:lnTo>
                <a:lnTo>
                  <a:pt x="57545" y="167078"/>
                </a:lnTo>
                <a:lnTo>
                  <a:pt x="61938" y="171068"/>
                </a:lnTo>
                <a:lnTo>
                  <a:pt x="66316" y="174917"/>
                </a:lnTo>
                <a:lnTo>
                  <a:pt x="70678" y="178643"/>
                </a:lnTo>
                <a:lnTo>
                  <a:pt x="75024" y="182229"/>
                </a:lnTo>
                <a:lnTo>
                  <a:pt x="81420" y="187352"/>
                </a:lnTo>
                <a:lnTo>
                  <a:pt x="89663" y="193639"/>
                </a:lnTo>
                <a:lnTo>
                  <a:pt x="97425" y="199274"/>
                </a:lnTo>
                <a:lnTo>
                  <a:pt x="101057" y="201819"/>
                </a:lnTo>
                <a:lnTo>
                  <a:pt x="102454" y="202766"/>
                </a:lnTo>
                <a:lnTo>
                  <a:pt x="105342" y="204458"/>
                </a:lnTo>
                <a:lnTo>
                  <a:pt x="108338" y="205918"/>
                </a:lnTo>
                <a:lnTo>
                  <a:pt x="111396" y="207128"/>
                </a:lnTo>
                <a:lnTo>
                  <a:pt x="114516" y="208091"/>
                </a:lnTo>
                <a:lnTo>
                  <a:pt x="117683" y="208820"/>
                </a:lnTo>
                <a:lnTo>
                  <a:pt x="120896" y="209302"/>
                </a:lnTo>
                <a:lnTo>
                  <a:pt x="124125" y="209550"/>
                </a:lnTo>
                <a:lnTo>
                  <a:pt x="127354" y="209550"/>
                </a:lnTo>
                <a:lnTo>
                  <a:pt x="130583" y="209302"/>
                </a:lnTo>
                <a:lnTo>
                  <a:pt x="133796" y="208820"/>
                </a:lnTo>
                <a:lnTo>
                  <a:pt x="136963" y="208091"/>
                </a:lnTo>
                <a:lnTo>
                  <a:pt x="140098" y="207128"/>
                </a:lnTo>
                <a:lnTo>
                  <a:pt x="143156" y="205918"/>
                </a:lnTo>
                <a:lnTo>
                  <a:pt x="146137" y="204458"/>
                </a:lnTo>
                <a:lnTo>
                  <a:pt x="149024" y="202766"/>
                </a:lnTo>
                <a:lnTo>
                  <a:pt x="150421" y="201819"/>
                </a:lnTo>
                <a:lnTo>
                  <a:pt x="154038" y="199289"/>
                </a:lnTo>
                <a:lnTo>
                  <a:pt x="161769" y="193670"/>
                </a:lnTo>
                <a:lnTo>
                  <a:pt x="169981" y="187414"/>
                </a:lnTo>
                <a:lnTo>
                  <a:pt x="176361" y="182306"/>
                </a:lnTo>
                <a:lnTo>
                  <a:pt x="180676" y="178736"/>
                </a:lnTo>
                <a:lnTo>
                  <a:pt x="185023" y="175042"/>
                </a:lnTo>
                <a:lnTo>
                  <a:pt x="189385" y="171192"/>
                </a:lnTo>
                <a:lnTo>
                  <a:pt x="193763" y="167233"/>
                </a:lnTo>
                <a:lnTo>
                  <a:pt x="198094" y="163151"/>
                </a:lnTo>
                <a:lnTo>
                  <a:pt x="202394" y="158944"/>
                </a:lnTo>
                <a:lnTo>
                  <a:pt x="206647" y="154613"/>
                </a:lnTo>
                <a:lnTo>
                  <a:pt x="210807" y="150189"/>
                </a:lnTo>
                <a:lnTo>
                  <a:pt x="214874" y="145656"/>
                </a:lnTo>
                <a:lnTo>
                  <a:pt x="218817" y="141014"/>
                </a:lnTo>
                <a:lnTo>
                  <a:pt x="222636" y="136280"/>
                </a:lnTo>
                <a:lnTo>
                  <a:pt x="226300" y="131467"/>
                </a:lnTo>
                <a:lnTo>
                  <a:pt x="229792" y="126562"/>
                </a:lnTo>
                <a:lnTo>
                  <a:pt x="233083" y="121579"/>
                </a:lnTo>
                <a:lnTo>
                  <a:pt x="236173" y="116518"/>
                </a:lnTo>
                <a:lnTo>
                  <a:pt x="239044" y="111380"/>
                </a:lnTo>
                <a:lnTo>
                  <a:pt x="241652" y="106180"/>
                </a:lnTo>
                <a:lnTo>
                  <a:pt x="243996" y="100917"/>
                </a:lnTo>
                <a:lnTo>
                  <a:pt x="245564" y="96928"/>
                </a:lnTo>
                <a:lnTo>
                  <a:pt x="246527" y="94258"/>
                </a:lnTo>
                <a:lnTo>
                  <a:pt x="247396" y="91572"/>
                </a:lnTo>
                <a:lnTo>
                  <a:pt x="248203" y="88871"/>
                </a:lnTo>
                <a:lnTo>
                  <a:pt x="248917" y="86155"/>
                </a:lnTo>
                <a:lnTo>
                  <a:pt x="249554" y="83438"/>
                </a:lnTo>
                <a:lnTo>
                  <a:pt x="250112" y="80706"/>
                </a:lnTo>
                <a:lnTo>
                  <a:pt x="250563" y="77958"/>
                </a:lnTo>
                <a:lnTo>
                  <a:pt x="250935" y="75211"/>
                </a:lnTo>
                <a:lnTo>
                  <a:pt x="251215" y="72448"/>
                </a:lnTo>
                <a:lnTo>
                  <a:pt x="251385" y="69684"/>
                </a:lnTo>
                <a:lnTo>
                  <a:pt x="251479" y="66906"/>
                </a:lnTo>
                <a:lnTo>
                  <a:pt x="251463" y="64127"/>
                </a:lnTo>
                <a:lnTo>
                  <a:pt x="251339" y="61333"/>
                </a:lnTo>
                <a:lnTo>
                  <a:pt x="251230" y="59936"/>
                </a:lnTo>
                <a:lnTo>
                  <a:pt x="251199" y="59610"/>
                </a:lnTo>
                <a:lnTo>
                  <a:pt x="251184" y="59268"/>
                </a:lnTo>
                <a:lnTo>
                  <a:pt x="250966" y="57235"/>
                </a:lnTo>
                <a:lnTo>
                  <a:pt x="250361" y="53199"/>
                </a:lnTo>
                <a:lnTo>
                  <a:pt x="249507" y="49256"/>
                </a:lnTo>
                <a:lnTo>
                  <a:pt x="248436" y="45421"/>
                </a:lnTo>
                <a:lnTo>
                  <a:pt x="247132" y="41665"/>
                </a:lnTo>
                <a:lnTo>
                  <a:pt x="245626" y="38032"/>
                </a:lnTo>
                <a:lnTo>
                  <a:pt x="243919" y="34508"/>
                </a:lnTo>
                <a:lnTo>
                  <a:pt x="242009" y="31124"/>
                </a:lnTo>
                <a:lnTo>
                  <a:pt x="240969" y="29479"/>
                </a:lnTo>
                <a:lnTo>
                  <a:pt x="240209" y="28299"/>
                </a:lnTo>
                <a:lnTo>
                  <a:pt x="239401" y="27135"/>
                </a:lnTo>
                <a:lnTo>
                  <a:pt x="238594" y="26110"/>
                </a:lnTo>
                <a:lnTo>
                  <a:pt x="237244" y="24667"/>
                </a:lnTo>
                <a:lnTo>
                  <a:pt x="236281" y="23766"/>
                </a:lnTo>
                <a:lnTo>
                  <a:pt x="235784" y="23332"/>
                </a:lnTo>
                <a:lnTo>
                  <a:pt x="234837" y="22571"/>
                </a:lnTo>
                <a:lnTo>
                  <a:pt x="232882" y="21236"/>
                </a:lnTo>
                <a:lnTo>
                  <a:pt x="230832" y="20134"/>
                </a:lnTo>
                <a:lnTo>
                  <a:pt x="228690" y="19233"/>
                </a:lnTo>
                <a:lnTo>
                  <a:pt x="226517" y="18566"/>
                </a:lnTo>
                <a:lnTo>
                  <a:pt x="224297" y="18116"/>
                </a:lnTo>
                <a:lnTo>
                  <a:pt x="222046" y="17883"/>
                </a:lnTo>
                <a:lnTo>
                  <a:pt x="219795" y="17867"/>
                </a:lnTo>
                <a:lnTo>
                  <a:pt x="217544" y="18069"/>
                </a:lnTo>
                <a:lnTo>
                  <a:pt x="215325" y="18473"/>
                </a:lnTo>
                <a:lnTo>
                  <a:pt x="213167" y="19094"/>
                </a:lnTo>
                <a:lnTo>
                  <a:pt x="211056" y="19916"/>
                </a:lnTo>
                <a:lnTo>
                  <a:pt x="209007" y="20957"/>
                </a:lnTo>
                <a:lnTo>
                  <a:pt x="207082" y="22214"/>
                </a:lnTo>
                <a:lnTo>
                  <a:pt x="205250" y="23658"/>
                </a:lnTo>
                <a:lnTo>
                  <a:pt x="203542" y="25319"/>
                </a:lnTo>
                <a:lnTo>
                  <a:pt x="202751" y="26219"/>
                </a:lnTo>
                <a:lnTo>
                  <a:pt x="185504" y="46787"/>
                </a:lnTo>
                <a:lnTo>
                  <a:pt x="141775" y="98899"/>
                </a:lnTo>
                <a:lnTo>
                  <a:pt x="141232" y="99567"/>
                </a:lnTo>
                <a:lnTo>
                  <a:pt x="140285" y="100964"/>
                </a:lnTo>
                <a:lnTo>
                  <a:pt x="139508" y="102439"/>
                </a:lnTo>
                <a:lnTo>
                  <a:pt x="138903" y="103976"/>
                </a:lnTo>
                <a:lnTo>
                  <a:pt x="138468" y="105543"/>
                </a:lnTo>
                <a:lnTo>
                  <a:pt x="138189" y="107142"/>
                </a:lnTo>
                <a:lnTo>
                  <a:pt x="138065" y="108741"/>
                </a:lnTo>
                <a:lnTo>
                  <a:pt x="138111" y="110356"/>
                </a:lnTo>
                <a:lnTo>
                  <a:pt x="138329" y="111955"/>
                </a:lnTo>
                <a:lnTo>
                  <a:pt x="138701" y="113522"/>
                </a:lnTo>
                <a:lnTo>
                  <a:pt x="139229" y="115044"/>
                </a:lnTo>
                <a:lnTo>
                  <a:pt x="139912" y="116518"/>
                </a:lnTo>
                <a:lnTo>
                  <a:pt x="140750" y="117931"/>
                </a:lnTo>
                <a:lnTo>
                  <a:pt x="141759" y="119266"/>
                </a:lnTo>
                <a:lnTo>
                  <a:pt x="142908" y="120492"/>
                </a:lnTo>
                <a:lnTo>
                  <a:pt x="144212" y="121626"/>
                </a:lnTo>
                <a:lnTo>
                  <a:pt x="144926" y="122138"/>
                </a:lnTo>
                <a:lnTo>
                  <a:pt x="145438" y="122479"/>
                </a:lnTo>
                <a:lnTo>
                  <a:pt x="146494" y="123085"/>
                </a:lnTo>
                <a:lnTo>
                  <a:pt x="147581" y="123613"/>
                </a:lnTo>
                <a:lnTo>
                  <a:pt x="148698" y="124063"/>
                </a:lnTo>
                <a:lnTo>
                  <a:pt x="149863" y="124420"/>
                </a:lnTo>
                <a:lnTo>
                  <a:pt x="151042" y="124684"/>
                </a:lnTo>
                <a:lnTo>
                  <a:pt x="152238" y="124854"/>
                </a:lnTo>
                <a:lnTo>
                  <a:pt x="153448" y="124932"/>
                </a:lnTo>
                <a:lnTo>
                  <a:pt x="154069" y="124932"/>
                </a:lnTo>
                <a:lnTo>
                  <a:pt x="154939" y="124901"/>
                </a:lnTo>
                <a:lnTo>
                  <a:pt x="156662" y="124699"/>
                </a:lnTo>
                <a:lnTo>
                  <a:pt x="158338" y="124311"/>
                </a:lnTo>
                <a:lnTo>
                  <a:pt x="159937" y="123752"/>
                </a:lnTo>
                <a:lnTo>
                  <a:pt x="161459" y="123038"/>
                </a:lnTo>
                <a:lnTo>
                  <a:pt x="162902" y="122153"/>
                </a:lnTo>
                <a:lnTo>
                  <a:pt x="164253" y="121113"/>
                </a:lnTo>
                <a:lnTo>
                  <a:pt x="165495" y="119918"/>
                </a:lnTo>
                <a:lnTo>
                  <a:pt x="166053" y="119266"/>
                </a:lnTo>
                <a:lnTo>
                  <a:pt x="210357" y="66471"/>
                </a:lnTo>
                <a:lnTo>
                  <a:pt x="210668" y="66130"/>
                </a:lnTo>
                <a:lnTo>
                  <a:pt x="211366" y="65586"/>
                </a:lnTo>
                <a:lnTo>
                  <a:pt x="212142" y="65183"/>
                </a:lnTo>
                <a:lnTo>
                  <a:pt x="212965" y="64950"/>
                </a:lnTo>
                <a:lnTo>
                  <a:pt x="213819" y="64872"/>
                </a:lnTo>
                <a:lnTo>
                  <a:pt x="214673" y="64965"/>
                </a:lnTo>
                <a:lnTo>
                  <a:pt x="215495" y="65214"/>
                </a:lnTo>
                <a:lnTo>
                  <a:pt x="216272" y="65633"/>
                </a:lnTo>
                <a:lnTo>
                  <a:pt x="216644" y="65928"/>
                </a:lnTo>
                <a:lnTo>
                  <a:pt x="219252" y="68117"/>
                </a:lnTo>
                <a:lnTo>
                  <a:pt x="219578" y="68412"/>
                </a:lnTo>
                <a:lnTo>
                  <a:pt x="220137" y="69110"/>
                </a:lnTo>
                <a:lnTo>
                  <a:pt x="220525" y="69886"/>
                </a:lnTo>
                <a:lnTo>
                  <a:pt x="220773" y="70709"/>
                </a:lnTo>
                <a:lnTo>
                  <a:pt x="220835" y="71563"/>
                </a:lnTo>
                <a:lnTo>
                  <a:pt x="220758" y="72417"/>
                </a:lnTo>
                <a:lnTo>
                  <a:pt x="220494" y="73239"/>
                </a:lnTo>
                <a:lnTo>
                  <a:pt x="220075" y="74031"/>
                </a:lnTo>
                <a:lnTo>
                  <a:pt x="219795" y="74388"/>
                </a:lnTo>
                <a:lnTo>
                  <a:pt x="175492" y="127183"/>
                </a:lnTo>
                <a:lnTo>
                  <a:pt x="174560" y="128239"/>
                </a:lnTo>
                <a:lnTo>
                  <a:pt x="172573" y="130195"/>
                </a:lnTo>
                <a:lnTo>
                  <a:pt x="170431" y="131918"/>
                </a:lnTo>
                <a:lnTo>
                  <a:pt x="168134" y="133423"/>
                </a:lnTo>
                <a:lnTo>
                  <a:pt x="165696" y="134681"/>
                </a:lnTo>
                <a:lnTo>
                  <a:pt x="163151" y="135705"/>
                </a:lnTo>
                <a:lnTo>
                  <a:pt x="160512" y="136481"/>
                </a:lnTo>
                <a:lnTo>
                  <a:pt x="157764" y="136994"/>
                </a:lnTo>
                <a:lnTo>
                  <a:pt x="156367" y="137133"/>
                </a:lnTo>
                <a:lnTo>
                  <a:pt x="155109" y="137227"/>
                </a:lnTo>
                <a:lnTo>
                  <a:pt x="153868" y="137242"/>
                </a:lnTo>
                <a:lnTo>
                  <a:pt x="152626" y="137227"/>
                </a:lnTo>
                <a:lnTo>
                  <a:pt x="150189" y="137009"/>
                </a:lnTo>
                <a:lnTo>
                  <a:pt x="147782" y="136590"/>
                </a:lnTo>
                <a:lnTo>
                  <a:pt x="145438" y="135954"/>
                </a:lnTo>
                <a:lnTo>
                  <a:pt x="143141" y="135131"/>
                </a:lnTo>
                <a:lnTo>
                  <a:pt x="140937" y="134091"/>
                </a:lnTo>
                <a:lnTo>
                  <a:pt x="138810" y="132865"/>
                </a:lnTo>
                <a:lnTo>
                  <a:pt x="136776" y="131436"/>
                </a:lnTo>
                <a:lnTo>
                  <a:pt x="135814" y="130645"/>
                </a:lnTo>
                <a:lnTo>
                  <a:pt x="135255" y="130179"/>
                </a:lnTo>
                <a:lnTo>
                  <a:pt x="134200" y="129201"/>
                </a:lnTo>
                <a:lnTo>
                  <a:pt x="132725" y="127649"/>
                </a:lnTo>
                <a:lnTo>
                  <a:pt x="130986" y="125460"/>
                </a:lnTo>
                <a:lnTo>
                  <a:pt x="129496" y="123131"/>
                </a:lnTo>
                <a:lnTo>
                  <a:pt x="128254" y="120679"/>
                </a:lnTo>
                <a:lnTo>
                  <a:pt x="127245" y="118148"/>
                </a:lnTo>
                <a:lnTo>
                  <a:pt x="126500" y="115540"/>
                </a:lnTo>
                <a:lnTo>
                  <a:pt x="126019" y="112870"/>
                </a:lnTo>
                <a:lnTo>
                  <a:pt x="125786" y="110185"/>
                </a:lnTo>
                <a:lnTo>
                  <a:pt x="125801" y="107468"/>
                </a:lnTo>
                <a:lnTo>
                  <a:pt x="126081" y="104783"/>
                </a:lnTo>
                <a:lnTo>
                  <a:pt x="126624" y="102113"/>
                </a:lnTo>
                <a:lnTo>
                  <a:pt x="127431" y="99489"/>
                </a:lnTo>
                <a:lnTo>
                  <a:pt x="128487" y="96928"/>
                </a:lnTo>
                <a:lnTo>
                  <a:pt x="129822" y="94460"/>
                </a:lnTo>
                <a:lnTo>
                  <a:pt x="131017" y="92690"/>
                </a:lnTo>
                <a:lnTo>
                  <a:pt x="131887" y="91541"/>
                </a:lnTo>
                <a:lnTo>
                  <a:pt x="132337" y="90967"/>
                </a:lnTo>
                <a:lnTo>
                  <a:pt x="157966" y="60432"/>
                </a:lnTo>
                <a:lnTo>
                  <a:pt x="193312" y="18302"/>
                </a:lnTo>
                <a:lnTo>
                  <a:pt x="193856" y="17681"/>
                </a:lnTo>
                <a:lnTo>
                  <a:pt x="194958" y="16470"/>
                </a:lnTo>
                <a:lnTo>
                  <a:pt x="196697" y="14778"/>
                </a:lnTo>
                <a:lnTo>
                  <a:pt x="199149" y="12745"/>
                </a:lnTo>
                <a:lnTo>
                  <a:pt x="201757" y="10960"/>
                </a:lnTo>
                <a:lnTo>
                  <a:pt x="204474" y="9423"/>
                </a:lnTo>
                <a:lnTo>
                  <a:pt x="207299" y="8134"/>
                </a:lnTo>
                <a:lnTo>
                  <a:pt x="210217" y="7110"/>
                </a:lnTo>
                <a:lnTo>
                  <a:pt x="213198" y="6334"/>
                </a:lnTo>
                <a:lnTo>
                  <a:pt x="214704" y="6054"/>
                </a:lnTo>
                <a:lnTo>
                  <a:pt x="213105" y="5309"/>
                </a:lnTo>
                <a:lnTo>
                  <a:pt x="209860" y="3958"/>
                </a:lnTo>
                <a:lnTo>
                  <a:pt x="206523" y="2810"/>
                </a:lnTo>
                <a:lnTo>
                  <a:pt x="203108" y="1832"/>
                </a:lnTo>
                <a:lnTo>
                  <a:pt x="199630" y="1056"/>
                </a:lnTo>
                <a:lnTo>
                  <a:pt x="196091" y="497"/>
                </a:lnTo>
                <a:lnTo>
                  <a:pt x="192505" y="140"/>
                </a:lnTo>
                <a:lnTo>
                  <a:pt x="188857" y="0"/>
                </a:lnTo>
                <a:lnTo>
                  <a:pt x="187010" y="16"/>
                </a:lnTo>
                <a:lnTo>
                  <a:pt x="185737" y="47"/>
                </a:lnTo>
                <a:lnTo>
                  <a:pt x="183222" y="202"/>
                </a:lnTo>
                <a:lnTo>
                  <a:pt x="180723" y="450"/>
                </a:lnTo>
                <a:lnTo>
                  <a:pt x="178255" y="776"/>
                </a:lnTo>
                <a:lnTo>
                  <a:pt x="175802" y="1195"/>
                </a:lnTo>
                <a:lnTo>
                  <a:pt x="173380" y="1708"/>
                </a:lnTo>
                <a:lnTo>
                  <a:pt x="171005" y="2313"/>
                </a:lnTo>
                <a:lnTo>
                  <a:pt x="168646" y="2996"/>
                </a:lnTo>
                <a:lnTo>
                  <a:pt x="166317" y="3757"/>
                </a:lnTo>
                <a:lnTo>
                  <a:pt x="164035" y="4610"/>
                </a:lnTo>
                <a:lnTo>
                  <a:pt x="161800" y="5542"/>
                </a:lnTo>
                <a:lnTo>
                  <a:pt x="159596" y="6551"/>
                </a:lnTo>
                <a:lnTo>
                  <a:pt x="157422" y="7638"/>
                </a:lnTo>
                <a:lnTo>
                  <a:pt x="155311" y="8786"/>
                </a:lnTo>
                <a:lnTo>
                  <a:pt x="153247" y="10028"/>
                </a:lnTo>
                <a:lnTo>
                  <a:pt x="151213" y="11332"/>
                </a:lnTo>
                <a:lnTo>
                  <a:pt x="149257" y="12714"/>
                </a:lnTo>
                <a:lnTo>
                  <a:pt x="147332" y="14157"/>
                </a:lnTo>
                <a:lnTo>
                  <a:pt x="145469" y="15679"/>
                </a:lnTo>
                <a:lnTo>
                  <a:pt x="143669" y="17262"/>
                </a:lnTo>
                <a:lnTo>
                  <a:pt x="141930" y="18907"/>
                </a:lnTo>
                <a:lnTo>
                  <a:pt x="140254" y="20615"/>
                </a:lnTo>
                <a:lnTo>
                  <a:pt x="138624" y="22385"/>
                </a:lnTo>
                <a:lnTo>
                  <a:pt x="137071" y="24216"/>
                </a:lnTo>
                <a:lnTo>
                  <a:pt x="135597" y="26095"/>
                </a:lnTo>
                <a:lnTo>
                  <a:pt x="134184" y="28035"/>
                </a:lnTo>
                <a:lnTo>
                  <a:pt x="132833" y="30038"/>
                </a:lnTo>
                <a:lnTo>
                  <a:pt x="131561" y="32102"/>
                </a:lnTo>
                <a:lnTo>
                  <a:pt x="130381" y="34198"/>
                </a:lnTo>
                <a:lnTo>
                  <a:pt x="129263" y="36356"/>
                </a:lnTo>
                <a:lnTo>
                  <a:pt x="128223" y="38560"/>
                </a:lnTo>
                <a:lnTo>
                  <a:pt x="127276" y="40826"/>
                </a:lnTo>
                <a:lnTo>
                  <a:pt x="126841" y="41960"/>
                </a:lnTo>
                <a:lnTo>
                  <a:pt x="126717" y="42270"/>
                </a:lnTo>
                <a:lnTo>
                  <a:pt x="126469" y="42720"/>
                </a:lnTo>
                <a:lnTo>
                  <a:pt x="126205" y="42969"/>
                </a:lnTo>
                <a:lnTo>
                  <a:pt x="125910" y="43062"/>
                </a:lnTo>
                <a:lnTo>
                  <a:pt x="125739" y="43077"/>
                </a:lnTo>
                <a:lnTo>
                  <a:pt x="125569" y="43062"/>
                </a:lnTo>
                <a:lnTo>
                  <a:pt x="125274" y="42969"/>
                </a:lnTo>
                <a:lnTo>
                  <a:pt x="125010" y="42720"/>
                </a:lnTo>
                <a:lnTo>
                  <a:pt x="124761" y="42270"/>
                </a:lnTo>
                <a:lnTo>
                  <a:pt x="124637" y="41960"/>
                </a:lnTo>
                <a:lnTo>
                  <a:pt x="124202" y="40826"/>
                </a:lnTo>
                <a:lnTo>
                  <a:pt x="123256" y="38560"/>
                </a:lnTo>
                <a:lnTo>
                  <a:pt x="122215" y="36356"/>
                </a:lnTo>
                <a:lnTo>
                  <a:pt x="121098" y="34198"/>
                </a:lnTo>
                <a:lnTo>
                  <a:pt x="119918" y="32102"/>
                </a:lnTo>
                <a:lnTo>
                  <a:pt x="118645" y="30038"/>
                </a:lnTo>
                <a:lnTo>
                  <a:pt x="117295" y="28035"/>
                </a:lnTo>
                <a:lnTo>
                  <a:pt x="115882" y="26095"/>
                </a:lnTo>
                <a:lnTo>
                  <a:pt x="114407" y="24216"/>
                </a:lnTo>
                <a:lnTo>
                  <a:pt x="112855" y="22385"/>
                </a:lnTo>
                <a:lnTo>
                  <a:pt x="111225" y="20615"/>
                </a:lnTo>
                <a:lnTo>
                  <a:pt x="109548" y="18907"/>
                </a:lnTo>
                <a:lnTo>
                  <a:pt x="107810" y="17262"/>
                </a:lnTo>
                <a:lnTo>
                  <a:pt x="106009" y="15679"/>
                </a:lnTo>
                <a:lnTo>
                  <a:pt x="104146" y="14157"/>
                </a:lnTo>
                <a:lnTo>
                  <a:pt x="102221" y="12714"/>
                </a:lnTo>
                <a:lnTo>
                  <a:pt x="100265" y="11332"/>
                </a:lnTo>
                <a:lnTo>
                  <a:pt x="98232" y="10028"/>
                </a:lnTo>
                <a:lnTo>
                  <a:pt x="96167" y="8786"/>
                </a:lnTo>
                <a:lnTo>
                  <a:pt x="94056" y="7638"/>
                </a:lnTo>
                <a:lnTo>
                  <a:pt x="91883" y="6551"/>
                </a:lnTo>
                <a:lnTo>
                  <a:pt x="89678" y="5542"/>
                </a:lnTo>
                <a:lnTo>
                  <a:pt x="87443" y="4610"/>
                </a:lnTo>
                <a:lnTo>
                  <a:pt x="85161" y="3757"/>
                </a:lnTo>
                <a:lnTo>
                  <a:pt x="82833" y="2996"/>
                </a:lnTo>
                <a:lnTo>
                  <a:pt x="80473" y="2313"/>
                </a:lnTo>
                <a:lnTo>
                  <a:pt x="78098" y="1708"/>
                </a:lnTo>
                <a:lnTo>
                  <a:pt x="75676" y="1195"/>
                </a:lnTo>
                <a:lnTo>
                  <a:pt x="73224" y="776"/>
                </a:lnTo>
                <a:lnTo>
                  <a:pt x="70756" y="450"/>
                </a:lnTo>
                <a:lnTo>
                  <a:pt x="68256" y="202"/>
                </a:lnTo>
                <a:lnTo>
                  <a:pt x="65741" y="47"/>
                </a:lnTo>
                <a:lnTo>
                  <a:pt x="64469" y="16"/>
                </a:lnTo>
                <a:lnTo>
                  <a:pt x="62932" y="0"/>
                </a:lnTo>
                <a:close/>
              </a:path>
            </a:pathLst>
          </a:custGeom>
          <a:solidFill>
            <a:srgbClr val="F7224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0" name="Google Shape;500;p35"/>
          <p:cNvSpPr txBox="1">
            <a:spLocks noGrp="1"/>
          </p:cNvSpPr>
          <p:nvPr>
            <p:ph type="subTitle" idx="1"/>
          </p:nvPr>
        </p:nvSpPr>
        <p:spPr>
          <a:xfrm>
            <a:off x="438125" y="1032900"/>
            <a:ext cx="4438800" cy="58251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600"/>
              <a:buNone/>
              <a:defRPr sz="2600"/>
            </a:lvl1pPr>
            <a:lvl2pPr lvl="1" rtl="0">
              <a:spcBef>
                <a:spcPts val="1300"/>
              </a:spcBef>
              <a:spcAft>
                <a:spcPts val="0"/>
              </a:spcAft>
              <a:buSzPts val="1200"/>
              <a:buNone/>
              <a:defRPr/>
            </a:lvl2pPr>
            <a:lvl3pPr lvl="2" rtl="0">
              <a:spcBef>
                <a:spcPts val="130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130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130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130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130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130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1300"/>
              </a:spcBef>
              <a:spcAft>
                <a:spcPts val="130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8611316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tile - revised - right panel">
  <p:cSld name="Ttile - revised - right panel">
    <p:bg>
      <p:bgPr>
        <a:solidFill>
          <a:schemeClr val="lt1"/>
        </a:solidFill>
        <a:effectLst/>
      </p:bgPr>
    </p:bg>
    <p:spTree>
      <p:nvGrpSpPr>
        <p:cNvPr id="1" name="Shape 5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2" name="Google Shape;502;p36"/>
          <p:cNvSpPr/>
          <p:nvPr/>
        </p:nvSpPr>
        <p:spPr>
          <a:xfrm>
            <a:off x="7303350" y="0"/>
            <a:ext cx="49005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503" name="Google Shape;503;p36"/>
          <p:cNvSpPr/>
          <p:nvPr/>
        </p:nvSpPr>
        <p:spPr>
          <a:xfrm rot="10800000">
            <a:off x="3833" y="67"/>
            <a:ext cx="11147700" cy="10329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4" name="Google Shape;504;p36"/>
          <p:cNvSpPr/>
          <p:nvPr/>
        </p:nvSpPr>
        <p:spPr>
          <a:xfrm>
            <a:off x="-23600" y="0"/>
            <a:ext cx="1266300" cy="10329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5" name="Google Shape;505;p36"/>
          <p:cNvSpPr txBox="1">
            <a:spLocks noGrp="1"/>
          </p:cNvSpPr>
          <p:nvPr>
            <p:ph type="title"/>
          </p:nvPr>
        </p:nvSpPr>
        <p:spPr>
          <a:xfrm>
            <a:off x="415600" y="398067"/>
            <a:ext cx="101241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1pPr>
            <a:lvl2pPr lvl="1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2pPr>
            <a:lvl3pPr lvl="2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3pPr>
            <a:lvl4pPr lvl="3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4pPr>
            <a:lvl5pPr lvl="4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5pPr>
            <a:lvl6pPr lvl="5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6pPr>
            <a:lvl7pPr lvl="6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7pPr>
            <a:lvl8pPr lvl="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8pPr>
            <a:lvl9pPr lvl="8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506" name="Google Shape;506;p36"/>
          <p:cNvSpPr/>
          <p:nvPr/>
        </p:nvSpPr>
        <p:spPr>
          <a:xfrm>
            <a:off x="11525533" y="364133"/>
            <a:ext cx="365273" cy="304371"/>
          </a:xfrm>
          <a:custGeom>
            <a:avLst/>
            <a:gdLst/>
            <a:ahLst/>
            <a:cxnLst/>
            <a:rect l="l" t="t" r="r" b="b"/>
            <a:pathLst>
              <a:path w="251479" h="209550" extrusionOk="0">
                <a:moveTo>
                  <a:pt x="62932" y="0"/>
                </a:moveTo>
                <a:lnTo>
                  <a:pt x="59858" y="78"/>
                </a:lnTo>
                <a:lnTo>
                  <a:pt x="56847" y="326"/>
                </a:lnTo>
                <a:lnTo>
                  <a:pt x="53851" y="714"/>
                </a:lnTo>
                <a:lnTo>
                  <a:pt x="50901" y="1257"/>
                </a:lnTo>
                <a:lnTo>
                  <a:pt x="47998" y="1925"/>
                </a:lnTo>
                <a:lnTo>
                  <a:pt x="45142" y="2748"/>
                </a:lnTo>
                <a:lnTo>
                  <a:pt x="42348" y="3695"/>
                </a:lnTo>
                <a:lnTo>
                  <a:pt x="39600" y="4781"/>
                </a:lnTo>
                <a:lnTo>
                  <a:pt x="36915" y="5992"/>
                </a:lnTo>
                <a:lnTo>
                  <a:pt x="34291" y="7327"/>
                </a:lnTo>
                <a:lnTo>
                  <a:pt x="31730" y="8786"/>
                </a:lnTo>
                <a:lnTo>
                  <a:pt x="29246" y="10354"/>
                </a:lnTo>
                <a:lnTo>
                  <a:pt x="26840" y="12031"/>
                </a:lnTo>
                <a:lnTo>
                  <a:pt x="24511" y="13831"/>
                </a:lnTo>
                <a:lnTo>
                  <a:pt x="22261" y="15741"/>
                </a:lnTo>
                <a:lnTo>
                  <a:pt x="20087" y="17743"/>
                </a:lnTo>
                <a:lnTo>
                  <a:pt x="18023" y="19839"/>
                </a:lnTo>
                <a:lnTo>
                  <a:pt x="16036" y="22043"/>
                </a:lnTo>
                <a:lnTo>
                  <a:pt x="14157" y="24325"/>
                </a:lnTo>
                <a:lnTo>
                  <a:pt x="12372" y="26716"/>
                </a:lnTo>
                <a:lnTo>
                  <a:pt x="10696" y="29168"/>
                </a:lnTo>
                <a:lnTo>
                  <a:pt x="9112" y="31714"/>
                </a:lnTo>
                <a:lnTo>
                  <a:pt x="7653" y="34338"/>
                </a:lnTo>
                <a:lnTo>
                  <a:pt x="6318" y="37039"/>
                </a:lnTo>
                <a:lnTo>
                  <a:pt x="5092" y="39802"/>
                </a:lnTo>
                <a:lnTo>
                  <a:pt x="3990" y="42643"/>
                </a:lnTo>
                <a:lnTo>
                  <a:pt x="3012" y="45546"/>
                </a:lnTo>
                <a:lnTo>
                  <a:pt x="2173" y="48495"/>
                </a:lnTo>
                <a:lnTo>
                  <a:pt x="1459" y="51507"/>
                </a:lnTo>
                <a:lnTo>
                  <a:pt x="885" y="54580"/>
                </a:lnTo>
                <a:lnTo>
                  <a:pt x="450" y="57700"/>
                </a:lnTo>
                <a:lnTo>
                  <a:pt x="310" y="59268"/>
                </a:lnTo>
                <a:lnTo>
                  <a:pt x="186" y="60665"/>
                </a:lnTo>
                <a:lnTo>
                  <a:pt x="31" y="63475"/>
                </a:lnTo>
                <a:lnTo>
                  <a:pt x="0" y="66269"/>
                </a:lnTo>
                <a:lnTo>
                  <a:pt x="62" y="69063"/>
                </a:lnTo>
                <a:lnTo>
                  <a:pt x="217" y="71842"/>
                </a:lnTo>
                <a:lnTo>
                  <a:pt x="466" y="74605"/>
                </a:lnTo>
                <a:lnTo>
                  <a:pt x="823" y="77368"/>
                </a:lnTo>
                <a:lnTo>
                  <a:pt x="1257" y="80132"/>
                </a:lnTo>
                <a:lnTo>
                  <a:pt x="1801" y="82864"/>
                </a:lnTo>
                <a:lnTo>
                  <a:pt x="2422" y="85611"/>
                </a:lnTo>
                <a:lnTo>
                  <a:pt x="3120" y="88328"/>
                </a:lnTo>
                <a:lnTo>
                  <a:pt x="3912" y="91045"/>
                </a:lnTo>
                <a:lnTo>
                  <a:pt x="4781" y="93730"/>
                </a:lnTo>
                <a:lnTo>
                  <a:pt x="5728" y="96416"/>
                </a:lnTo>
                <a:lnTo>
                  <a:pt x="7280" y="100436"/>
                </a:lnTo>
                <a:lnTo>
                  <a:pt x="9609" y="105714"/>
                </a:lnTo>
                <a:lnTo>
                  <a:pt x="12201" y="110946"/>
                </a:lnTo>
                <a:lnTo>
                  <a:pt x="15058" y="116099"/>
                </a:lnTo>
                <a:lnTo>
                  <a:pt x="18147" y="121191"/>
                </a:lnTo>
                <a:lnTo>
                  <a:pt x="21438" y="126205"/>
                </a:lnTo>
                <a:lnTo>
                  <a:pt x="24931" y="131126"/>
                </a:lnTo>
                <a:lnTo>
                  <a:pt x="28594" y="135969"/>
                </a:lnTo>
                <a:lnTo>
                  <a:pt x="32413" y="140719"/>
                </a:lnTo>
                <a:lnTo>
                  <a:pt x="36371" y="145392"/>
                </a:lnTo>
                <a:lnTo>
                  <a:pt x="40454" y="149940"/>
                </a:lnTo>
                <a:lnTo>
                  <a:pt x="44630" y="154395"/>
                </a:lnTo>
                <a:lnTo>
                  <a:pt x="48883" y="158742"/>
                </a:lnTo>
                <a:lnTo>
                  <a:pt x="53199" y="162964"/>
                </a:lnTo>
                <a:lnTo>
                  <a:pt x="57545" y="167078"/>
                </a:lnTo>
                <a:lnTo>
                  <a:pt x="61938" y="171068"/>
                </a:lnTo>
                <a:lnTo>
                  <a:pt x="66316" y="174917"/>
                </a:lnTo>
                <a:lnTo>
                  <a:pt x="70678" y="178643"/>
                </a:lnTo>
                <a:lnTo>
                  <a:pt x="75024" y="182229"/>
                </a:lnTo>
                <a:lnTo>
                  <a:pt x="81420" y="187352"/>
                </a:lnTo>
                <a:lnTo>
                  <a:pt x="89663" y="193639"/>
                </a:lnTo>
                <a:lnTo>
                  <a:pt x="97425" y="199274"/>
                </a:lnTo>
                <a:lnTo>
                  <a:pt x="101057" y="201819"/>
                </a:lnTo>
                <a:lnTo>
                  <a:pt x="102454" y="202766"/>
                </a:lnTo>
                <a:lnTo>
                  <a:pt x="105342" y="204458"/>
                </a:lnTo>
                <a:lnTo>
                  <a:pt x="108338" y="205918"/>
                </a:lnTo>
                <a:lnTo>
                  <a:pt x="111396" y="207128"/>
                </a:lnTo>
                <a:lnTo>
                  <a:pt x="114516" y="208091"/>
                </a:lnTo>
                <a:lnTo>
                  <a:pt x="117683" y="208820"/>
                </a:lnTo>
                <a:lnTo>
                  <a:pt x="120896" y="209302"/>
                </a:lnTo>
                <a:lnTo>
                  <a:pt x="124125" y="209550"/>
                </a:lnTo>
                <a:lnTo>
                  <a:pt x="127354" y="209550"/>
                </a:lnTo>
                <a:lnTo>
                  <a:pt x="130583" y="209302"/>
                </a:lnTo>
                <a:lnTo>
                  <a:pt x="133796" y="208820"/>
                </a:lnTo>
                <a:lnTo>
                  <a:pt x="136963" y="208091"/>
                </a:lnTo>
                <a:lnTo>
                  <a:pt x="140098" y="207128"/>
                </a:lnTo>
                <a:lnTo>
                  <a:pt x="143156" y="205918"/>
                </a:lnTo>
                <a:lnTo>
                  <a:pt x="146137" y="204458"/>
                </a:lnTo>
                <a:lnTo>
                  <a:pt x="149024" y="202766"/>
                </a:lnTo>
                <a:lnTo>
                  <a:pt x="150421" y="201819"/>
                </a:lnTo>
                <a:lnTo>
                  <a:pt x="154038" y="199289"/>
                </a:lnTo>
                <a:lnTo>
                  <a:pt x="161769" y="193670"/>
                </a:lnTo>
                <a:lnTo>
                  <a:pt x="169981" y="187414"/>
                </a:lnTo>
                <a:lnTo>
                  <a:pt x="176361" y="182306"/>
                </a:lnTo>
                <a:lnTo>
                  <a:pt x="180676" y="178736"/>
                </a:lnTo>
                <a:lnTo>
                  <a:pt x="185023" y="175042"/>
                </a:lnTo>
                <a:lnTo>
                  <a:pt x="189385" y="171192"/>
                </a:lnTo>
                <a:lnTo>
                  <a:pt x="193763" y="167233"/>
                </a:lnTo>
                <a:lnTo>
                  <a:pt x="198094" y="163151"/>
                </a:lnTo>
                <a:lnTo>
                  <a:pt x="202394" y="158944"/>
                </a:lnTo>
                <a:lnTo>
                  <a:pt x="206647" y="154613"/>
                </a:lnTo>
                <a:lnTo>
                  <a:pt x="210807" y="150189"/>
                </a:lnTo>
                <a:lnTo>
                  <a:pt x="214874" y="145656"/>
                </a:lnTo>
                <a:lnTo>
                  <a:pt x="218817" y="141014"/>
                </a:lnTo>
                <a:lnTo>
                  <a:pt x="222636" y="136280"/>
                </a:lnTo>
                <a:lnTo>
                  <a:pt x="226300" y="131467"/>
                </a:lnTo>
                <a:lnTo>
                  <a:pt x="229792" y="126562"/>
                </a:lnTo>
                <a:lnTo>
                  <a:pt x="233083" y="121579"/>
                </a:lnTo>
                <a:lnTo>
                  <a:pt x="236173" y="116518"/>
                </a:lnTo>
                <a:lnTo>
                  <a:pt x="239044" y="111380"/>
                </a:lnTo>
                <a:lnTo>
                  <a:pt x="241652" y="106180"/>
                </a:lnTo>
                <a:lnTo>
                  <a:pt x="243996" y="100917"/>
                </a:lnTo>
                <a:lnTo>
                  <a:pt x="245564" y="96928"/>
                </a:lnTo>
                <a:lnTo>
                  <a:pt x="246527" y="94258"/>
                </a:lnTo>
                <a:lnTo>
                  <a:pt x="247396" y="91572"/>
                </a:lnTo>
                <a:lnTo>
                  <a:pt x="248203" y="88871"/>
                </a:lnTo>
                <a:lnTo>
                  <a:pt x="248917" y="86155"/>
                </a:lnTo>
                <a:lnTo>
                  <a:pt x="249554" y="83438"/>
                </a:lnTo>
                <a:lnTo>
                  <a:pt x="250112" y="80706"/>
                </a:lnTo>
                <a:lnTo>
                  <a:pt x="250563" y="77958"/>
                </a:lnTo>
                <a:lnTo>
                  <a:pt x="250935" y="75211"/>
                </a:lnTo>
                <a:lnTo>
                  <a:pt x="251215" y="72448"/>
                </a:lnTo>
                <a:lnTo>
                  <a:pt x="251385" y="69684"/>
                </a:lnTo>
                <a:lnTo>
                  <a:pt x="251479" y="66906"/>
                </a:lnTo>
                <a:lnTo>
                  <a:pt x="251463" y="64127"/>
                </a:lnTo>
                <a:lnTo>
                  <a:pt x="251339" y="61333"/>
                </a:lnTo>
                <a:lnTo>
                  <a:pt x="251230" y="59936"/>
                </a:lnTo>
                <a:lnTo>
                  <a:pt x="251199" y="59610"/>
                </a:lnTo>
                <a:lnTo>
                  <a:pt x="251184" y="59268"/>
                </a:lnTo>
                <a:lnTo>
                  <a:pt x="250966" y="57235"/>
                </a:lnTo>
                <a:lnTo>
                  <a:pt x="250361" y="53199"/>
                </a:lnTo>
                <a:lnTo>
                  <a:pt x="249507" y="49256"/>
                </a:lnTo>
                <a:lnTo>
                  <a:pt x="248436" y="45421"/>
                </a:lnTo>
                <a:lnTo>
                  <a:pt x="247132" y="41665"/>
                </a:lnTo>
                <a:lnTo>
                  <a:pt x="245626" y="38032"/>
                </a:lnTo>
                <a:lnTo>
                  <a:pt x="243919" y="34508"/>
                </a:lnTo>
                <a:lnTo>
                  <a:pt x="242009" y="31124"/>
                </a:lnTo>
                <a:lnTo>
                  <a:pt x="240969" y="29479"/>
                </a:lnTo>
                <a:lnTo>
                  <a:pt x="240209" y="28299"/>
                </a:lnTo>
                <a:lnTo>
                  <a:pt x="239401" y="27135"/>
                </a:lnTo>
                <a:lnTo>
                  <a:pt x="238594" y="26110"/>
                </a:lnTo>
                <a:lnTo>
                  <a:pt x="237244" y="24667"/>
                </a:lnTo>
                <a:lnTo>
                  <a:pt x="236281" y="23766"/>
                </a:lnTo>
                <a:lnTo>
                  <a:pt x="235784" y="23332"/>
                </a:lnTo>
                <a:lnTo>
                  <a:pt x="234837" y="22571"/>
                </a:lnTo>
                <a:lnTo>
                  <a:pt x="232882" y="21236"/>
                </a:lnTo>
                <a:lnTo>
                  <a:pt x="230832" y="20134"/>
                </a:lnTo>
                <a:lnTo>
                  <a:pt x="228690" y="19233"/>
                </a:lnTo>
                <a:lnTo>
                  <a:pt x="226517" y="18566"/>
                </a:lnTo>
                <a:lnTo>
                  <a:pt x="224297" y="18116"/>
                </a:lnTo>
                <a:lnTo>
                  <a:pt x="222046" y="17883"/>
                </a:lnTo>
                <a:lnTo>
                  <a:pt x="219795" y="17867"/>
                </a:lnTo>
                <a:lnTo>
                  <a:pt x="217544" y="18069"/>
                </a:lnTo>
                <a:lnTo>
                  <a:pt x="215325" y="18473"/>
                </a:lnTo>
                <a:lnTo>
                  <a:pt x="213167" y="19094"/>
                </a:lnTo>
                <a:lnTo>
                  <a:pt x="211056" y="19916"/>
                </a:lnTo>
                <a:lnTo>
                  <a:pt x="209007" y="20957"/>
                </a:lnTo>
                <a:lnTo>
                  <a:pt x="207082" y="22214"/>
                </a:lnTo>
                <a:lnTo>
                  <a:pt x="205250" y="23658"/>
                </a:lnTo>
                <a:lnTo>
                  <a:pt x="203542" y="25319"/>
                </a:lnTo>
                <a:lnTo>
                  <a:pt x="202751" y="26219"/>
                </a:lnTo>
                <a:lnTo>
                  <a:pt x="185504" y="46787"/>
                </a:lnTo>
                <a:lnTo>
                  <a:pt x="141775" y="98899"/>
                </a:lnTo>
                <a:lnTo>
                  <a:pt x="141232" y="99567"/>
                </a:lnTo>
                <a:lnTo>
                  <a:pt x="140285" y="100964"/>
                </a:lnTo>
                <a:lnTo>
                  <a:pt x="139508" y="102439"/>
                </a:lnTo>
                <a:lnTo>
                  <a:pt x="138903" y="103976"/>
                </a:lnTo>
                <a:lnTo>
                  <a:pt x="138468" y="105543"/>
                </a:lnTo>
                <a:lnTo>
                  <a:pt x="138189" y="107142"/>
                </a:lnTo>
                <a:lnTo>
                  <a:pt x="138065" y="108741"/>
                </a:lnTo>
                <a:lnTo>
                  <a:pt x="138111" y="110356"/>
                </a:lnTo>
                <a:lnTo>
                  <a:pt x="138329" y="111955"/>
                </a:lnTo>
                <a:lnTo>
                  <a:pt x="138701" y="113522"/>
                </a:lnTo>
                <a:lnTo>
                  <a:pt x="139229" y="115044"/>
                </a:lnTo>
                <a:lnTo>
                  <a:pt x="139912" y="116518"/>
                </a:lnTo>
                <a:lnTo>
                  <a:pt x="140750" y="117931"/>
                </a:lnTo>
                <a:lnTo>
                  <a:pt x="141759" y="119266"/>
                </a:lnTo>
                <a:lnTo>
                  <a:pt x="142908" y="120492"/>
                </a:lnTo>
                <a:lnTo>
                  <a:pt x="144212" y="121626"/>
                </a:lnTo>
                <a:lnTo>
                  <a:pt x="144926" y="122138"/>
                </a:lnTo>
                <a:lnTo>
                  <a:pt x="145438" y="122479"/>
                </a:lnTo>
                <a:lnTo>
                  <a:pt x="146494" y="123085"/>
                </a:lnTo>
                <a:lnTo>
                  <a:pt x="147581" y="123613"/>
                </a:lnTo>
                <a:lnTo>
                  <a:pt x="148698" y="124063"/>
                </a:lnTo>
                <a:lnTo>
                  <a:pt x="149863" y="124420"/>
                </a:lnTo>
                <a:lnTo>
                  <a:pt x="151042" y="124684"/>
                </a:lnTo>
                <a:lnTo>
                  <a:pt x="152238" y="124854"/>
                </a:lnTo>
                <a:lnTo>
                  <a:pt x="153448" y="124932"/>
                </a:lnTo>
                <a:lnTo>
                  <a:pt x="154069" y="124932"/>
                </a:lnTo>
                <a:lnTo>
                  <a:pt x="154939" y="124901"/>
                </a:lnTo>
                <a:lnTo>
                  <a:pt x="156662" y="124699"/>
                </a:lnTo>
                <a:lnTo>
                  <a:pt x="158338" y="124311"/>
                </a:lnTo>
                <a:lnTo>
                  <a:pt x="159937" y="123752"/>
                </a:lnTo>
                <a:lnTo>
                  <a:pt x="161459" y="123038"/>
                </a:lnTo>
                <a:lnTo>
                  <a:pt x="162902" y="122153"/>
                </a:lnTo>
                <a:lnTo>
                  <a:pt x="164253" y="121113"/>
                </a:lnTo>
                <a:lnTo>
                  <a:pt x="165495" y="119918"/>
                </a:lnTo>
                <a:lnTo>
                  <a:pt x="166053" y="119266"/>
                </a:lnTo>
                <a:lnTo>
                  <a:pt x="210357" y="66471"/>
                </a:lnTo>
                <a:lnTo>
                  <a:pt x="210668" y="66130"/>
                </a:lnTo>
                <a:lnTo>
                  <a:pt x="211366" y="65586"/>
                </a:lnTo>
                <a:lnTo>
                  <a:pt x="212142" y="65183"/>
                </a:lnTo>
                <a:lnTo>
                  <a:pt x="212965" y="64950"/>
                </a:lnTo>
                <a:lnTo>
                  <a:pt x="213819" y="64872"/>
                </a:lnTo>
                <a:lnTo>
                  <a:pt x="214673" y="64965"/>
                </a:lnTo>
                <a:lnTo>
                  <a:pt x="215495" y="65214"/>
                </a:lnTo>
                <a:lnTo>
                  <a:pt x="216272" y="65633"/>
                </a:lnTo>
                <a:lnTo>
                  <a:pt x="216644" y="65928"/>
                </a:lnTo>
                <a:lnTo>
                  <a:pt x="219252" y="68117"/>
                </a:lnTo>
                <a:lnTo>
                  <a:pt x="219578" y="68412"/>
                </a:lnTo>
                <a:lnTo>
                  <a:pt x="220137" y="69110"/>
                </a:lnTo>
                <a:lnTo>
                  <a:pt x="220525" y="69886"/>
                </a:lnTo>
                <a:lnTo>
                  <a:pt x="220773" y="70709"/>
                </a:lnTo>
                <a:lnTo>
                  <a:pt x="220835" y="71563"/>
                </a:lnTo>
                <a:lnTo>
                  <a:pt x="220758" y="72417"/>
                </a:lnTo>
                <a:lnTo>
                  <a:pt x="220494" y="73239"/>
                </a:lnTo>
                <a:lnTo>
                  <a:pt x="220075" y="74031"/>
                </a:lnTo>
                <a:lnTo>
                  <a:pt x="219795" y="74388"/>
                </a:lnTo>
                <a:lnTo>
                  <a:pt x="175492" y="127183"/>
                </a:lnTo>
                <a:lnTo>
                  <a:pt x="174560" y="128239"/>
                </a:lnTo>
                <a:lnTo>
                  <a:pt x="172573" y="130195"/>
                </a:lnTo>
                <a:lnTo>
                  <a:pt x="170431" y="131918"/>
                </a:lnTo>
                <a:lnTo>
                  <a:pt x="168134" y="133423"/>
                </a:lnTo>
                <a:lnTo>
                  <a:pt x="165696" y="134681"/>
                </a:lnTo>
                <a:lnTo>
                  <a:pt x="163151" y="135705"/>
                </a:lnTo>
                <a:lnTo>
                  <a:pt x="160512" y="136481"/>
                </a:lnTo>
                <a:lnTo>
                  <a:pt x="157764" y="136994"/>
                </a:lnTo>
                <a:lnTo>
                  <a:pt x="156367" y="137133"/>
                </a:lnTo>
                <a:lnTo>
                  <a:pt x="155109" y="137227"/>
                </a:lnTo>
                <a:lnTo>
                  <a:pt x="153868" y="137242"/>
                </a:lnTo>
                <a:lnTo>
                  <a:pt x="152626" y="137227"/>
                </a:lnTo>
                <a:lnTo>
                  <a:pt x="150189" y="137009"/>
                </a:lnTo>
                <a:lnTo>
                  <a:pt x="147782" y="136590"/>
                </a:lnTo>
                <a:lnTo>
                  <a:pt x="145438" y="135954"/>
                </a:lnTo>
                <a:lnTo>
                  <a:pt x="143141" y="135131"/>
                </a:lnTo>
                <a:lnTo>
                  <a:pt x="140937" y="134091"/>
                </a:lnTo>
                <a:lnTo>
                  <a:pt x="138810" y="132865"/>
                </a:lnTo>
                <a:lnTo>
                  <a:pt x="136776" y="131436"/>
                </a:lnTo>
                <a:lnTo>
                  <a:pt x="135814" y="130645"/>
                </a:lnTo>
                <a:lnTo>
                  <a:pt x="135255" y="130179"/>
                </a:lnTo>
                <a:lnTo>
                  <a:pt x="134200" y="129201"/>
                </a:lnTo>
                <a:lnTo>
                  <a:pt x="132725" y="127649"/>
                </a:lnTo>
                <a:lnTo>
                  <a:pt x="130986" y="125460"/>
                </a:lnTo>
                <a:lnTo>
                  <a:pt x="129496" y="123131"/>
                </a:lnTo>
                <a:lnTo>
                  <a:pt x="128254" y="120679"/>
                </a:lnTo>
                <a:lnTo>
                  <a:pt x="127245" y="118148"/>
                </a:lnTo>
                <a:lnTo>
                  <a:pt x="126500" y="115540"/>
                </a:lnTo>
                <a:lnTo>
                  <a:pt x="126019" y="112870"/>
                </a:lnTo>
                <a:lnTo>
                  <a:pt x="125786" y="110185"/>
                </a:lnTo>
                <a:lnTo>
                  <a:pt x="125801" y="107468"/>
                </a:lnTo>
                <a:lnTo>
                  <a:pt x="126081" y="104783"/>
                </a:lnTo>
                <a:lnTo>
                  <a:pt x="126624" y="102113"/>
                </a:lnTo>
                <a:lnTo>
                  <a:pt x="127431" y="99489"/>
                </a:lnTo>
                <a:lnTo>
                  <a:pt x="128487" y="96928"/>
                </a:lnTo>
                <a:lnTo>
                  <a:pt x="129822" y="94460"/>
                </a:lnTo>
                <a:lnTo>
                  <a:pt x="131017" y="92690"/>
                </a:lnTo>
                <a:lnTo>
                  <a:pt x="131887" y="91541"/>
                </a:lnTo>
                <a:lnTo>
                  <a:pt x="132337" y="90967"/>
                </a:lnTo>
                <a:lnTo>
                  <a:pt x="157966" y="60432"/>
                </a:lnTo>
                <a:lnTo>
                  <a:pt x="193312" y="18302"/>
                </a:lnTo>
                <a:lnTo>
                  <a:pt x="193856" y="17681"/>
                </a:lnTo>
                <a:lnTo>
                  <a:pt x="194958" y="16470"/>
                </a:lnTo>
                <a:lnTo>
                  <a:pt x="196697" y="14778"/>
                </a:lnTo>
                <a:lnTo>
                  <a:pt x="199149" y="12745"/>
                </a:lnTo>
                <a:lnTo>
                  <a:pt x="201757" y="10960"/>
                </a:lnTo>
                <a:lnTo>
                  <a:pt x="204474" y="9423"/>
                </a:lnTo>
                <a:lnTo>
                  <a:pt x="207299" y="8134"/>
                </a:lnTo>
                <a:lnTo>
                  <a:pt x="210217" y="7110"/>
                </a:lnTo>
                <a:lnTo>
                  <a:pt x="213198" y="6334"/>
                </a:lnTo>
                <a:lnTo>
                  <a:pt x="214704" y="6054"/>
                </a:lnTo>
                <a:lnTo>
                  <a:pt x="213105" y="5309"/>
                </a:lnTo>
                <a:lnTo>
                  <a:pt x="209860" y="3958"/>
                </a:lnTo>
                <a:lnTo>
                  <a:pt x="206523" y="2810"/>
                </a:lnTo>
                <a:lnTo>
                  <a:pt x="203108" y="1832"/>
                </a:lnTo>
                <a:lnTo>
                  <a:pt x="199630" y="1056"/>
                </a:lnTo>
                <a:lnTo>
                  <a:pt x="196091" y="497"/>
                </a:lnTo>
                <a:lnTo>
                  <a:pt x="192505" y="140"/>
                </a:lnTo>
                <a:lnTo>
                  <a:pt x="188857" y="0"/>
                </a:lnTo>
                <a:lnTo>
                  <a:pt x="187010" y="16"/>
                </a:lnTo>
                <a:lnTo>
                  <a:pt x="185737" y="47"/>
                </a:lnTo>
                <a:lnTo>
                  <a:pt x="183222" y="202"/>
                </a:lnTo>
                <a:lnTo>
                  <a:pt x="180723" y="450"/>
                </a:lnTo>
                <a:lnTo>
                  <a:pt x="178255" y="776"/>
                </a:lnTo>
                <a:lnTo>
                  <a:pt x="175802" y="1195"/>
                </a:lnTo>
                <a:lnTo>
                  <a:pt x="173380" y="1708"/>
                </a:lnTo>
                <a:lnTo>
                  <a:pt x="171005" y="2313"/>
                </a:lnTo>
                <a:lnTo>
                  <a:pt x="168646" y="2996"/>
                </a:lnTo>
                <a:lnTo>
                  <a:pt x="166317" y="3757"/>
                </a:lnTo>
                <a:lnTo>
                  <a:pt x="164035" y="4610"/>
                </a:lnTo>
                <a:lnTo>
                  <a:pt x="161800" y="5542"/>
                </a:lnTo>
                <a:lnTo>
                  <a:pt x="159596" y="6551"/>
                </a:lnTo>
                <a:lnTo>
                  <a:pt x="157422" y="7638"/>
                </a:lnTo>
                <a:lnTo>
                  <a:pt x="155311" y="8786"/>
                </a:lnTo>
                <a:lnTo>
                  <a:pt x="153247" y="10028"/>
                </a:lnTo>
                <a:lnTo>
                  <a:pt x="151213" y="11332"/>
                </a:lnTo>
                <a:lnTo>
                  <a:pt x="149257" y="12714"/>
                </a:lnTo>
                <a:lnTo>
                  <a:pt x="147332" y="14157"/>
                </a:lnTo>
                <a:lnTo>
                  <a:pt x="145469" y="15679"/>
                </a:lnTo>
                <a:lnTo>
                  <a:pt x="143669" y="17262"/>
                </a:lnTo>
                <a:lnTo>
                  <a:pt x="141930" y="18907"/>
                </a:lnTo>
                <a:lnTo>
                  <a:pt x="140254" y="20615"/>
                </a:lnTo>
                <a:lnTo>
                  <a:pt x="138624" y="22385"/>
                </a:lnTo>
                <a:lnTo>
                  <a:pt x="137071" y="24216"/>
                </a:lnTo>
                <a:lnTo>
                  <a:pt x="135597" y="26095"/>
                </a:lnTo>
                <a:lnTo>
                  <a:pt x="134184" y="28035"/>
                </a:lnTo>
                <a:lnTo>
                  <a:pt x="132833" y="30038"/>
                </a:lnTo>
                <a:lnTo>
                  <a:pt x="131561" y="32102"/>
                </a:lnTo>
                <a:lnTo>
                  <a:pt x="130381" y="34198"/>
                </a:lnTo>
                <a:lnTo>
                  <a:pt x="129263" y="36356"/>
                </a:lnTo>
                <a:lnTo>
                  <a:pt x="128223" y="38560"/>
                </a:lnTo>
                <a:lnTo>
                  <a:pt x="127276" y="40826"/>
                </a:lnTo>
                <a:lnTo>
                  <a:pt x="126841" y="41960"/>
                </a:lnTo>
                <a:lnTo>
                  <a:pt x="126717" y="42270"/>
                </a:lnTo>
                <a:lnTo>
                  <a:pt x="126469" y="42720"/>
                </a:lnTo>
                <a:lnTo>
                  <a:pt x="126205" y="42969"/>
                </a:lnTo>
                <a:lnTo>
                  <a:pt x="125910" y="43062"/>
                </a:lnTo>
                <a:lnTo>
                  <a:pt x="125739" y="43077"/>
                </a:lnTo>
                <a:lnTo>
                  <a:pt x="125569" y="43062"/>
                </a:lnTo>
                <a:lnTo>
                  <a:pt x="125274" y="42969"/>
                </a:lnTo>
                <a:lnTo>
                  <a:pt x="125010" y="42720"/>
                </a:lnTo>
                <a:lnTo>
                  <a:pt x="124761" y="42270"/>
                </a:lnTo>
                <a:lnTo>
                  <a:pt x="124637" y="41960"/>
                </a:lnTo>
                <a:lnTo>
                  <a:pt x="124202" y="40826"/>
                </a:lnTo>
                <a:lnTo>
                  <a:pt x="123256" y="38560"/>
                </a:lnTo>
                <a:lnTo>
                  <a:pt x="122215" y="36356"/>
                </a:lnTo>
                <a:lnTo>
                  <a:pt x="121098" y="34198"/>
                </a:lnTo>
                <a:lnTo>
                  <a:pt x="119918" y="32102"/>
                </a:lnTo>
                <a:lnTo>
                  <a:pt x="118645" y="30038"/>
                </a:lnTo>
                <a:lnTo>
                  <a:pt x="117295" y="28035"/>
                </a:lnTo>
                <a:lnTo>
                  <a:pt x="115882" y="26095"/>
                </a:lnTo>
                <a:lnTo>
                  <a:pt x="114407" y="24216"/>
                </a:lnTo>
                <a:lnTo>
                  <a:pt x="112855" y="22385"/>
                </a:lnTo>
                <a:lnTo>
                  <a:pt x="111225" y="20615"/>
                </a:lnTo>
                <a:lnTo>
                  <a:pt x="109548" y="18907"/>
                </a:lnTo>
                <a:lnTo>
                  <a:pt x="107810" y="17262"/>
                </a:lnTo>
                <a:lnTo>
                  <a:pt x="106009" y="15679"/>
                </a:lnTo>
                <a:lnTo>
                  <a:pt x="104146" y="14157"/>
                </a:lnTo>
                <a:lnTo>
                  <a:pt x="102221" y="12714"/>
                </a:lnTo>
                <a:lnTo>
                  <a:pt x="100265" y="11332"/>
                </a:lnTo>
                <a:lnTo>
                  <a:pt x="98232" y="10028"/>
                </a:lnTo>
                <a:lnTo>
                  <a:pt x="96167" y="8786"/>
                </a:lnTo>
                <a:lnTo>
                  <a:pt x="94056" y="7638"/>
                </a:lnTo>
                <a:lnTo>
                  <a:pt x="91883" y="6551"/>
                </a:lnTo>
                <a:lnTo>
                  <a:pt x="89678" y="5542"/>
                </a:lnTo>
                <a:lnTo>
                  <a:pt x="87443" y="4610"/>
                </a:lnTo>
                <a:lnTo>
                  <a:pt x="85161" y="3757"/>
                </a:lnTo>
                <a:lnTo>
                  <a:pt x="82833" y="2996"/>
                </a:lnTo>
                <a:lnTo>
                  <a:pt x="80473" y="2313"/>
                </a:lnTo>
                <a:lnTo>
                  <a:pt x="78098" y="1708"/>
                </a:lnTo>
                <a:lnTo>
                  <a:pt x="75676" y="1195"/>
                </a:lnTo>
                <a:lnTo>
                  <a:pt x="73224" y="776"/>
                </a:lnTo>
                <a:lnTo>
                  <a:pt x="70756" y="450"/>
                </a:lnTo>
                <a:lnTo>
                  <a:pt x="68256" y="202"/>
                </a:lnTo>
                <a:lnTo>
                  <a:pt x="65741" y="47"/>
                </a:lnTo>
                <a:lnTo>
                  <a:pt x="64469" y="16"/>
                </a:lnTo>
                <a:lnTo>
                  <a:pt x="62932" y="0"/>
                </a:lnTo>
                <a:close/>
              </a:path>
            </a:pathLst>
          </a:custGeom>
          <a:solidFill>
            <a:srgbClr val="F7224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7" name="Google Shape;507;p36"/>
          <p:cNvSpPr txBox="1">
            <a:spLocks noGrp="1"/>
          </p:cNvSpPr>
          <p:nvPr>
            <p:ph type="title" idx="2"/>
          </p:nvPr>
        </p:nvSpPr>
        <p:spPr>
          <a:xfrm>
            <a:off x="415600" y="1226075"/>
            <a:ext cx="6667800" cy="393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00"/>
              <a:buFont typeface="Lato"/>
              <a:buNone/>
              <a:defRPr sz="19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508" name="Google Shape;508;p36"/>
          <p:cNvSpPr txBox="1">
            <a:spLocks noGrp="1"/>
          </p:cNvSpPr>
          <p:nvPr>
            <p:ph type="body" idx="1"/>
          </p:nvPr>
        </p:nvSpPr>
        <p:spPr>
          <a:xfrm>
            <a:off x="415600" y="1834900"/>
            <a:ext cx="6667800" cy="41331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30200" rtl="0">
              <a:spcBef>
                <a:spcPts val="0"/>
              </a:spcBef>
              <a:spcAft>
                <a:spcPts val="0"/>
              </a:spcAft>
              <a:buSzPts val="1600"/>
              <a:buChar char="•"/>
              <a:defRPr sz="1600"/>
            </a:lvl1pPr>
            <a:lvl2pPr marL="914400" lvl="1" indent="-323850" rtl="0">
              <a:spcBef>
                <a:spcPts val="1300"/>
              </a:spcBef>
              <a:spcAft>
                <a:spcPts val="0"/>
              </a:spcAft>
              <a:buSzPts val="1500"/>
              <a:buChar char="○"/>
              <a:defRPr sz="1500"/>
            </a:lvl2pPr>
            <a:lvl3pPr marL="1371600" lvl="2" indent="-311150" rtl="0">
              <a:spcBef>
                <a:spcPts val="1300"/>
              </a:spcBef>
              <a:spcAft>
                <a:spcPts val="0"/>
              </a:spcAft>
              <a:buSzPts val="1300"/>
              <a:buChar char="•"/>
              <a:defRPr sz="1300"/>
            </a:lvl3pPr>
            <a:lvl4pPr marL="1828800" lvl="3" indent="-304800" rtl="0">
              <a:spcBef>
                <a:spcPts val="1300"/>
              </a:spcBef>
              <a:spcAft>
                <a:spcPts val="0"/>
              </a:spcAft>
              <a:buSzPts val="1200"/>
              <a:buChar char="◦"/>
              <a:defRPr sz="1200"/>
            </a:lvl4pPr>
            <a:lvl5pPr marL="2286000" lvl="4" indent="-298450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/>
            </a:lvl5pPr>
            <a:lvl6pPr marL="2743200" lvl="5" indent="-298450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/>
            </a:lvl6pPr>
            <a:lvl7pPr marL="3200400" lvl="6" indent="-298450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/>
            </a:lvl7pPr>
            <a:lvl8pPr marL="3657600" lvl="7" indent="-298450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 rtl="0">
              <a:spcBef>
                <a:spcPts val="1300"/>
              </a:spcBef>
              <a:spcAft>
                <a:spcPts val="1300"/>
              </a:spcAft>
              <a:buSzPts val="11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0791560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List with Icons">
  <p:cSld name="2 Column List with Icons">
    <p:bg>
      <p:bgPr>
        <a:solidFill>
          <a:schemeClr val="lt1"/>
        </a:solidFill>
        <a:effectLst/>
      </p:bgPr>
    </p:bg>
    <p:spTree>
      <p:nvGrpSpPr>
        <p:cNvPr id="1" name="Shape 5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0" name="Google Shape;510;p37"/>
          <p:cNvSpPr txBox="1">
            <a:spLocks noGrp="1"/>
          </p:cNvSpPr>
          <p:nvPr>
            <p:ph type="sldNum" idx="12"/>
          </p:nvPr>
        </p:nvSpPr>
        <p:spPr>
          <a:xfrm>
            <a:off x="11044810" y="6091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11" name="Google Shape;511;p37"/>
          <p:cNvSpPr txBox="1">
            <a:spLocks noGrp="1"/>
          </p:cNvSpPr>
          <p:nvPr>
            <p:ph type="body" idx="1"/>
          </p:nvPr>
        </p:nvSpPr>
        <p:spPr>
          <a:xfrm>
            <a:off x="1828800" y="1831967"/>
            <a:ext cx="2990400" cy="10305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04800" rtl="0">
              <a:spcBef>
                <a:spcPts val="0"/>
              </a:spcBef>
              <a:spcAft>
                <a:spcPts val="0"/>
              </a:spcAft>
              <a:buSzPts val="1200"/>
              <a:buChar char="•"/>
              <a:defRPr sz="1200"/>
            </a:lvl1pPr>
            <a:lvl2pPr marL="914400" lvl="1" indent="-304800" rtl="0">
              <a:spcBef>
                <a:spcPts val="13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rtl="0">
              <a:spcBef>
                <a:spcPts val="1300"/>
              </a:spcBef>
              <a:spcAft>
                <a:spcPts val="0"/>
              </a:spcAft>
              <a:buSzPts val="1200"/>
              <a:buChar char="•"/>
              <a:defRPr sz="1200"/>
            </a:lvl3pPr>
            <a:lvl4pPr marL="1828800" lvl="3" indent="-304800" rtl="0">
              <a:spcBef>
                <a:spcPts val="1300"/>
              </a:spcBef>
              <a:spcAft>
                <a:spcPts val="0"/>
              </a:spcAft>
              <a:buSzPts val="1200"/>
              <a:buChar char="◦"/>
              <a:defRPr sz="1200"/>
            </a:lvl4pPr>
            <a:lvl5pPr marL="2286000" lvl="4" indent="-298450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/>
            </a:lvl5pPr>
            <a:lvl6pPr marL="2743200" lvl="5" indent="-298450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/>
            </a:lvl6pPr>
            <a:lvl7pPr marL="3200400" lvl="6" indent="-298450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/>
            </a:lvl7pPr>
            <a:lvl8pPr marL="3657600" lvl="7" indent="-298450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 rtl="0">
              <a:spcBef>
                <a:spcPts val="1300"/>
              </a:spcBef>
              <a:spcAft>
                <a:spcPts val="1300"/>
              </a:spcAft>
              <a:buSzPts val="1100"/>
              <a:buChar char="•"/>
              <a:defRPr/>
            </a:lvl9pPr>
          </a:lstStyle>
          <a:p>
            <a:endParaRPr/>
          </a:p>
        </p:txBody>
      </p:sp>
      <p:sp>
        <p:nvSpPr>
          <p:cNvPr id="512" name="Google Shape;512;p37"/>
          <p:cNvSpPr txBox="1">
            <a:spLocks noGrp="1"/>
          </p:cNvSpPr>
          <p:nvPr>
            <p:ph type="body" idx="2"/>
          </p:nvPr>
        </p:nvSpPr>
        <p:spPr>
          <a:xfrm>
            <a:off x="7039203" y="1831967"/>
            <a:ext cx="2990400" cy="10305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04800" rtl="0">
              <a:spcBef>
                <a:spcPts val="0"/>
              </a:spcBef>
              <a:spcAft>
                <a:spcPts val="0"/>
              </a:spcAft>
              <a:buSzPts val="1200"/>
              <a:buChar char="•"/>
              <a:defRPr sz="1200"/>
            </a:lvl1pPr>
            <a:lvl2pPr marL="914400" lvl="1" indent="-304800" rtl="0">
              <a:spcBef>
                <a:spcPts val="13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rtl="0">
              <a:spcBef>
                <a:spcPts val="1300"/>
              </a:spcBef>
              <a:spcAft>
                <a:spcPts val="0"/>
              </a:spcAft>
              <a:buSzPts val="1200"/>
              <a:buChar char="•"/>
              <a:defRPr sz="1200"/>
            </a:lvl3pPr>
            <a:lvl4pPr marL="1828800" lvl="3" indent="-304800" rtl="0">
              <a:spcBef>
                <a:spcPts val="1300"/>
              </a:spcBef>
              <a:spcAft>
                <a:spcPts val="0"/>
              </a:spcAft>
              <a:buSzPts val="1200"/>
              <a:buChar char="◦"/>
              <a:defRPr sz="1200"/>
            </a:lvl4pPr>
            <a:lvl5pPr marL="2286000" lvl="4" indent="-298450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/>
            </a:lvl5pPr>
            <a:lvl6pPr marL="2743200" lvl="5" indent="-298450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/>
            </a:lvl6pPr>
            <a:lvl7pPr marL="3200400" lvl="6" indent="-298450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/>
            </a:lvl7pPr>
            <a:lvl8pPr marL="3657600" lvl="7" indent="-298450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 rtl="0">
              <a:spcBef>
                <a:spcPts val="1300"/>
              </a:spcBef>
              <a:spcAft>
                <a:spcPts val="1300"/>
              </a:spcAft>
              <a:buSzPts val="1100"/>
              <a:buChar char="•"/>
              <a:defRPr/>
            </a:lvl9pPr>
          </a:lstStyle>
          <a:p>
            <a:endParaRPr/>
          </a:p>
        </p:txBody>
      </p:sp>
      <p:sp>
        <p:nvSpPr>
          <p:cNvPr id="513" name="Google Shape;513;p37"/>
          <p:cNvSpPr txBox="1">
            <a:spLocks noGrp="1"/>
          </p:cNvSpPr>
          <p:nvPr>
            <p:ph type="body" idx="3"/>
          </p:nvPr>
        </p:nvSpPr>
        <p:spPr>
          <a:xfrm>
            <a:off x="7039195" y="3144400"/>
            <a:ext cx="2990400" cy="10305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04800" rtl="0">
              <a:spcBef>
                <a:spcPts val="0"/>
              </a:spcBef>
              <a:spcAft>
                <a:spcPts val="0"/>
              </a:spcAft>
              <a:buSzPts val="1200"/>
              <a:buChar char="•"/>
              <a:defRPr sz="1200"/>
            </a:lvl1pPr>
            <a:lvl2pPr marL="914400" lvl="1" indent="-304800" rtl="0">
              <a:spcBef>
                <a:spcPts val="13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rtl="0">
              <a:spcBef>
                <a:spcPts val="1300"/>
              </a:spcBef>
              <a:spcAft>
                <a:spcPts val="0"/>
              </a:spcAft>
              <a:buSzPts val="1200"/>
              <a:buChar char="•"/>
              <a:defRPr sz="1200"/>
            </a:lvl3pPr>
            <a:lvl4pPr marL="1828800" lvl="3" indent="-304800" rtl="0">
              <a:spcBef>
                <a:spcPts val="1300"/>
              </a:spcBef>
              <a:spcAft>
                <a:spcPts val="0"/>
              </a:spcAft>
              <a:buSzPts val="1200"/>
              <a:buChar char="◦"/>
              <a:defRPr sz="1200"/>
            </a:lvl4pPr>
            <a:lvl5pPr marL="2286000" lvl="4" indent="-298450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/>
            </a:lvl5pPr>
            <a:lvl6pPr marL="2743200" lvl="5" indent="-298450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/>
            </a:lvl6pPr>
            <a:lvl7pPr marL="3200400" lvl="6" indent="-298450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/>
            </a:lvl7pPr>
            <a:lvl8pPr marL="3657600" lvl="7" indent="-298450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 rtl="0">
              <a:spcBef>
                <a:spcPts val="1300"/>
              </a:spcBef>
              <a:spcAft>
                <a:spcPts val="1300"/>
              </a:spcAft>
              <a:buSzPts val="1100"/>
              <a:buChar char="•"/>
              <a:defRPr/>
            </a:lvl9pPr>
          </a:lstStyle>
          <a:p>
            <a:endParaRPr/>
          </a:p>
        </p:txBody>
      </p:sp>
      <p:sp>
        <p:nvSpPr>
          <p:cNvPr id="514" name="Google Shape;514;p37"/>
          <p:cNvSpPr>
            <a:spLocks noGrp="1"/>
          </p:cNvSpPr>
          <p:nvPr>
            <p:ph type="pic" idx="4"/>
          </p:nvPr>
        </p:nvSpPr>
        <p:spPr>
          <a:xfrm>
            <a:off x="415600" y="1831967"/>
            <a:ext cx="1030500" cy="1030500"/>
          </a:xfrm>
          <a:prstGeom prst="rect">
            <a:avLst/>
          </a:prstGeom>
          <a:noFill/>
          <a:ln>
            <a:noFill/>
          </a:ln>
        </p:spPr>
      </p:sp>
      <p:sp>
        <p:nvSpPr>
          <p:cNvPr id="515" name="Google Shape;515;p37"/>
          <p:cNvSpPr>
            <a:spLocks noGrp="1"/>
          </p:cNvSpPr>
          <p:nvPr>
            <p:ph type="pic" idx="5"/>
          </p:nvPr>
        </p:nvSpPr>
        <p:spPr>
          <a:xfrm>
            <a:off x="415600" y="3144400"/>
            <a:ext cx="1030500" cy="1030500"/>
          </a:xfrm>
          <a:prstGeom prst="rect">
            <a:avLst/>
          </a:prstGeom>
          <a:noFill/>
          <a:ln>
            <a:noFill/>
          </a:ln>
        </p:spPr>
      </p:sp>
      <p:sp>
        <p:nvSpPr>
          <p:cNvPr id="516" name="Google Shape;516;p37"/>
          <p:cNvSpPr>
            <a:spLocks noGrp="1"/>
          </p:cNvSpPr>
          <p:nvPr>
            <p:ph type="pic" idx="6"/>
          </p:nvPr>
        </p:nvSpPr>
        <p:spPr>
          <a:xfrm>
            <a:off x="5580845" y="1831967"/>
            <a:ext cx="1030500" cy="1030500"/>
          </a:xfrm>
          <a:prstGeom prst="rect">
            <a:avLst/>
          </a:prstGeom>
          <a:noFill/>
          <a:ln>
            <a:noFill/>
          </a:ln>
        </p:spPr>
      </p:sp>
      <p:sp>
        <p:nvSpPr>
          <p:cNvPr id="517" name="Google Shape;517;p37"/>
          <p:cNvSpPr txBox="1">
            <a:spLocks noGrp="1"/>
          </p:cNvSpPr>
          <p:nvPr>
            <p:ph type="body" idx="7"/>
          </p:nvPr>
        </p:nvSpPr>
        <p:spPr>
          <a:xfrm>
            <a:off x="1828800" y="4456833"/>
            <a:ext cx="2990400" cy="10305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04800" rtl="0">
              <a:spcBef>
                <a:spcPts val="0"/>
              </a:spcBef>
              <a:spcAft>
                <a:spcPts val="0"/>
              </a:spcAft>
              <a:buSzPts val="1200"/>
              <a:buChar char="•"/>
              <a:defRPr sz="1200"/>
            </a:lvl1pPr>
            <a:lvl2pPr marL="914400" lvl="1" indent="-304800" rtl="0">
              <a:spcBef>
                <a:spcPts val="13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rtl="0">
              <a:spcBef>
                <a:spcPts val="1300"/>
              </a:spcBef>
              <a:spcAft>
                <a:spcPts val="0"/>
              </a:spcAft>
              <a:buSzPts val="1200"/>
              <a:buChar char="•"/>
              <a:defRPr sz="1200"/>
            </a:lvl3pPr>
            <a:lvl4pPr marL="1828800" lvl="3" indent="-304800" rtl="0">
              <a:spcBef>
                <a:spcPts val="1300"/>
              </a:spcBef>
              <a:spcAft>
                <a:spcPts val="0"/>
              </a:spcAft>
              <a:buSzPts val="1200"/>
              <a:buChar char="◦"/>
              <a:defRPr sz="1200"/>
            </a:lvl4pPr>
            <a:lvl5pPr marL="2286000" lvl="4" indent="-298450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/>
            </a:lvl5pPr>
            <a:lvl6pPr marL="2743200" lvl="5" indent="-298450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/>
            </a:lvl6pPr>
            <a:lvl7pPr marL="3200400" lvl="6" indent="-298450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/>
            </a:lvl7pPr>
            <a:lvl8pPr marL="3657600" lvl="7" indent="-298450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 rtl="0">
              <a:spcBef>
                <a:spcPts val="1300"/>
              </a:spcBef>
              <a:spcAft>
                <a:spcPts val="1300"/>
              </a:spcAft>
              <a:buSzPts val="1100"/>
              <a:buChar char="•"/>
              <a:defRPr/>
            </a:lvl9pPr>
          </a:lstStyle>
          <a:p>
            <a:endParaRPr/>
          </a:p>
        </p:txBody>
      </p:sp>
      <p:sp>
        <p:nvSpPr>
          <p:cNvPr id="518" name="Google Shape;518;p37"/>
          <p:cNvSpPr txBox="1">
            <a:spLocks noGrp="1"/>
          </p:cNvSpPr>
          <p:nvPr>
            <p:ph type="body" idx="8"/>
          </p:nvPr>
        </p:nvSpPr>
        <p:spPr>
          <a:xfrm>
            <a:off x="7039203" y="4456833"/>
            <a:ext cx="2990400" cy="10305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04800" rtl="0">
              <a:spcBef>
                <a:spcPts val="0"/>
              </a:spcBef>
              <a:spcAft>
                <a:spcPts val="0"/>
              </a:spcAft>
              <a:buSzPts val="1200"/>
              <a:buChar char="•"/>
              <a:defRPr sz="1200"/>
            </a:lvl1pPr>
            <a:lvl2pPr marL="914400" lvl="1" indent="-304800" rtl="0">
              <a:spcBef>
                <a:spcPts val="13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rtl="0">
              <a:spcBef>
                <a:spcPts val="1300"/>
              </a:spcBef>
              <a:spcAft>
                <a:spcPts val="0"/>
              </a:spcAft>
              <a:buSzPts val="1200"/>
              <a:buChar char="•"/>
              <a:defRPr sz="1200"/>
            </a:lvl3pPr>
            <a:lvl4pPr marL="1828800" lvl="3" indent="-304800" rtl="0">
              <a:spcBef>
                <a:spcPts val="1300"/>
              </a:spcBef>
              <a:spcAft>
                <a:spcPts val="0"/>
              </a:spcAft>
              <a:buSzPts val="1200"/>
              <a:buChar char="◦"/>
              <a:defRPr sz="1200"/>
            </a:lvl4pPr>
            <a:lvl5pPr marL="2286000" lvl="4" indent="-298450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/>
            </a:lvl5pPr>
            <a:lvl6pPr marL="2743200" lvl="5" indent="-298450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/>
            </a:lvl6pPr>
            <a:lvl7pPr marL="3200400" lvl="6" indent="-298450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/>
            </a:lvl7pPr>
            <a:lvl8pPr marL="3657600" lvl="7" indent="-298450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 rtl="0">
              <a:spcBef>
                <a:spcPts val="1300"/>
              </a:spcBef>
              <a:spcAft>
                <a:spcPts val="1300"/>
              </a:spcAft>
              <a:buSzPts val="1100"/>
              <a:buChar char="•"/>
              <a:defRPr/>
            </a:lvl9pPr>
          </a:lstStyle>
          <a:p>
            <a:endParaRPr/>
          </a:p>
        </p:txBody>
      </p:sp>
      <p:sp>
        <p:nvSpPr>
          <p:cNvPr id="519" name="Google Shape;519;p37"/>
          <p:cNvSpPr txBox="1">
            <a:spLocks noGrp="1"/>
          </p:cNvSpPr>
          <p:nvPr>
            <p:ph type="body" idx="9"/>
          </p:nvPr>
        </p:nvSpPr>
        <p:spPr>
          <a:xfrm>
            <a:off x="1828795" y="3144400"/>
            <a:ext cx="2990400" cy="10305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04800" rtl="0">
              <a:spcBef>
                <a:spcPts val="0"/>
              </a:spcBef>
              <a:spcAft>
                <a:spcPts val="0"/>
              </a:spcAft>
              <a:buSzPts val="1200"/>
              <a:buChar char="•"/>
              <a:defRPr sz="1200"/>
            </a:lvl1pPr>
            <a:lvl2pPr marL="914400" lvl="1" indent="-304800" rtl="0">
              <a:spcBef>
                <a:spcPts val="13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rtl="0">
              <a:spcBef>
                <a:spcPts val="1300"/>
              </a:spcBef>
              <a:spcAft>
                <a:spcPts val="0"/>
              </a:spcAft>
              <a:buSzPts val="1200"/>
              <a:buChar char="•"/>
              <a:defRPr sz="1200"/>
            </a:lvl3pPr>
            <a:lvl4pPr marL="1828800" lvl="3" indent="-304800" rtl="0">
              <a:spcBef>
                <a:spcPts val="1300"/>
              </a:spcBef>
              <a:spcAft>
                <a:spcPts val="0"/>
              </a:spcAft>
              <a:buSzPts val="1200"/>
              <a:buChar char="◦"/>
              <a:defRPr sz="1200"/>
            </a:lvl4pPr>
            <a:lvl5pPr marL="2286000" lvl="4" indent="-298450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/>
            </a:lvl5pPr>
            <a:lvl6pPr marL="2743200" lvl="5" indent="-298450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/>
            </a:lvl6pPr>
            <a:lvl7pPr marL="3200400" lvl="6" indent="-298450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/>
            </a:lvl7pPr>
            <a:lvl8pPr marL="3657600" lvl="7" indent="-298450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 rtl="0">
              <a:spcBef>
                <a:spcPts val="1300"/>
              </a:spcBef>
              <a:spcAft>
                <a:spcPts val="1300"/>
              </a:spcAft>
              <a:buSzPts val="1100"/>
              <a:buChar char="•"/>
              <a:defRPr/>
            </a:lvl9pPr>
          </a:lstStyle>
          <a:p>
            <a:endParaRPr/>
          </a:p>
        </p:txBody>
      </p:sp>
      <p:sp>
        <p:nvSpPr>
          <p:cNvPr id="520" name="Google Shape;520;p37"/>
          <p:cNvSpPr>
            <a:spLocks noGrp="1"/>
          </p:cNvSpPr>
          <p:nvPr>
            <p:ph type="pic" idx="13"/>
          </p:nvPr>
        </p:nvSpPr>
        <p:spPr>
          <a:xfrm>
            <a:off x="415600" y="4456833"/>
            <a:ext cx="1030500" cy="1030500"/>
          </a:xfrm>
          <a:prstGeom prst="rect">
            <a:avLst/>
          </a:prstGeom>
          <a:noFill/>
          <a:ln>
            <a:noFill/>
          </a:ln>
        </p:spPr>
      </p:sp>
      <p:sp>
        <p:nvSpPr>
          <p:cNvPr id="521" name="Google Shape;521;p37"/>
          <p:cNvSpPr>
            <a:spLocks noGrp="1"/>
          </p:cNvSpPr>
          <p:nvPr>
            <p:ph type="pic" idx="14"/>
          </p:nvPr>
        </p:nvSpPr>
        <p:spPr>
          <a:xfrm>
            <a:off x="5580833" y="4456833"/>
            <a:ext cx="1030500" cy="1030500"/>
          </a:xfrm>
          <a:prstGeom prst="rect">
            <a:avLst/>
          </a:prstGeom>
          <a:noFill/>
          <a:ln>
            <a:noFill/>
          </a:ln>
        </p:spPr>
      </p:sp>
      <p:sp>
        <p:nvSpPr>
          <p:cNvPr id="522" name="Google Shape;522;p37"/>
          <p:cNvSpPr>
            <a:spLocks noGrp="1"/>
          </p:cNvSpPr>
          <p:nvPr>
            <p:ph type="pic" idx="15"/>
          </p:nvPr>
        </p:nvSpPr>
        <p:spPr>
          <a:xfrm>
            <a:off x="5580811" y="3144400"/>
            <a:ext cx="1030500" cy="1030500"/>
          </a:xfrm>
          <a:prstGeom prst="rect">
            <a:avLst/>
          </a:prstGeom>
          <a:noFill/>
          <a:ln>
            <a:noFill/>
          </a:ln>
        </p:spPr>
      </p:sp>
      <p:sp>
        <p:nvSpPr>
          <p:cNvPr id="523" name="Google Shape;523;p37"/>
          <p:cNvSpPr/>
          <p:nvPr/>
        </p:nvSpPr>
        <p:spPr>
          <a:xfrm rot="10800000">
            <a:off x="3833" y="67"/>
            <a:ext cx="11147700" cy="10329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4" name="Google Shape;524;p37"/>
          <p:cNvSpPr/>
          <p:nvPr/>
        </p:nvSpPr>
        <p:spPr>
          <a:xfrm>
            <a:off x="-23600" y="0"/>
            <a:ext cx="1266300" cy="10329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5" name="Google Shape;525;p37"/>
          <p:cNvSpPr txBox="1">
            <a:spLocks noGrp="1"/>
          </p:cNvSpPr>
          <p:nvPr>
            <p:ph type="title"/>
          </p:nvPr>
        </p:nvSpPr>
        <p:spPr>
          <a:xfrm>
            <a:off x="415600" y="398067"/>
            <a:ext cx="101241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1pPr>
            <a:lvl2pPr lvl="1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2pPr>
            <a:lvl3pPr lvl="2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3pPr>
            <a:lvl4pPr lvl="3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4pPr>
            <a:lvl5pPr lvl="4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5pPr>
            <a:lvl6pPr lvl="5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6pPr>
            <a:lvl7pPr lvl="6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7pPr>
            <a:lvl8pPr lvl="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8pPr>
            <a:lvl9pPr lvl="8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526" name="Google Shape;526;p37"/>
          <p:cNvSpPr txBox="1">
            <a:spLocks noGrp="1"/>
          </p:cNvSpPr>
          <p:nvPr>
            <p:ph type="title" idx="16"/>
          </p:nvPr>
        </p:nvSpPr>
        <p:spPr>
          <a:xfrm>
            <a:off x="415600" y="1226067"/>
            <a:ext cx="11360700" cy="393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00"/>
              <a:buFont typeface="Lato"/>
              <a:buNone/>
              <a:defRPr sz="19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527" name="Google Shape;527;p37"/>
          <p:cNvSpPr/>
          <p:nvPr/>
        </p:nvSpPr>
        <p:spPr>
          <a:xfrm>
            <a:off x="11525533" y="364133"/>
            <a:ext cx="365273" cy="304371"/>
          </a:xfrm>
          <a:custGeom>
            <a:avLst/>
            <a:gdLst/>
            <a:ahLst/>
            <a:cxnLst/>
            <a:rect l="l" t="t" r="r" b="b"/>
            <a:pathLst>
              <a:path w="251479" h="209550" extrusionOk="0">
                <a:moveTo>
                  <a:pt x="62932" y="0"/>
                </a:moveTo>
                <a:lnTo>
                  <a:pt x="59858" y="78"/>
                </a:lnTo>
                <a:lnTo>
                  <a:pt x="56847" y="326"/>
                </a:lnTo>
                <a:lnTo>
                  <a:pt x="53851" y="714"/>
                </a:lnTo>
                <a:lnTo>
                  <a:pt x="50901" y="1257"/>
                </a:lnTo>
                <a:lnTo>
                  <a:pt x="47998" y="1925"/>
                </a:lnTo>
                <a:lnTo>
                  <a:pt x="45142" y="2748"/>
                </a:lnTo>
                <a:lnTo>
                  <a:pt x="42348" y="3695"/>
                </a:lnTo>
                <a:lnTo>
                  <a:pt x="39600" y="4781"/>
                </a:lnTo>
                <a:lnTo>
                  <a:pt x="36915" y="5992"/>
                </a:lnTo>
                <a:lnTo>
                  <a:pt x="34291" y="7327"/>
                </a:lnTo>
                <a:lnTo>
                  <a:pt x="31730" y="8786"/>
                </a:lnTo>
                <a:lnTo>
                  <a:pt x="29246" y="10354"/>
                </a:lnTo>
                <a:lnTo>
                  <a:pt x="26840" y="12031"/>
                </a:lnTo>
                <a:lnTo>
                  <a:pt x="24511" y="13831"/>
                </a:lnTo>
                <a:lnTo>
                  <a:pt x="22261" y="15741"/>
                </a:lnTo>
                <a:lnTo>
                  <a:pt x="20087" y="17743"/>
                </a:lnTo>
                <a:lnTo>
                  <a:pt x="18023" y="19839"/>
                </a:lnTo>
                <a:lnTo>
                  <a:pt x="16036" y="22043"/>
                </a:lnTo>
                <a:lnTo>
                  <a:pt x="14157" y="24325"/>
                </a:lnTo>
                <a:lnTo>
                  <a:pt x="12372" y="26716"/>
                </a:lnTo>
                <a:lnTo>
                  <a:pt x="10696" y="29168"/>
                </a:lnTo>
                <a:lnTo>
                  <a:pt x="9112" y="31714"/>
                </a:lnTo>
                <a:lnTo>
                  <a:pt x="7653" y="34338"/>
                </a:lnTo>
                <a:lnTo>
                  <a:pt x="6318" y="37039"/>
                </a:lnTo>
                <a:lnTo>
                  <a:pt x="5092" y="39802"/>
                </a:lnTo>
                <a:lnTo>
                  <a:pt x="3990" y="42643"/>
                </a:lnTo>
                <a:lnTo>
                  <a:pt x="3012" y="45546"/>
                </a:lnTo>
                <a:lnTo>
                  <a:pt x="2173" y="48495"/>
                </a:lnTo>
                <a:lnTo>
                  <a:pt x="1459" y="51507"/>
                </a:lnTo>
                <a:lnTo>
                  <a:pt x="885" y="54580"/>
                </a:lnTo>
                <a:lnTo>
                  <a:pt x="450" y="57700"/>
                </a:lnTo>
                <a:lnTo>
                  <a:pt x="310" y="59268"/>
                </a:lnTo>
                <a:lnTo>
                  <a:pt x="186" y="60665"/>
                </a:lnTo>
                <a:lnTo>
                  <a:pt x="31" y="63475"/>
                </a:lnTo>
                <a:lnTo>
                  <a:pt x="0" y="66269"/>
                </a:lnTo>
                <a:lnTo>
                  <a:pt x="62" y="69063"/>
                </a:lnTo>
                <a:lnTo>
                  <a:pt x="217" y="71842"/>
                </a:lnTo>
                <a:lnTo>
                  <a:pt x="466" y="74605"/>
                </a:lnTo>
                <a:lnTo>
                  <a:pt x="823" y="77368"/>
                </a:lnTo>
                <a:lnTo>
                  <a:pt x="1257" y="80132"/>
                </a:lnTo>
                <a:lnTo>
                  <a:pt x="1801" y="82864"/>
                </a:lnTo>
                <a:lnTo>
                  <a:pt x="2422" y="85611"/>
                </a:lnTo>
                <a:lnTo>
                  <a:pt x="3120" y="88328"/>
                </a:lnTo>
                <a:lnTo>
                  <a:pt x="3912" y="91045"/>
                </a:lnTo>
                <a:lnTo>
                  <a:pt x="4781" y="93730"/>
                </a:lnTo>
                <a:lnTo>
                  <a:pt x="5728" y="96416"/>
                </a:lnTo>
                <a:lnTo>
                  <a:pt x="7280" y="100436"/>
                </a:lnTo>
                <a:lnTo>
                  <a:pt x="9609" y="105714"/>
                </a:lnTo>
                <a:lnTo>
                  <a:pt x="12201" y="110946"/>
                </a:lnTo>
                <a:lnTo>
                  <a:pt x="15058" y="116099"/>
                </a:lnTo>
                <a:lnTo>
                  <a:pt x="18147" y="121191"/>
                </a:lnTo>
                <a:lnTo>
                  <a:pt x="21438" y="126205"/>
                </a:lnTo>
                <a:lnTo>
                  <a:pt x="24931" y="131126"/>
                </a:lnTo>
                <a:lnTo>
                  <a:pt x="28594" y="135969"/>
                </a:lnTo>
                <a:lnTo>
                  <a:pt x="32413" y="140719"/>
                </a:lnTo>
                <a:lnTo>
                  <a:pt x="36371" y="145392"/>
                </a:lnTo>
                <a:lnTo>
                  <a:pt x="40454" y="149940"/>
                </a:lnTo>
                <a:lnTo>
                  <a:pt x="44630" y="154395"/>
                </a:lnTo>
                <a:lnTo>
                  <a:pt x="48883" y="158742"/>
                </a:lnTo>
                <a:lnTo>
                  <a:pt x="53199" y="162964"/>
                </a:lnTo>
                <a:lnTo>
                  <a:pt x="57545" y="167078"/>
                </a:lnTo>
                <a:lnTo>
                  <a:pt x="61938" y="171068"/>
                </a:lnTo>
                <a:lnTo>
                  <a:pt x="66316" y="174917"/>
                </a:lnTo>
                <a:lnTo>
                  <a:pt x="70678" y="178643"/>
                </a:lnTo>
                <a:lnTo>
                  <a:pt x="75024" y="182229"/>
                </a:lnTo>
                <a:lnTo>
                  <a:pt x="81420" y="187352"/>
                </a:lnTo>
                <a:lnTo>
                  <a:pt x="89663" y="193639"/>
                </a:lnTo>
                <a:lnTo>
                  <a:pt x="97425" y="199274"/>
                </a:lnTo>
                <a:lnTo>
                  <a:pt x="101057" y="201819"/>
                </a:lnTo>
                <a:lnTo>
                  <a:pt x="102454" y="202766"/>
                </a:lnTo>
                <a:lnTo>
                  <a:pt x="105342" y="204458"/>
                </a:lnTo>
                <a:lnTo>
                  <a:pt x="108338" y="205918"/>
                </a:lnTo>
                <a:lnTo>
                  <a:pt x="111396" y="207128"/>
                </a:lnTo>
                <a:lnTo>
                  <a:pt x="114516" y="208091"/>
                </a:lnTo>
                <a:lnTo>
                  <a:pt x="117683" y="208820"/>
                </a:lnTo>
                <a:lnTo>
                  <a:pt x="120896" y="209302"/>
                </a:lnTo>
                <a:lnTo>
                  <a:pt x="124125" y="209550"/>
                </a:lnTo>
                <a:lnTo>
                  <a:pt x="127354" y="209550"/>
                </a:lnTo>
                <a:lnTo>
                  <a:pt x="130583" y="209302"/>
                </a:lnTo>
                <a:lnTo>
                  <a:pt x="133796" y="208820"/>
                </a:lnTo>
                <a:lnTo>
                  <a:pt x="136963" y="208091"/>
                </a:lnTo>
                <a:lnTo>
                  <a:pt x="140098" y="207128"/>
                </a:lnTo>
                <a:lnTo>
                  <a:pt x="143156" y="205918"/>
                </a:lnTo>
                <a:lnTo>
                  <a:pt x="146137" y="204458"/>
                </a:lnTo>
                <a:lnTo>
                  <a:pt x="149024" y="202766"/>
                </a:lnTo>
                <a:lnTo>
                  <a:pt x="150421" y="201819"/>
                </a:lnTo>
                <a:lnTo>
                  <a:pt x="154038" y="199289"/>
                </a:lnTo>
                <a:lnTo>
                  <a:pt x="161769" y="193670"/>
                </a:lnTo>
                <a:lnTo>
                  <a:pt x="169981" y="187414"/>
                </a:lnTo>
                <a:lnTo>
                  <a:pt x="176361" y="182306"/>
                </a:lnTo>
                <a:lnTo>
                  <a:pt x="180676" y="178736"/>
                </a:lnTo>
                <a:lnTo>
                  <a:pt x="185023" y="175042"/>
                </a:lnTo>
                <a:lnTo>
                  <a:pt x="189385" y="171192"/>
                </a:lnTo>
                <a:lnTo>
                  <a:pt x="193763" y="167233"/>
                </a:lnTo>
                <a:lnTo>
                  <a:pt x="198094" y="163151"/>
                </a:lnTo>
                <a:lnTo>
                  <a:pt x="202394" y="158944"/>
                </a:lnTo>
                <a:lnTo>
                  <a:pt x="206647" y="154613"/>
                </a:lnTo>
                <a:lnTo>
                  <a:pt x="210807" y="150189"/>
                </a:lnTo>
                <a:lnTo>
                  <a:pt x="214874" y="145656"/>
                </a:lnTo>
                <a:lnTo>
                  <a:pt x="218817" y="141014"/>
                </a:lnTo>
                <a:lnTo>
                  <a:pt x="222636" y="136280"/>
                </a:lnTo>
                <a:lnTo>
                  <a:pt x="226300" y="131467"/>
                </a:lnTo>
                <a:lnTo>
                  <a:pt x="229792" y="126562"/>
                </a:lnTo>
                <a:lnTo>
                  <a:pt x="233083" y="121579"/>
                </a:lnTo>
                <a:lnTo>
                  <a:pt x="236173" y="116518"/>
                </a:lnTo>
                <a:lnTo>
                  <a:pt x="239044" y="111380"/>
                </a:lnTo>
                <a:lnTo>
                  <a:pt x="241652" y="106180"/>
                </a:lnTo>
                <a:lnTo>
                  <a:pt x="243996" y="100917"/>
                </a:lnTo>
                <a:lnTo>
                  <a:pt x="245564" y="96928"/>
                </a:lnTo>
                <a:lnTo>
                  <a:pt x="246527" y="94258"/>
                </a:lnTo>
                <a:lnTo>
                  <a:pt x="247396" y="91572"/>
                </a:lnTo>
                <a:lnTo>
                  <a:pt x="248203" y="88871"/>
                </a:lnTo>
                <a:lnTo>
                  <a:pt x="248917" y="86155"/>
                </a:lnTo>
                <a:lnTo>
                  <a:pt x="249554" y="83438"/>
                </a:lnTo>
                <a:lnTo>
                  <a:pt x="250112" y="80706"/>
                </a:lnTo>
                <a:lnTo>
                  <a:pt x="250563" y="77958"/>
                </a:lnTo>
                <a:lnTo>
                  <a:pt x="250935" y="75211"/>
                </a:lnTo>
                <a:lnTo>
                  <a:pt x="251215" y="72448"/>
                </a:lnTo>
                <a:lnTo>
                  <a:pt x="251385" y="69684"/>
                </a:lnTo>
                <a:lnTo>
                  <a:pt x="251479" y="66906"/>
                </a:lnTo>
                <a:lnTo>
                  <a:pt x="251463" y="64127"/>
                </a:lnTo>
                <a:lnTo>
                  <a:pt x="251339" y="61333"/>
                </a:lnTo>
                <a:lnTo>
                  <a:pt x="251230" y="59936"/>
                </a:lnTo>
                <a:lnTo>
                  <a:pt x="251199" y="59610"/>
                </a:lnTo>
                <a:lnTo>
                  <a:pt x="251184" y="59268"/>
                </a:lnTo>
                <a:lnTo>
                  <a:pt x="250966" y="57235"/>
                </a:lnTo>
                <a:lnTo>
                  <a:pt x="250361" y="53199"/>
                </a:lnTo>
                <a:lnTo>
                  <a:pt x="249507" y="49256"/>
                </a:lnTo>
                <a:lnTo>
                  <a:pt x="248436" y="45421"/>
                </a:lnTo>
                <a:lnTo>
                  <a:pt x="247132" y="41665"/>
                </a:lnTo>
                <a:lnTo>
                  <a:pt x="245626" y="38032"/>
                </a:lnTo>
                <a:lnTo>
                  <a:pt x="243919" y="34508"/>
                </a:lnTo>
                <a:lnTo>
                  <a:pt x="242009" y="31124"/>
                </a:lnTo>
                <a:lnTo>
                  <a:pt x="240969" y="29479"/>
                </a:lnTo>
                <a:lnTo>
                  <a:pt x="240209" y="28299"/>
                </a:lnTo>
                <a:lnTo>
                  <a:pt x="239401" y="27135"/>
                </a:lnTo>
                <a:lnTo>
                  <a:pt x="238594" y="26110"/>
                </a:lnTo>
                <a:lnTo>
                  <a:pt x="237244" y="24667"/>
                </a:lnTo>
                <a:lnTo>
                  <a:pt x="236281" y="23766"/>
                </a:lnTo>
                <a:lnTo>
                  <a:pt x="235784" y="23332"/>
                </a:lnTo>
                <a:lnTo>
                  <a:pt x="234837" y="22571"/>
                </a:lnTo>
                <a:lnTo>
                  <a:pt x="232882" y="21236"/>
                </a:lnTo>
                <a:lnTo>
                  <a:pt x="230832" y="20134"/>
                </a:lnTo>
                <a:lnTo>
                  <a:pt x="228690" y="19233"/>
                </a:lnTo>
                <a:lnTo>
                  <a:pt x="226517" y="18566"/>
                </a:lnTo>
                <a:lnTo>
                  <a:pt x="224297" y="18116"/>
                </a:lnTo>
                <a:lnTo>
                  <a:pt x="222046" y="17883"/>
                </a:lnTo>
                <a:lnTo>
                  <a:pt x="219795" y="17867"/>
                </a:lnTo>
                <a:lnTo>
                  <a:pt x="217544" y="18069"/>
                </a:lnTo>
                <a:lnTo>
                  <a:pt x="215325" y="18473"/>
                </a:lnTo>
                <a:lnTo>
                  <a:pt x="213167" y="19094"/>
                </a:lnTo>
                <a:lnTo>
                  <a:pt x="211056" y="19916"/>
                </a:lnTo>
                <a:lnTo>
                  <a:pt x="209007" y="20957"/>
                </a:lnTo>
                <a:lnTo>
                  <a:pt x="207082" y="22214"/>
                </a:lnTo>
                <a:lnTo>
                  <a:pt x="205250" y="23658"/>
                </a:lnTo>
                <a:lnTo>
                  <a:pt x="203542" y="25319"/>
                </a:lnTo>
                <a:lnTo>
                  <a:pt x="202751" y="26219"/>
                </a:lnTo>
                <a:lnTo>
                  <a:pt x="185504" y="46787"/>
                </a:lnTo>
                <a:lnTo>
                  <a:pt x="141775" y="98899"/>
                </a:lnTo>
                <a:lnTo>
                  <a:pt x="141232" y="99567"/>
                </a:lnTo>
                <a:lnTo>
                  <a:pt x="140285" y="100964"/>
                </a:lnTo>
                <a:lnTo>
                  <a:pt x="139508" y="102439"/>
                </a:lnTo>
                <a:lnTo>
                  <a:pt x="138903" y="103976"/>
                </a:lnTo>
                <a:lnTo>
                  <a:pt x="138468" y="105543"/>
                </a:lnTo>
                <a:lnTo>
                  <a:pt x="138189" y="107142"/>
                </a:lnTo>
                <a:lnTo>
                  <a:pt x="138065" y="108741"/>
                </a:lnTo>
                <a:lnTo>
                  <a:pt x="138111" y="110356"/>
                </a:lnTo>
                <a:lnTo>
                  <a:pt x="138329" y="111955"/>
                </a:lnTo>
                <a:lnTo>
                  <a:pt x="138701" y="113522"/>
                </a:lnTo>
                <a:lnTo>
                  <a:pt x="139229" y="115044"/>
                </a:lnTo>
                <a:lnTo>
                  <a:pt x="139912" y="116518"/>
                </a:lnTo>
                <a:lnTo>
                  <a:pt x="140750" y="117931"/>
                </a:lnTo>
                <a:lnTo>
                  <a:pt x="141759" y="119266"/>
                </a:lnTo>
                <a:lnTo>
                  <a:pt x="142908" y="120492"/>
                </a:lnTo>
                <a:lnTo>
                  <a:pt x="144212" y="121626"/>
                </a:lnTo>
                <a:lnTo>
                  <a:pt x="144926" y="122138"/>
                </a:lnTo>
                <a:lnTo>
                  <a:pt x="145438" y="122479"/>
                </a:lnTo>
                <a:lnTo>
                  <a:pt x="146494" y="123085"/>
                </a:lnTo>
                <a:lnTo>
                  <a:pt x="147581" y="123613"/>
                </a:lnTo>
                <a:lnTo>
                  <a:pt x="148698" y="124063"/>
                </a:lnTo>
                <a:lnTo>
                  <a:pt x="149863" y="124420"/>
                </a:lnTo>
                <a:lnTo>
                  <a:pt x="151042" y="124684"/>
                </a:lnTo>
                <a:lnTo>
                  <a:pt x="152238" y="124854"/>
                </a:lnTo>
                <a:lnTo>
                  <a:pt x="153448" y="124932"/>
                </a:lnTo>
                <a:lnTo>
                  <a:pt x="154069" y="124932"/>
                </a:lnTo>
                <a:lnTo>
                  <a:pt x="154939" y="124901"/>
                </a:lnTo>
                <a:lnTo>
                  <a:pt x="156662" y="124699"/>
                </a:lnTo>
                <a:lnTo>
                  <a:pt x="158338" y="124311"/>
                </a:lnTo>
                <a:lnTo>
                  <a:pt x="159937" y="123752"/>
                </a:lnTo>
                <a:lnTo>
                  <a:pt x="161459" y="123038"/>
                </a:lnTo>
                <a:lnTo>
                  <a:pt x="162902" y="122153"/>
                </a:lnTo>
                <a:lnTo>
                  <a:pt x="164253" y="121113"/>
                </a:lnTo>
                <a:lnTo>
                  <a:pt x="165495" y="119918"/>
                </a:lnTo>
                <a:lnTo>
                  <a:pt x="166053" y="119266"/>
                </a:lnTo>
                <a:lnTo>
                  <a:pt x="210357" y="66471"/>
                </a:lnTo>
                <a:lnTo>
                  <a:pt x="210668" y="66130"/>
                </a:lnTo>
                <a:lnTo>
                  <a:pt x="211366" y="65586"/>
                </a:lnTo>
                <a:lnTo>
                  <a:pt x="212142" y="65183"/>
                </a:lnTo>
                <a:lnTo>
                  <a:pt x="212965" y="64950"/>
                </a:lnTo>
                <a:lnTo>
                  <a:pt x="213819" y="64872"/>
                </a:lnTo>
                <a:lnTo>
                  <a:pt x="214673" y="64965"/>
                </a:lnTo>
                <a:lnTo>
                  <a:pt x="215495" y="65214"/>
                </a:lnTo>
                <a:lnTo>
                  <a:pt x="216272" y="65633"/>
                </a:lnTo>
                <a:lnTo>
                  <a:pt x="216644" y="65928"/>
                </a:lnTo>
                <a:lnTo>
                  <a:pt x="219252" y="68117"/>
                </a:lnTo>
                <a:lnTo>
                  <a:pt x="219578" y="68412"/>
                </a:lnTo>
                <a:lnTo>
                  <a:pt x="220137" y="69110"/>
                </a:lnTo>
                <a:lnTo>
                  <a:pt x="220525" y="69886"/>
                </a:lnTo>
                <a:lnTo>
                  <a:pt x="220773" y="70709"/>
                </a:lnTo>
                <a:lnTo>
                  <a:pt x="220835" y="71563"/>
                </a:lnTo>
                <a:lnTo>
                  <a:pt x="220758" y="72417"/>
                </a:lnTo>
                <a:lnTo>
                  <a:pt x="220494" y="73239"/>
                </a:lnTo>
                <a:lnTo>
                  <a:pt x="220075" y="74031"/>
                </a:lnTo>
                <a:lnTo>
                  <a:pt x="219795" y="74388"/>
                </a:lnTo>
                <a:lnTo>
                  <a:pt x="175492" y="127183"/>
                </a:lnTo>
                <a:lnTo>
                  <a:pt x="174560" y="128239"/>
                </a:lnTo>
                <a:lnTo>
                  <a:pt x="172573" y="130195"/>
                </a:lnTo>
                <a:lnTo>
                  <a:pt x="170431" y="131918"/>
                </a:lnTo>
                <a:lnTo>
                  <a:pt x="168134" y="133423"/>
                </a:lnTo>
                <a:lnTo>
                  <a:pt x="165696" y="134681"/>
                </a:lnTo>
                <a:lnTo>
                  <a:pt x="163151" y="135705"/>
                </a:lnTo>
                <a:lnTo>
                  <a:pt x="160512" y="136481"/>
                </a:lnTo>
                <a:lnTo>
                  <a:pt x="157764" y="136994"/>
                </a:lnTo>
                <a:lnTo>
                  <a:pt x="156367" y="137133"/>
                </a:lnTo>
                <a:lnTo>
                  <a:pt x="155109" y="137227"/>
                </a:lnTo>
                <a:lnTo>
                  <a:pt x="153868" y="137242"/>
                </a:lnTo>
                <a:lnTo>
                  <a:pt x="152626" y="137227"/>
                </a:lnTo>
                <a:lnTo>
                  <a:pt x="150189" y="137009"/>
                </a:lnTo>
                <a:lnTo>
                  <a:pt x="147782" y="136590"/>
                </a:lnTo>
                <a:lnTo>
                  <a:pt x="145438" y="135954"/>
                </a:lnTo>
                <a:lnTo>
                  <a:pt x="143141" y="135131"/>
                </a:lnTo>
                <a:lnTo>
                  <a:pt x="140937" y="134091"/>
                </a:lnTo>
                <a:lnTo>
                  <a:pt x="138810" y="132865"/>
                </a:lnTo>
                <a:lnTo>
                  <a:pt x="136776" y="131436"/>
                </a:lnTo>
                <a:lnTo>
                  <a:pt x="135814" y="130645"/>
                </a:lnTo>
                <a:lnTo>
                  <a:pt x="135255" y="130179"/>
                </a:lnTo>
                <a:lnTo>
                  <a:pt x="134200" y="129201"/>
                </a:lnTo>
                <a:lnTo>
                  <a:pt x="132725" y="127649"/>
                </a:lnTo>
                <a:lnTo>
                  <a:pt x="130986" y="125460"/>
                </a:lnTo>
                <a:lnTo>
                  <a:pt x="129496" y="123131"/>
                </a:lnTo>
                <a:lnTo>
                  <a:pt x="128254" y="120679"/>
                </a:lnTo>
                <a:lnTo>
                  <a:pt x="127245" y="118148"/>
                </a:lnTo>
                <a:lnTo>
                  <a:pt x="126500" y="115540"/>
                </a:lnTo>
                <a:lnTo>
                  <a:pt x="126019" y="112870"/>
                </a:lnTo>
                <a:lnTo>
                  <a:pt x="125786" y="110185"/>
                </a:lnTo>
                <a:lnTo>
                  <a:pt x="125801" y="107468"/>
                </a:lnTo>
                <a:lnTo>
                  <a:pt x="126081" y="104783"/>
                </a:lnTo>
                <a:lnTo>
                  <a:pt x="126624" y="102113"/>
                </a:lnTo>
                <a:lnTo>
                  <a:pt x="127431" y="99489"/>
                </a:lnTo>
                <a:lnTo>
                  <a:pt x="128487" y="96928"/>
                </a:lnTo>
                <a:lnTo>
                  <a:pt x="129822" y="94460"/>
                </a:lnTo>
                <a:lnTo>
                  <a:pt x="131017" y="92690"/>
                </a:lnTo>
                <a:lnTo>
                  <a:pt x="131887" y="91541"/>
                </a:lnTo>
                <a:lnTo>
                  <a:pt x="132337" y="90967"/>
                </a:lnTo>
                <a:lnTo>
                  <a:pt x="157966" y="60432"/>
                </a:lnTo>
                <a:lnTo>
                  <a:pt x="193312" y="18302"/>
                </a:lnTo>
                <a:lnTo>
                  <a:pt x="193856" y="17681"/>
                </a:lnTo>
                <a:lnTo>
                  <a:pt x="194958" y="16470"/>
                </a:lnTo>
                <a:lnTo>
                  <a:pt x="196697" y="14778"/>
                </a:lnTo>
                <a:lnTo>
                  <a:pt x="199149" y="12745"/>
                </a:lnTo>
                <a:lnTo>
                  <a:pt x="201757" y="10960"/>
                </a:lnTo>
                <a:lnTo>
                  <a:pt x="204474" y="9423"/>
                </a:lnTo>
                <a:lnTo>
                  <a:pt x="207299" y="8134"/>
                </a:lnTo>
                <a:lnTo>
                  <a:pt x="210217" y="7110"/>
                </a:lnTo>
                <a:lnTo>
                  <a:pt x="213198" y="6334"/>
                </a:lnTo>
                <a:lnTo>
                  <a:pt x="214704" y="6054"/>
                </a:lnTo>
                <a:lnTo>
                  <a:pt x="213105" y="5309"/>
                </a:lnTo>
                <a:lnTo>
                  <a:pt x="209860" y="3958"/>
                </a:lnTo>
                <a:lnTo>
                  <a:pt x="206523" y="2810"/>
                </a:lnTo>
                <a:lnTo>
                  <a:pt x="203108" y="1832"/>
                </a:lnTo>
                <a:lnTo>
                  <a:pt x="199630" y="1056"/>
                </a:lnTo>
                <a:lnTo>
                  <a:pt x="196091" y="497"/>
                </a:lnTo>
                <a:lnTo>
                  <a:pt x="192505" y="140"/>
                </a:lnTo>
                <a:lnTo>
                  <a:pt x="188857" y="0"/>
                </a:lnTo>
                <a:lnTo>
                  <a:pt x="187010" y="16"/>
                </a:lnTo>
                <a:lnTo>
                  <a:pt x="185737" y="47"/>
                </a:lnTo>
                <a:lnTo>
                  <a:pt x="183222" y="202"/>
                </a:lnTo>
                <a:lnTo>
                  <a:pt x="180723" y="450"/>
                </a:lnTo>
                <a:lnTo>
                  <a:pt x="178255" y="776"/>
                </a:lnTo>
                <a:lnTo>
                  <a:pt x="175802" y="1195"/>
                </a:lnTo>
                <a:lnTo>
                  <a:pt x="173380" y="1708"/>
                </a:lnTo>
                <a:lnTo>
                  <a:pt x="171005" y="2313"/>
                </a:lnTo>
                <a:lnTo>
                  <a:pt x="168646" y="2996"/>
                </a:lnTo>
                <a:lnTo>
                  <a:pt x="166317" y="3757"/>
                </a:lnTo>
                <a:lnTo>
                  <a:pt x="164035" y="4610"/>
                </a:lnTo>
                <a:lnTo>
                  <a:pt x="161800" y="5542"/>
                </a:lnTo>
                <a:lnTo>
                  <a:pt x="159596" y="6551"/>
                </a:lnTo>
                <a:lnTo>
                  <a:pt x="157422" y="7638"/>
                </a:lnTo>
                <a:lnTo>
                  <a:pt x="155311" y="8786"/>
                </a:lnTo>
                <a:lnTo>
                  <a:pt x="153247" y="10028"/>
                </a:lnTo>
                <a:lnTo>
                  <a:pt x="151213" y="11332"/>
                </a:lnTo>
                <a:lnTo>
                  <a:pt x="149257" y="12714"/>
                </a:lnTo>
                <a:lnTo>
                  <a:pt x="147332" y="14157"/>
                </a:lnTo>
                <a:lnTo>
                  <a:pt x="145469" y="15679"/>
                </a:lnTo>
                <a:lnTo>
                  <a:pt x="143669" y="17262"/>
                </a:lnTo>
                <a:lnTo>
                  <a:pt x="141930" y="18907"/>
                </a:lnTo>
                <a:lnTo>
                  <a:pt x="140254" y="20615"/>
                </a:lnTo>
                <a:lnTo>
                  <a:pt x="138624" y="22385"/>
                </a:lnTo>
                <a:lnTo>
                  <a:pt x="137071" y="24216"/>
                </a:lnTo>
                <a:lnTo>
                  <a:pt x="135597" y="26095"/>
                </a:lnTo>
                <a:lnTo>
                  <a:pt x="134184" y="28035"/>
                </a:lnTo>
                <a:lnTo>
                  <a:pt x="132833" y="30038"/>
                </a:lnTo>
                <a:lnTo>
                  <a:pt x="131561" y="32102"/>
                </a:lnTo>
                <a:lnTo>
                  <a:pt x="130381" y="34198"/>
                </a:lnTo>
                <a:lnTo>
                  <a:pt x="129263" y="36356"/>
                </a:lnTo>
                <a:lnTo>
                  <a:pt x="128223" y="38560"/>
                </a:lnTo>
                <a:lnTo>
                  <a:pt x="127276" y="40826"/>
                </a:lnTo>
                <a:lnTo>
                  <a:pt x="126841" y="41960"/>
                </a:lnTo>
                <a:lnTo>
                  <a:pt x="126717" y="42270"/>
                </a:lnTo>
                <a:lnTo>
                  <a:pt x="126469" y="42720"/>
                </a:lnTo>
                <a:lnTo>
                  <a:pt x="126205" y="42969"/>
                </a:lnTo>
                <a:lnTo>
                  <a:pt x="125910" y="43062"/>
                </a:lnTo>
                <a:lnTo>
                  <a:pt x="125739" y="43077"/>
                </a:lnTo>
                <a:lnTo>
                  <a:pt x="125569" y="43062"/>
                </a:lnTo>
                <a:lnTo>
                  <a:pt x="125274" y="42969"/>
                </a:lnTo>
                <a:lnTo>
                  <a:pt x="125010" y="42720"/>
                </a:lnTo>
                <a:lnTo>
                  <a:pt x="124761" y="42270"/>
                </a:lnTo>
                <a:lnTo>
                  <a:pt x="124637" y="41960"/>
                </a:lnTo>
                <a:lnTo>
                  <a:pt x="124202" y="40826"/>
                </a:lnTo>
                <a:lnTo>
                  <a:pt x="123256" y="38560"/>
                </a:lnTo>
                <a:lnTo>
                  <a:pt x="122215" y="36356"/>
                </a:lnTo>
                <a:lnTo>
                  <a:pt x="121098" y="34198"/>
                </a:lnTo>
                <a:lnTo>
                  <a:pt x="119918" y="32102"/>
                </a:lnTo>
                <a:lnTo>
                  <a:pt x="118645" y="30038"/>
                </a:lnTo>
                <a:lnTo>
                  <a:pt x="117295" y="28035"/>
                </a:lnTo>
                <a:lnTo>
                  <a:pt x="115882" y="26095"/>
                </a:lnTo>
                <a:lnTo>
                  <a:pt x="114407" y="24216"/>
                </a:lnTo>
                <a:lnTo>
                  <a:pt x="112855" y="22385"/>
                </a:lnTo>
                <a:lnTo>
                  <a:pt x="111225" y="20615"/>
                </a:lnTo>
                <a:lnTo>
                  <a:pt x="109548" y="18907"/>
                </a:lnTo>
                <a:lnTo>
                  <a:pt x="107810" y="17262"/>
                </a:lnTo>
                <a:lnTo>
                  <a:pt x="106009" y="15679"/>
                </a:lnTo>
                <a:lnTo>
                  <a:pt x="104146" y="14157"/>
                </a:lnTo>
                <a:lnTo>
                  <a:pt x="102221" y="12714"/>
                </a:lnTo>
                <a:lnTo>
                  <a:pt x="100265" y="11332"/>
                </a:lnTo>
                <a:lnTo>
                  <a:pt x="98232" y="10028"/>
                </a:lnTo>
                <a:lnTo>
                  <a:pt x="96167" y="8786"/>
                </a:lnTo>
                <a:lnTo>
                  <a:pt x="94056" y="7638"/>
                </a:lnTo>
                <a:lnTo>
                  <a:pt x="91883" y="6551"/>
                </a:lnTo>
                <a:lnTo>
                  <a:pt x="89678" y="5542"/>
                </a:lnTo>
                <a:lnTo>
                  <a:pt x="87443" y="4610"/>
                </a:lnTo>
                <a:lnTo>
                  <a:pt x="85161" y="3757"/>
                </a:lnTo>
                <a:lnTo>
                  <a:pt x="82833" y="2996"/>
                </a:lnTo>
                <a:lnTo>
                  <a:pt x="80473" y="2313"/>
                </a:lnTo>
                <a:lnTo>
                  <a:pt x="78098" y="1708"/>
                </a:lnTo>
                <a:lnTo>
                  <a:pt x="75676" y="1195"/>
                </a:lnTo>
                <a:lnTo>
                  <a:pt x="73224" y="776"/>
                </a:lnTo>
                <a:lnTo>
                  <a:pt x="70756" y="450"/>
                </a:lnTo>
                <a:lnTo>
                  <a:pt x="68256" y="202"/>
                </a:lnTo>
                <a:lnTo>
                  <a:pt x="65741" y="47"/>
                </a:lnTo>
                <a:lnTo>
                  <a:pt x="64469" y="16"/>
                </a:lnTo>
                <a:lnTo>
                  <a:pt x="62932" y="0"/>
                </a:lnTo>
                <a:close/>
              </a:path>
            </a:pathLst>
          </a:custGeom>
          <a:solidFill>
            <a:srgbClr val="F7224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3223196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2B Thank you with text">
  <p:cSld name="B2B Thank you with text">
    <p:bg>
      <p:bgPr>
        <a:solidFill>
          <a:schemeClr val="lt1"/>
        </a:solidFill>
        <a:effectLst/>
      </p:bgPr>
    </p:bg>
    <p:spTree>
      <p:nvGrpSpPr>
        <p:cNvPr id="1" name="Shape 5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9" name="Google Shape;529;p38"/>
          <p:cNvSpPr txBox="1"/>
          <p:nvPr/>
        </p:nvSpPr>
        <p:spPr>
          <a:xfrm flipH="1">
            <a:off x="7474233" y="2442183"/>
            <a:ext cx="3118500" cy="73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800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rPr>
              <a:t>Thank You</a:t>
            </a:r>
            <a:endParaRPr sz="4800">
              <a:solidFill>
                <a:schemeClr val="dk2"/>
              </a:solidFill>
              <a:latin typeface="Lato Black"/>
              <a:ea typeface="Lato Black"/>
              <a:cs typeface="Lato Black"/>
              <a:sym typeface="Lato Black"/>
            </a:endParaRPr>
          </a:p>
        </p:txBody>
      </p:sp>
      <p:sp>
        <p:nvSpPr>
          <p:cNvPr id="530" name="Google Shape;530;p38"/>
          <p:cNvSpPr/>
          <p:nvPr/>
        </p:nvSpPr>
        <p:spPr>
          <a:xfrm>
            <a:off x="8386392" y="3490151"/>
            <a:ext cx="1367417" cy="1139428"/>
          </a:xfrm>
          <a:custGeom>
            <a:avLst/>
            <a:gdLst/>
            <a:ahLst/>
            <a:cxnLst/>
            <a:rect l="l" t="t" r="r" b="b"/>
            <a:pathLst>
              <a:path w="251479" h="209550" extrusionOk="0">
                <a:moveTo>
                  <a:pt x="62932" y="0"/>
                </a:moveTo>
                <a:lnTo>
                  <a:pt x="59858" y="78"/>
                </a:lnTo>
                <a:lnTo>
                  <a:pt x="56847" y="326"/>
                </a:lnTo>
                <a:lnTo>
                  <a:pt x="53851" y="714"/>
                </a:lnTo>
                <a:lnTo>
                  <a:pt x="50901" y="1257"/>
                </a:lnTo>
                <a:lnTo>
                  <a:pt x="47998" y="1925"/>
                </a:lnTo>
                <a:lnTo>
                  <a:pt x="45142" y="2748"/>
                </a:lnTo>
                <a:lnTo>
                  <a:pt x="42348" y="3695"/>
                </a:lnTo>
                <a:lnTo>
                  <a:pt x="39600" y="4781"/>
                </a:lnTo>
                <a:lnTo>
                  <a:pt x="36915" y="5992"/>
                </a:lnTo>
                <a:lnTo>
                  <a:pt x="34291" y="7327"/>
                </a:lnTo>
                <a:lnTo>
                  <a:pt x="31730" y="8786"/>
                </a:lnTo>
                <a:lnTo>
                  <a:pt x="29246" y="10354"/>
                </a:lnTo>
                <a:lnTo>
                  <a:pt x="26840" y="12031"/>
                </a:lnTo>
                <a:lnTo>
                  <a:pt x="24511" y="13831"/>
                </a:lnTo>
                <a:lnTo>
                  <a:pt x="22261" y="15741"/>
                </a:lnTo>
                <a:lnTo>
                  <a:pt x="20087" y="17743"/>
                </a:lnTo>
                <a:lnTo>
                  <a:pt x="18023" y="19839"/>
                </a:lnTo>
                <a:lnTo>
                  <a:pt x="16036" y="22043"/>
                </a:lnTo>
                <a:lnTo>
                  <a:pt x="14157" y="24325"/>
                </a:lnTo>
                <a:lnTo>
                  <a:pt x="12372" y="26716"/>
                </a:lnTo>
                <a:lnTo>
                  <a:pt x="10696" y="29168"/>
                </a:lnTo>
                <a:lnTo>
                  <a:pt x="9112" y="31714"/>
                </a:lnTo>
                <a:lnTo>
                  <a:pt x="7653" y="34338"/>
                </a:lnTo>
                <a:lnTo>
                  <a:pt x="6318" y="37039"/>
                </a:lnTo>
                <a:lnTo>
                  <a:pt x="5092" y="39802"/>
                </a:lnTo>
                <a:lnTo>
                  <a:pt x="3990" y="42643"/>
                </a:lnTo>
                <a:lnTo>
                  <a:pt x="3012" y="45546"/>
                </a:lnTo>
                <a:lnTo>
                  <a:pt x="2173" y="48495"/>
                </a:lnTo>
                <a:lnTo>
                  <a:pt x="1459" y="51507"/>
                </a:lnTo>
                <a:lnTo>
                  <a:pt x="885" y="54580"/>
                </a:lnTo>
                <a:lnTo>
                  <a:pt x="450" y="57700"/>
                </a:lnTo>
                <a:lnTo>
                  <a:pt x="310" y="59268"/>
                </a:lnTo>
                <a:lnTo>
                  <a:pt x="186" y="60665"/>
                </a:lnTo>
                <a:lnTo>
                  <a:pt x="31" y="63475"/>
                </a:lnTo>
                <a:lnTo>
                  <a:pt x="0" y="66269"/>
                </a:lnTo>
                <a:lnTo>
                  <a:pt x="62" y="69063"/>
                </a:lnTo>
                <a:lnTo>
                  <a:pt x="217" y="71842"/>
                </a:lnTo>
                <a:lnTo>
                  <a:pt x="466" y="74605"/>
                </a:lnTo>
                <a:lnTo>
                  <a:pt x="823" y="77368"/>
                </a:lnTo>
                <a:lnTo>
                  <a:pt x="1257" y="80132"/>
                </a:lnTo>
                <a:lnTo>
                  <a:pt x="1801" y="82864"/>
                </a:lnTo>
                <a:lnTo>
                  <a:pt x="2422" y="85611"/>
                </a:lnTo>
                <a:lnTo>
                  <a:pt x="3120" y="88328"/>
                </a:lnTo>
                <a:lnTo>
                  <a:pt x="3912" y="91045"/>
                </a:lnTo>
                <a:lnTo>
                  <a:pt x="4781" y="93730"/>
                </a:lnTo>
                <a:lnTo>
                  <a:pt x="5728" y="96416"/>
                </a:lnTo>
                <a:lnTo>
                  <a:pt x="7280" y="100436"/>
                </a:lnTo>
                <a:lnTo>
                  <a:pt x="9609" y="105714"/>
                </a:lnTo>
                <a:lnTo>
                  <a:pt x="12201" y="110946"/>
                </a:lnTo>
                <a:lnTo>
                  <a:pt x="15058" y="116099"/>
                </a:lnTo>
                <a:lnTo>
                  <a:pt x="18147" y="121191"/>
                </a:lnTo>
                <a:lnTo>
                  <a:pt x="21438" y="126205"/>
                </a:lnTo>
                <a:lnTo>
                  <a:pt x="24931" y="131126"/>
                </a:lnTo>
                <a:lnTo>
                  <a:pt x="28594" y="135969"/>
                </a:lnTo>
                <a:lnTo>
                  <a:pt x="32413" y="140719"/>
                </a:lnTo>
                <a:lnTo>
                  <a:pt x="36371" y="145392"/>
                </a:lnTo>
                <a:lnTo>
                  <a:pt x="40454" y="149940"/>
                </a:lnTo>
                <a:lnTo>
                  <a:pt x="44630" y="154395"/>
                </a:lnTo>
                <a:lnTo>
                  <a:pt x="48883" y="158742"/>
                </a:lnTo>
                <a:lnTo>
                  <a:pt x="53199" y="162964"/>
                </a:lnTo>
                <a:lnTo>
                  <a:pt x="57545" y="167078"/>
                </a:lnTo>
                <a:lnTo>
                  <a:pt x="61938" y="171068"/>
                </a:lnTo>
                <a:lnTo>
                  <a:pt x="66316" y="174917"/>
                </a:lnTo>
                <a:lnTo>
                  <a:pt x="70678" y="178643"/>
                </a:lnTo>
                <a:lnTo>
                  <a:pt x="75024" y="182229"/>
                </a:lnTo>
                <a:lnTo>
                  <a:pt x="81420" y="187352"/>
                </a:lnTo>
                <a:lnTo>
                  <a:pt x="89663" y="193639"/>
                </a:lnTo>
                <a:lnTo>
                  <a:pt x="97425" y="199274"/>
                </a:lnTo>
                <a:lnTo>
                  <a:pt x="101057" y="201819"/>
                </a:lnTo>
                <a:lnTo>
                  <a:pt x="102454" y="202766"/>
                </a:lnTo>
                <a:lnTo>
                  <a:pt x="105342" y="204458"/>
                </a:lnTo>
                <a:lnTo>
                  <a:pt x="108338" y="205918"/>
                </a:lnTo>
                <a:lnTo>
                  <a:pt x="111396" y="207128"/>
                </a:lnTo>
                <a:lnTo>
                  <a:pt x="114516" y="208091"/>
                </a:lnTo>
                <a:lnTo>
                  <a:pt x="117683" y="208820"/>
                </a:lnTo>
                <a:lnTo>
                  <a:pt x="120896" y="209302"/>
                </a:lnTo>
                <a:lnTo>
                  <a:pt x="124125" y="209550"/>
                </a:lnTo>
                <a:lnTo>
                  <a:pt x="127354" y="209550"/>
                </a:lnTo>
                <a:lnTo>
                  <a:pt x="130583" y="209302"/>
                </a:lnTo>
                <a:lnTo>
                  <a:pt x="133796" y="208820"/>
                </a:lnTo>
                <a:lnTo>
                  <a:pt x="136963" y="208091"/>
                </a:lnTo>
                <a:lnTo>
                  <a:pt x="140098" y="207128"/>
                </a:lnTo>
                <a:lnTo>
                  <a:pt x="143156" y="205918"/>
                </a:lnTo>
                <a:lnTo>
                  <a:pt x="146137" y="204458"/>
                </a:lnTo>
                <a:lnTo>
                  <a:pt x="149024" y="202766"/>
                </a:lnTo>
                <a:lnTo>
                  <a:pt x="150421" y="201819"/>
                </a:lnTo>
                <a:lnTo>
                  <a:pt x="154038" y="199289"/>
                </a:lnTo>
                <a:lnTo>
                  <a:pt x="161769" y="193670"/>
                </a:lnTo>
                <a:lnTo>
                  <a:pt x="169981" y="187414"/>
                </a:lnTo>
                <a:lnTo>
                  <a:pt x="176361" y="182306"/>
                </a:lnTo>
                <a:lnTo>
                  <a:pt x="180676" y="178736"/>
                </a:lnTo>
                <a:lnTo>
                  <a:pt x="185023" y="175042"/>
                </a:lnTo>
                <a:lnTo>
                  <a:pt x="189385" y="171192"/>
                </a:lnTo>
                <a:lnTo>
                  <a:pt x="193763" y="167233"/>
                </a:lnTo>
                <a:lnTo>
                  <a:pt x="198094" y="163151"/>
                </a:lnTo>
                <a:lnTo>
                  <a:pt x="202394" y="158944"/>
                </a:lnTo>
                <a:lnTo>
                  <a:pt x="206647" y="154613"/>
                </a:lnTo>
                <a:lnTo>
                  <a:pt x="210807" y="150189"/>
                </a:lnTo>
                <a:lnTo>
                  <a:pt x="214874" y="145656"/>
                </a:lnTo>
                <a:lnTo>
                  <a:pt x="218817" y="141014"/>
                </a:lnTo>
                <a:lnTo>
                  <a:pt x="222636" y="136280"/>
                </a:lnTo>
                <a:lnTo>
                  <a:pt x="226300" y="131467"/>
                </a:lnTo>
                <a:lnTo>
                  <a:pt x="229792" y="126562"/>
                </a:lnTo>
                <a:lnTo>
                  <a:pt x="233083" y="121579"/>
                </a:lnTo>
                <a:lnTo>
                  <a:pt x="236173" y="116518"/>
                </a:lnTo>
                <a:lnTo>
                  <a:pt x="239044" y="111380"/>
                </a:lnTo>
                <a:lnTo>
                  <a:pt x="241652" y="106180"/>
                </a:lnTo>
                <a:lnTo>
                  <a:pt x="243996" y="100917"/>
                </a:lnTo>
                <a:lnTo>
                  <a:pt x="245564" y="96928"/>
                </a:lnTo>
                <a:lnTo>
                  <a:pt x="246527" y="94258"/>
                </a:lnTo>
                <a:lnTo>
                  <a:pt x="247396" y="91572"/>
                </a:lnTo>
                <a:lnTo>
                  <a:pt x="248203" y="88871"/>
                </a:lnTo>
                <a:lnTo>
                  <a:pt x="248917" y="86155"/>
                </a:lnTo>
                <a:lnTo>
                  <a:pt x="249554" y="83438"/>
                </a:lnTo>
                <a:lnTo>
                  <a:pt x="250112" y="80706"/>
                </a:lnTo>
                <a:lnTo>
                  <a:pt x="250563" y="77958"/>
                </a:lnTo>
                <a:lnTo>
                  <a:pt x="250935" y="75211"/>
                </a:lnTo>
                <a:lnTo>
                  <a:pt x="251215" y="72448"/>
                </a:lnTo>
                <a:lnTo>
                  <a:pt x="251385" y="69684"/>
                </a:lnTo>
                <a:lnTo>
                  <a:pt x="251479" y="66906"/>
                </a:lnTo>
                <a:lnTo>
                  <a:pt x="251463" y="64127"/>
                </a:lnTo>
                <a:lnTo>
                  <a:pt x="251339" y="61333"/>
                </a:lnTo>
                <a:lnTo>
                  <a:pt x="251230" y="59936"/>
                </a:lnTo>
                <a:lnTo>
                  <a:pt x="251199" y="59610"/>
                </a:lnTo>
                <a:lnTo>
                  <a:pt x="251184" y="59268"/>
                </a:lnTo>
                <a:lnTo>
                  <a:pt x="250966" y="57235"/>
                </a:lnTo>
                <a:lnTo>
                  <a:pt x="250361" y="53199"/>
                </a:lnTo>
                <a:lnTo>
                  <a:pt x="249507" y="49256"/>
                </a:lnTo>
                <a:lnTo>
                  <a:pt x="248436" y="45421"/>
                </a:lnTo>
                <a:lnTo>
                  <a:pt x="247132" y="41665"/>
                </a:lnTo>
                <a:lnTo>
                  <a:pt x="245626" y="38032"/>
                </a:lnTo>
                <a:lnTo>
                  <a:pt x="243919" y="34508"/>
                </a:lnTo>
                <a:lnTo>
                  <a:pt x="242009" y="31124"/>
                </a:lnTo>
                <a:lnTo>
                  <a:pt x="240969" y="29479"/>
                </a:lnTo>
                <a:lnTo>
                  <a:pt x="240209" y="28299"/>
                </a:lnTo>
                <a:lnTo>
                  <a:pt x="239401" y="27135"/>
                </a:lnTo>
                <a:lnTo>
                  <a:pt x="238594" y="26110"/>
                </a:lnTo>
                <a:lnTo>
                  <a:pt x="237244" y="24667"/>
                </a:lnTo>
                <a:lnTo>
                  <a:pt x="236281" y="23766"/>
                </a:lnTo>
                <a:lnTo>
                  <a:pt x="235784" y="23332"/>
                </a:lnTo>
                <a:lnTo>
                  <a:pt x="234837" y="22571"/>
                </a:lnTo>
                <a:lnTo>
                  <a:pt x="232882" y="21236"/>
                </a:lnTo>
                <a:lnTo>
                  <a:pt x="230832" y="20134"/>
                </a:lnTo>
                <a:lnTo>
                  <a:pt x="228690" y="19233"/>
                </a:lnTo>
                <a:lnTo>
                  <a:pt x="226517" y="18566"/>
                </a:lnTo>
                <a:lnTo>
                  <a:pt x="224297" y="18116"/>
                </a:lnTo>
                <a:lnTo>
                  <a:pt x="222046" y="17883"/>
                </a:lnTo>
                <a:lnTo>
                  <a:pt x="219795" y="17867"/>
                </a:lnTo>
                <a:lnTo>
                  <a:pt x="217544" y="18069"/>
                </a:lnTo>
                <a:lnTo>
                  <a:pt x="215325" y="18473"/>
                </a:lnTo>
                <a:lnTo>
                  <a:pt x="213167" y="19094"/>
                </a:lnTo>
                <a:lnTo>
                  <a:pt x="211056" y="19916"/>
                </a:lnTo>
                <a:lnTo>
                  <a:pt x="209007" y="20957"/>
                </a:lnTo>
                <a:lnTo>
                  <a:pt x="207082" y="22214"/>
                </a:lnTo>
                <a:lnTo>
                  <a:pt x="205250" y="23658"/>
                </a:lnTo>
                <a:lnTo>
                  <a:pt x="203542" y="25319"/>
                </a:lnTo>
                <a:lnTo>
                  <a:pt x="202751" y="26219"/>
                </a:lnTo>
                <a:lnTo>
                  <a:pt x="185504" y="46787"/>
                </a:lnTo>
                <a:lnTo>
                  <a:pt x="141775" y="98899"/>
                </a:lnTo>
                <a:lnTo>
                  <a:pt x="141232" y="99567"/>
                </a:lnTo>
                <a:lnTo>
                  <a:pt x="140285" y="100964"/>
                </a:lnTo>
                <a:lnTo>
                  <a:pt x="139508" y="102439"/>
                </a:lnTo>
                <a:lnTo>
                  <a:pt x="138903" y="103976"/>
                </a:lnTo>
                <a:lnTo>
                  <a:pt x="138468" y="105543"/>
                </a:lnTo>
                <a:lnTo>
                  <a:pt x="138189" y="107142"/>
                </a:lnTo>
                <a:lnTo>
                  <a:pt x="138065" y="108741"/>
                </a:lnTo>
                <a:lnTo>
                  <a:pt x="138111" y="110356"/>
                </a:lnTo>
                <a:lnTo>
                  <a:pt x="138329" y="111955"/>
                </a:lnTo>
                <a:lnTo>
                  <a:pt x="138701" y="113522"/>
                </a:lnTo>
                <a:lnTo>
                  <a:pt x="139229" y="115044"/>
                </a:lnTo>
                <a:lnTo>
                  <a:pt x="139912" y="116518"/>
                </a:lnTo>
                <a:lnTo>
                  <a:pt x="140750" y="117931"/>
                </a:lnTo>
                <a:lnTo>
                  <a:pt x="141759" y="119266"/>
                </a:lnTo>
                <a:lnTo>
                  <a:pt x="142908" y="120492"/>
                </a:lnTo>
                <a:lnTo>
                  <a:pt x="144212" y="121626"/>
                </a:lnTo>
                <a:lnTo>
                  <a:pt x="144926" y="122138"/>
                </a:lnTo>
                <a:lnTo>
                  <a:pt x="145438" y="122479"/>
                </a:lnTo>
                <a:lnTo>
                  <a:pt x="146494" y="123085"/>
                </a:lnTo>
                <a:lnTo>
                  <a:pt x="147581" y="123613"/>
                </a:lnTo>
                <a:lnTo>
                  <a:pt x="148698" y="124063"/>
                </a:lnTo>
                <a:lnTo>
                  <a:pt x="149863" y="124420"/>
                </a:lnTo>
                <a:lnTo>
                  <a:pt x="151042" y="124684"/>
                </a:lnTo>
                <a:lnTo>
                  <a:pt x="152238" y="124854"/>
                </a:lnTo>
                <a:lnTo>
                  <a:pt x="153448" y="124932"/>
                </a:lnTo>
                <a:lnTo>
                  <a:pt x="154069" y="124932"/>
                </a:lnTo>
                <a:lnTo>
                  <a:pt x="154939" y="124901"/>
                </a:lnTo>
                <a:lnTo>
                  <a:pt x="156662" y="124699"/>
                </a:lnTo>
                <a:lnTo>
                  <a:pt x="158338" y="124311"/>
                </a:lnTo>
                <a:lnTo>
                  <a:pt x="159937" y="123752"/>
                </a:lnTo>
                <a:lnTo>
                  <a:pt x="161459" y="123038"/>
                </a:lnTo>
                <a:lnTo>
                  <a:pt x="162902" y="122153"/>
                </a:lnTo>
                <a:lnTo>
                  <a:pt x="164253" y="121113"/>
                </a:lnTo>
                <a:lnTo>
                  <a:pt x="165495" y="119918"/>
                </a:lnTo>
                <a:lnTo>
                  <a:pt x="166053" y="119266"/>
                </a:lnTo>
                <a:lnTo>
                  <a:pt x="210357" y="66471"/>
                </a:lnTo>
                <a:lnTo>
                  <a:pt x="210668" y="66130"/>
                </a:lnTo>
                <a:lnTo>
                  <a:pt x="211366" y="65586"/>
                </a:lnTo>
                <a:lnTo>
                  <a:pt x="212142" y="65183"/>
                </a:lnTo>
                <a:lnTo>
                  <a:pt x="212965" y="64950"/>
                </a:lnTo>
                <a:lnTo>
                  <a:pt x="213819" y="64872"/>
                </a:lnTo>
                <a:lnTo>
                  <a:pt x="214673" y="64965"/>
                </a:lnTo>
                <a:lnTo>
                  <a:pt x="215495" y="65214"/>
                </a:lnTo>
                <a:lnTo>
                  <a:pt x="216272" y="65633"/>
                </a:lnTo>
                <a:lnTo>
                  <a:pt x="216644" y="65928"/>
                </a:lnTo>
                <a:lnTo>
                  <a:pt x="219252" y="68117"/>
                </a:lnTo>
                <a:lnTo>
                  <a:pt x="219578" y="68412"/>
                </a:lnTo>
                <a:lnTo>
                  <a:pt x="220137" y="69110"/>
                </a:lnTo>
                <a:lnTo>
                  <a:pt x="220525" y="69886"/>
                </a:lnTo>
                <a:lnTo>
                  <a:pt x="220773" y="70709"/>
                </a:lnTo>
                <a:lnTo>
                  <a:pt x="220835" y="71563"/>
                </a:lnTo>
                <a:lnTo>
                  <a:pt x="220758" y="72417"/>
                </a:lnTo>
                <a:lnTo>
                  <a:pt x="220494" y="73239"/>
                </a:lnTo>
                <a:lnTo>
                  <a:pt x="220075" y="74031"/>
                </a:lnTo>
                <a:lnTo>
                  <a:pt x="219795" y="74388"/>
                </a:lnTo>
                <a:lnTo>
                  <a:pt x="175492" y="127183"/>
                </a:lnTo>
                <a:lnTo>
                  <a:pt x="174560" y="128239"/>
                </a:lnTo>
                <a:lnTo>
                  <a:pt x="172573" y="130195"/>
                </a:lnTo>
                <a:lnTo>
                  <a:pt x="170431" y="131918"/>
                </a:lnTo>
                <a:lnTo>
                  <a:pt x="168134" y="133423"/>
                </a:lnTo>
                <a:lnTo>
                  <a:pt x="165696" y="134681"/>
                </a:lnTo>
                <a:lnTo>
                  <a:pt x="163151" y="135705"/>
                </a:lnTo>
                <a:lnTo>
                  <a:pt x="160512" y="136481"/>
                </a:lnTo>
                <a:lnTo>
                  <a:pt x="157764" y="136994"/>
                </a:lnTo>
                <a:lnTo>
                  <a:pt x="156367" y="137133"/>
                </a:lnTo>
                <a:lnTo>
                  <a:pt x="155109" y="137227"/>
                </a:lnTo>
                <a:lnTo>
                  <a:pt x="153868" y="137242"/>
                </a:lnTo>
                <a:lnTo>
                  <a:pt x="152626" y="137227"/>
                </a:lnTo>
                <a:lnTo>
                  <a:pt x="150189" y="137009"/>
                </a:lnTo>
                <a:lnTo>
                  <a:pt x="147782" y="136590"/>
                </a:lnTo>
                <a:lnTo>
                  <a:pt x="145438" y="135954"/>
                </a:lnTo>
                <a:lnTo>
                  <a:pt x="143141" y="135131"/>
                </a:lnTo>
                <a:lnTo>
                  <a:pt x="140937" y="134091"/>
                </a:lnTo>
                <a:lnTo>
                  <a:pt x="138810" y="132865"/>
                </a:lnTo>
                <a:lnTo>
                  <a:pt x="136776" y="131436"/>
                </a:lnTo>
                <a:lnTo>
                  <a:pt x="135814" y="130645"/>
                </a:lnTo>
                <a:lnTo>
                  <a:pt x="135255" y="130179"/>
                </a:lnTo>
                <a:lnTo>
                  <a:pt x="134200" y="129201"/>
                </a:lnTo>
                <a:lnTo>
                  <a:pt x="132725" y="127649"/>
                </a:lnTo>
                <a:lnTo>
                  <a:pt x="130986" y="125460"/>
                </a:lnTo>
                <a:lnTo>
                  <a:pt x="129496" y="123131"/>
                </a:lnTo>
                <a:lnTo>
                  <a:pt x="128254" y="120679"/>
                </a:lnTo>
                <a:lnTo>
                  <a:pt x="127245" y="118148"/>
                </a:lnTo>
                <a:lnTo>
                  <a:pt x="126500" y="115540"/>
                </a:lnTo>
                <a:lnTo>
                  <a:pt x="126019" y="112870"/>
                </a:lnTo>
                <a:lnTo>
                  <a:pt x="125786" y="110185"/>
                </a:lnTo>
                <a:lnTo>
                  <a:pt x="125801" y="107468"/>
                </a:lnTo>
                <a:lnTo>
                  <a:pt x="126081" y="104783"/>
                </a:lnTo>
                <a:lnTo>
                  <a:pt x="126624" y="102113"/>
                </a:lnTo>
                <a:lnTo>
                  <a:pt x="127431" y="99489"/>
                </a:lnTo>
                <a:lnTo>
                  <a:pt x="128487" y="96928"/>
                </a:lnTo>
                <a:lnTo>
                  <a:pt x="129822" y="94460"/>
                </a:lnTo>
                <a:lnTo>
                  <a:pt x="131017" y="92690"/>
                </a:lnTo>
                <a:lnTo>
                  <a:pt x="131887" y="91541"/>
                </a:lnTo>
                <a:lnTo>
                  <a:pt x="132337" y="90967"/>
                </a:lnTo>
                <a:lnTo>
                  <a:pt x="157966" y="60432"/>
                </a:lnTo>
                <a:lnTo>
                  <a:pt x="193312" y="18302"/>
                </a:lnTo>
                <a:lnTo>
                  <a:pt x="193856" y="17681"/>
                </a:lnTo>
                <a:lnTo>
                  <a:pt x="194958" y="16470"/>
                </a:lnTo>
                <a:lnTo>
                  <a:pt x="196697" y="14778"/>
                </a:lnTo>
                <a:lnTo>
                  <a:pt x="199149" y="12745"/>
                </a:lnTo>
                <a:lnTo>
                  <a:pt x="201757" y="10960"/>
                </a:lnTo>
                <a:lnTo>
                  <a:pt x="204474" y="9423"/>
                </a:lnTo>
                <a:lnTo>
                  <a:pt x="207299" y="8134"/>
                </a:lnTo>
                <a:lnTo>
                  <a:pt x="210217" y="7110"/>
                </a:lnTo>
                <a:lnTo>
                  <a:pt x="213198" y="6334"/>
                </a:lnTo>
                <a:lnTo>
                  <a:pt x="214704" y="6054"/>
                </a:lnTo>
                <a:lnTo>
                  <a:pt x="213105" y="5309"/>
                </a:lnTo>
                <a:lnTo>
                  <a:pt x="209860" y="3958"/>
                </a:lnTo>
                <a:lnTo>
                  <a:pt x="206523" y="2810"/>
                </a:lnTo>
                <a:lnTo>
                  <a:pt x="203108" y="1832"/>
                </a:lnTo>
                <a:lnTo>
                  <a:pt x="199630" y="1056"/>
                </a:lnTo>
                <a:lnTo>
                  <a:pt x="196091" y="497"/>
                </a:lnTo>
                <a:lnTo>
                  <a:pt x="192505" y="140"/>
                </a:lnTo>
                <a:lnTo>
                  <a:pt x="188857" y="0"/>
                </a:lnTo>
                <a:lnTo>
                  <a:pt x="187010" y="16"/>
                </a:lnTo>
                <a:lnTo>
                  <a:pt x="185737" y="47"/>
                </a:lnTo>
                <a:lnTo>
                  <a:pt x="183222" y="202"/>
                </a:lnTo>
                <a:lnTo>
                  <a:pt x="180723" y="450"/>
                </a:lnTo>
                <a:lnTo>
                  <a:pt x="178255" y="776"/>
                </a:lnTo>
                <a:lnTo>
                  <a:pt x="175802" y="1195"/>
                </a:lnTo>
                <a:lnTo>
                  <a:pt x="173380" y="1708"/>
                </a:lnTo>
                <a:lnTo>
                  <a:pt x="171005" y="2313"/>
                </a:lnTo>
                <a:lnTo>
                  <a:pt x="168646" y="2996"/>
                </a:lnTo>
                <a:lnTo>
                  <a:pt x="166317" y="3757"/>
                </a:lnTo>
                <a:lnTo>
                  <a:pt x="164035" y="4610"/>
                </a:lnTo>
                <a:lnTo>
                  <a:pt x="161800" y="5542"/>
                </a:lnTo>
                <a:lnTo>
                  <a:pt x="159596" y="6551"/>
                </a:lnTo>
                <a:lnTo>
                  <a:pt x="157422" y="7638"/>
                </a:lnTo>
                <a:lnTo>
                  <a:pt x="155311" y="8786"/>
                </a:lnTo>
                <a:lnTo>
                  <a:pt x="153247" y="10028"/>
                </a:lnTo>
                <a:lnTo>
                  <a:pt x="151213" y="11332"/>
                </a:lnTo>
                <a:lnTo>
                  <a:pt x="149257" y="12714"/>
                </a:lnTo>
                <a:lnTo>
                  <a:pt x="147332" y="14157"/>
                </a:lnTo>
                <a:lnTo>
                  <a:pt x="145469" y="15679"/>
                </a:lnTo>
                <a:lnTo>
                  <a:pt x="143669" y="17262"/>
                </a:lnTo>
                <a:lnTo>
                  <a:pt x="141930" y="18907"/>
                </a:lnTo>
                <a:lnTo>
                  <a:pt x="140254" y="20615"/>
                </a:lnTo>
                <a:lnTo>
                  <a:pt x="138624" y="22385"/>
                </a:lnTo>
                <a:lnTo>
                  <a:pt x="137071" y="24216"/>
                </a:lnTo>
                <a:lnTo>
                  <a:pt x="135597" y="26095"/>
                </a:lnTo>
                <a:lnTo>
                  <a:pt x="134184" y="28035"/>
                </a:lnTo>
                <a:lnTo>
                  <a:pt x="132833" y="30038"/>
                </a:lnTo>
                <a:lnTo>
                  <a:pt x="131561" y="32102"/>
                </a:lnTo>
                <a:lnTo>
                  <a:pt x="130381" y="34198"/>
                </a:lnTo>
                <a:lnTo>
                  <a:pt x="129263" y="36356"/>
                </a:lnTo>
                <a:lnTo>
                  <a:pt x="128223" y="38560"/>
                </a:lnTo>
                <a:lnTo>
                  <a:pt x="127276" y="40826"/>
                </a:lnTo>
                <a:lnTo>
                  <a:pt x="126841" y="41960"/>
                </a:lnTo>
                <a:lnTo>
                  <a:pt x="126717" y="42270"/>
                </a:lnTo>
                <a:lnTo>
                  <a:pt x="126469" y="42720"/>
                </a:lnTo>
                <a:lnTo>
                  <a:pt x="126205" y="42969"/>
                </a:lnTo>
                <a:lnTo>
                  <a:pt x="125910" y="43062"/>
                </a:lnTo>
                <a:lnTo>
                  <a:pt x="125739" y="43077"/>
                </a:lnTo>
                <a:lnTo>
                  <a:pt x="125569" y="43062"/>
                </a:lnTo>
                <a:lnTo>
                  <a:pt x="125274" y="42969"/>
                </a:lnTo>
                <a:lnTo>
                  <a:pt x="125010" y="42720"/>
                </a:lnTo>
                <a:lnTo>
                  <a:pt x="124761" y="42270"/>
                </a:lnTo>
                <a:lnTo>
                  <a:pt x="124637" y="41960"/>
                </a:lnTo>
                <a:lnTo>
                  <a:pt x="124202" y="40826"/>
                </a:lnTo>
                <a:lnTo>
                  <a:pt x="123256" y="38560"/>
                </a:lnTo>
                <a:lnTo>
                  <a:pt x="122215" y="36356"/>
                </a:lnTo>
                <a:lnTo>
                  <a:pt x="121098" y="34198"/>
                </a:lnTo>
                <a:lnTo>
                  <a:pt x="119918" y="32102"/>
                </a:lnTo>
                <a:lnTo>
                  <a:pt x="118645" y="30038"/>
                </a:lnTo>
                <a:lnTo>
                  <a:pt x="117295" y="28035"/>
                </a:lnTo>
                <a:lnTo>
                  <a:pt x="115882" y="26095"/>
                </a:lnTo>
                <a:lnTo>
                  <a:pt x="114407" y="24216"/>
                </a:lnTo>
                <a:lnTo>
                  <a:pt x="112855" y="22385"/>
                </a:lnTo>
                <a:lnTo>
                  <a:pt x="111225" y="20615"/>
                </a:lnTo>
                <a:lnTo>
                  <a:pt x="109548" y="18907"/>
                </a:lnTo>
                <a:lnTo>
                  <a:pt x="107810" y="17262"/>
                </a:lnTo>
                <a:lnTo>
                  <a:pt x="106009" y="15679"/>
                </a:lnTo>
                <a:lnTo>
                  <a:pt x="104146" y="14157"/>
                </a:lnTo>
                <a:lnTo>
                  <a:pt x="102221" y="12714"/>
                </a:lnTo>
                <a:lnTo>
                  <a:pt x="100265" y="11332"/>
                </a:lnTo>
                <a:lnTo>
                  <a:pt x="98232" y="10028"/>
                </a:lnTo>
                <a:lnTo>
                  <a:pt x="96167" y="8786"/>
                </a:lnTo>
                <a:lnTo>
                  <a:pt x="94056" y="7638"/>
                </a:lnTo>
                <a:lnTo>
                  <a:pt x="91883" y="6551"/>
                </a:lnTo>
                <a:lnTo>
                  <a:pt x="89678" y="5542"/>
                </a:lnTo>
                <a:lnTo>
                  <a:pt x="87443" y="4610"/>
                </a:lnTo>
                <a:lnTo>
                  <a:pt x="85161" y="3757"/>
                </a:lnTo>
                <a:lnTo>
                  <a:pt x="82833" y="2996"/>
                </a:lnTo>
                <a:lnTo>
                  <a:pt x="80473" y="2313"/>
                </a:lnTo>
                <a:lnTo>
                  <a:pt x="78098" y="1708"/>
                </a:lnTo>
                <a:lnTo>
                  <a:pt x="75676" y="1195"/>
                </a:lnTo>
                <a:lnTo>
                  <a:pt x="73224" y="776"/>
                </a:lnTo>
                <a:lnTo>
                  <a:pt x="70756" y="450"/>
                </a:lnTo>
                <a:lnTo>
                  <a:pt x="68256" y="202"/>
                </a:lnTo>
                <a:lnTo>
                  <a:pt x="65741" y="47"/>
                </a:lnTo>
                <a:lnTo>
                  <a:pt x="64469" y="16"/>
                </a:lnTo>
                <a:lnTo>
                  <a:pt x="62932" y="0"/>
                </a:ln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31" name="Google Shape;531;p38"/>
          <p:cNvSpPr>
            <a:spLocks noGrp="1"/>
          </p:cNvSpPr>
          <p:nvPr>
            <p:ph type="pic" idx="2"/>
          </p:nvPr>
        </p:nvSpPr>
        <p:spPr>
          <a:xfrm>
            <a:off x="0" y="0"/>
            <a:ext cx="6278700" cy="6858000"/>
          </a:xfrm>
          <a:prstGeom prst="flowChartDelay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114219547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V1" type="title">
  <p:cSld name="Title Slide V1">
    <p:spTree>
      <p:nvGrpSpPr>
        <p:cNvPr id="1" name="Shape 5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" name="Google Shape;533;p39"/>
          <p:cNvSpPr txBox="1">
            <a:spLocks noGrp="1"/>
          </p:cNvSpPr>
          <p:nvPr>
            <p:ph type="ctrTitle"/>
          </p:nvPr>
        </p:nvSpPr>
        <p:spPr>
          <a:xfrm>
            <a:off x="6622840" y="3572304"/>
            <a:ext cx="5021700" cy="136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None/>
              <a:defRPr sz="40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200"/>
              <a:buFont typeface="Mulish"/>
              <a:buNone/>
              <a:defRPr>
                <a:latin typeface="Mulish"/>
                <a:ea typeface="Mulish"/>
                <a:cs typeface="Mulish"/>
                <a:sym typeface="Mulish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3200"/>
              <a:buFont typeface="Mulish"/>
              <a:buNone/>
              <a:defRPr>
                <a:latin typeface="Mulish"/>
                <a:ea typeface="Mulish"/>
                <a:cs typeface="Mulish"/>
                <a:sym typeface="Mulish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3200"/>
              <a:buFont typeface="Mulish"/>
              <a:buNone/>
              <a:defRPr>
                <a:latin typeface="Mulish"/>
                <a:ea typeface="Mulish"/>
                <a:cs typeface="Mulish"/>
                <a:sym typeface="Mulish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3200"/>
              <a:buFont typeface="Mulish"/>
              <a:buNone/>
              <a:defRPr>
                <a:latin typeface="Mulish"/>
                <a:ea typeface="Mulish"/>
                <a:cs typeface="Mulish"/>
                <a:sym typeface="Mulish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3200"/>
              <a:buFont typeface="Mulish"/>
              <a:buNone/>
              <a:defRPr>
                <a:latin typeface="Mulish"/>
                <a:ea typeface="Mulish"/>
                <a:cs typeface="Mulish"/>
                <a:sym typeface="Mulish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3200"/>
              <a:buFont typeface="Mulish"/>
              <a:buNone/>
              <a:defRPr>
                <a:latin typeface="Mulish"/>
                <a:ea typeface="Mulish"/>
                <a:cs typeface="Mulish"/>
                <a:sym typeface="Mulish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3200"/>
              <a:buFont typeface="Mulish"/>
              <a:buNone/>
              <a:defRPr>
                <a:latin typeface="Mulish"/>
                <a:ea typeface="Mulish"/>
                <a:cs typeface="Mulish"/>
                <a:sym typeface="Mulish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3200"/>
              <a:buFont typeface="Mulish"/>
              <a:buNone/>
              <a:defRPr>
                <a:latin typeface="Mulish"/>
                <a:ea typeface="Mulish"/>
                <a:cs typeface="Mulish"/>
                <a:sym typeface="Mulish"/>
              </a:defRPr>
            </a:lvl9pPr>
          </a:lstStyle>
          <a:p>
            <a:endParaRPr/>
          </a:p>
        </p:txBody>
      </p:sp>
      <p:sp>
        <p:nvSpPr>
          <p:cNvPr id="534" name="Google Shape;534;p39"/>
          <p:cNvSpPr txBox="1">
            <a:spLocks noGrp="1"/>
          </p:cNvSpPr>
          <p:nvPr>
            <p:ph type="subTitle" idx="1"/>
          </p:nvPr>
        </p:nvSpPr>
        <p:spPr>
          <a:xfrm>
            <a:off x="6622840" y="4979527"/>
            <a:ext cx="5021700" cy="45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accent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R="0" lvl="1" algn="ctr" rtl="0">
              <a:lnSpc>
                <a:spcPct val="90000"/>
              </a:lnSpc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R="0" lvl="2" algn="ctr" rtl="0">
              <a:lnSpc>
                <a:spcPct val="90000"/>
              </a:lnSpc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R="0" lvl="3" algn="ctr" rtl="0">
              <a:lnSpc>
                <a:spcPct val="90000"/>
              </a:lnSpc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R="0" lvl="4" algn="ctr" rtl="0">
              <a:lnSpc>
                <a:spcPct val="90000"/>
              </a:lnSpc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R="0" lvl="5" algn="ctr" rtl="0">
              <a:lnSpc>
                <a:spcPct val="90000"/>
              </a:lnSpc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R="0" lvl="6" algn="ctr" rtl="0">
              <a:lnSpc>
                <a:spcPct val="90000"/>
              </a:lnSpc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R="0" lvl="7" algn="ctr" rtl="0">
              <a:lnSpc>
                <a:spcPct val="90000"/>
              </a:lnSpc>
              <a:spcBef>
                <a:spcPts val="1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R="0" lvl="8" algn="ctr" rtl="0">
              <a:lnSpc>
                <a:spcPct val="90000"/>
              </a:lnSpc>
              <a:spcBef>
                <a:spcPts val="1300"/>
              </a:spcBef>
              <a:spcAft>
                <a:spcPts val="130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pic>
        <p:nvPicPr>
          <p:cNvPr id="535" name="Google Shape;535;p39" descr="Logo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893350" y="1713539"/>
            <a:ext cx="4480563" cy="677756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536" name="Google Shape;536;p39"/>
          <p:cNvCxnSpPr/>
          <p:nvPr/>
        </p:nvCxnSpPr>
        <p:spPr>
          <a:xfrm>
            <a:off x="7904905" y="3015420"/>
            <a:ext cx="2457600" cy="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7" name="Google Shape;537;p39"/>
          <p:cNvSpPr/>
          <p:nvPr/>
        </p:nvSpPr>
        <p:spPr>
          <a:xfrm>
            <a:off x="12087224" y="0"/>
            <a:ext cx="1047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pic>
        <p:nvPicPr>
          <p:cNvPr id="538" name="Google Shape;538;p39"/>
          <p:cNvPicPr preferRelativeResize="0"/>
          <p:nvPr/>
        </p:nvPicPr>
        <p:blipFill rotWithShape="1">
          <a:blip r:embed="rId3">
            <a:alphaModFix/>
          </a:blip>
          <a:srcRect l="40977" r="8289"/>
          <a:stretch/>
        </p:blipFill>
        <p:spPr>
          <a:xfrm flipH="1">
            <a:off x="125" y="0"/>
            <a:ext cx="6180050" cy="685800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17046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C3062-0FE3-435A-B48B-588054191350}" type="datetime1">
              <a:rPr lang="en-US" smtClean="0"/>
              <a:t>6/27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tory Transition Slide 1">
  <p:cSld name="Story Transition Slide 1">
    <p:spTree>
      <p:nvGrpSpPr>
        <p:cNvPr id="1" name="Shape 5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0" name="Google Shape;540;p40"/>
          <p:cNvSpPr txBox="1">
            <a:spLocks noGrp="1"/>
          </p:cNvSpPr>
          <p:nvPr>
            <p:ph type="title"/>
          </p:nvPr>
        </p:nvSpPr>
        <p:spPr>
          <a:xfrm>
            <a:off x="818375" y="2741400"/>
            <a:ext cx="3970200" cy="137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Mulish"/>
              <a:buNone/>
              <a:defRPr sz="2800">
                <a:latin typeface="Mulish"/>
                <a:ea typeface="Mulish"/>
                <a:cs typeface="Mulish"/>
                <a:sym typeface="Mulish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Mulish"/>
              <a:buNone/>
              <a:defRPr sz="2800">
                <a:latin typeface="Mulish"/>
                <a:ea typeface="Mulish"/>
                <a:cs typeface="Mulish"/>
                <a:sym typeface="Mulish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Mulish"/>
              <a:buNone/>
              <a:defRPr sz="2800">
                <a:latin typeface="Mulish"/>
                <a:ea typeface="Mulish"/>
                <a:cs typeface="Mulish"/>
                <a:sym typeface="Mulish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Mulish"/>
              <a:buNone/>
              <a:defRPr sz="2800">
                <a:latin typeface="Mulish"/>
                <a:ea typeface="Mulish"/>
                <a:cs typeface="Mulish"/>
                <a:sym typeface="Mulish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Mulish"/>
              <a:buNone/>
              <a:defRPr sz="2800">
                <a:latin typeface="Mulish"/>
                <a:ea typeface="Mulish"/>
                <a:cs typeface="Mulish"/>
                <a:sym typeface="Mulish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Mulish"/>
              <a:buNone/>
              <a:defRPr sz="2800">
                <a:latin typeface="Mulish"/>
                <a:ea typeface="Mulish"/>
                <a:cs typeface="Mulish"/>
                <a:sym typeface="Mulish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Mulish"/>
              <a:buNone/>
              <a:defRPr sz="2800">
                <a:latin typeface="Mulish"/>
                <a:ea typeface="Mulish"/>
                <a:cs typeface="Mulish"/>
                <a:sym typeface="Mulish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Mulish"/>
              <a:buNone/>
              <a:defRPr sz="2800">
                <a:latin typeface="Mulish"/>
                <a:ea typeface="Mulish"/>
                <a:cs typeface="Mulish"/>
                <a:sym typeface="Mulish"/>
              </a:defRPr>
            </a:lvl9pPr>
          </a:lstStyle>
          <a:p>
            <a:endParaRPr/>
          </a:p>
        </p:txBody>
      </p:sp>
      <p:sp>
        <p:nvSpPr>
          <p:cNvPr id="541" name="Google Shape;541;p40"/>
          <p:cNvSpPr/>
          <p:nvPr/>
        </p:nvSpPr>
        <p:spPr>
          <a:xfrm>
            <a:off x="0" y="0"/>
            <a:ext cx="4572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sz="19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34018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Value Proposition">
  <p:cSld name="Value Proposition">
    <p:spTree>
      <p:nvGrpSpPr>
        <p:cNvPr id="1" name="Shape 54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7734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nimating Title Bar">
  <p:cSld name="Animating Title Bar">
    <p:spTree>
      <p:nvGrpSpPr>
        <p:cNvPr id="1" name="Shape 543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1447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Appendix 1 2 1">
  <p:cSld name="Appendix 1 2 1">
    <p:spTree>
      <p:nvGrpSpPr>
        <p:cNvPr id="1" name="Shape 5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5" name="Google Shape;545;p43"/>
          <p:cNvSpPr/>
          <p:nvPr/>
        </p:nvSpPr>
        <p:spPr>
          <a:xfrm flipH="1">
            <a:off x="-200" y="-50"/>
            <a:ext cx="39339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546" name="Google Shape;546;p43"/>
          <p:cNvSpPr txBox="1">
            <a:spLocks noGrp="1"/>
          </p:cNvSpPr>
          <p:nvPr>
            <p:ph type="title"/>
          </p:nvPr>
        </p:nvSpPr>
        <p:spPr>
          <a:xfrm>
            <a:off x="6423660" y="2720429"/>
            <a:ext cx="5250300" cy="14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cxnSp>
        <p:nvCxnSpPr>
          <p:cNvPr id="547" name="Google Shape;547;p43"/>
          <p:cNvCxnSpPr/>
          <p:nvPr/>
        </p:nvCxnSpPr>
        <p:spPr>
          <a:xfrm>
            <a:off x="11902440" y="2968943"/>
            <a:ext cx="0" cy="920100"/>
          </a:xfrm>
          <a:prstGeom prst="straightConnector1">
            <a:avLst/>
          </a:prstGeom>
          <a:noFill/>
          <a:ln w="1905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8" name="Google Shape;548;p43"/>
          <p:cNvSpPr/>
          <p:nvPr/>
        </p:nvSpPr>
        <p:spPr>
          <a:xfrm>
            <a:off x="1381125" y="866775"/>
            <a:ext cx="5124600" cy="5124600"/>
          </a:xfrm>
          <a:prstGeom prst="ellipse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549" name="Google Shape;549;p43"/>
          <p:cNvSpPr/>
          <p:nvPr/>
        </p:nvSpPr>
        <p:spPr>
          <a:xfrm>
            <a:off x="1463040" y="948690"/>
            <a:ext cx="4960500" cy="49605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pic>
        <p:nvPicPr>
          <p:cNvPr id="550" name="Google Shape;550;p43"/>
          <p:cNvPicPr preferRelativeResize="0"/>
          <p:nvPr/>
        </p:nvPicPr>
        <p:blipFill rotWithShape="1">
          <a:blip r:embed="rId2">
            <a:alphaModFix/>
          </a:blip>
          <a:srcRect l="29528" t="759" r="27149" b="34283"/>
          <a:stretch/>
        </p:blipFill>
        <p:spPr>
          <a:xfrm flipH="1">
            <a:off x="1538490" y="1024140"/>
            <a:ext cx="4809600" cy="4809600"/>
          </a:xfrm>
          <a:prstGeom prst="ellipse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8403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Appendix 1">
  <p:cSld name="Appendix 1">
    <p:spTree>
      <p:nvGrpSpPr>
        <p:cNvPr id="1" name="Shape 5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" name="Google Shape;552;p44"/>
          <p:cNvSpPr/>
          <p:nvPr/>
        </p:nvSpPr>
        <p:spPr>
          <a:xfrm flipH="1">
            <a:off x="-200" y="-50"/>
            <a:ext cx="39339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553" name="Google Shape;553;p44"/>
          <p:cNvSpPr txBox="1">
            <a:spLocks noGrp="1"/>
          </p:cNvSpPr>
          <p:nvPr>
            <p:ph type="title"/>
          </p:nvPr>
        </p:nvSpPr>
        <p:spPr>
          <a:xfrm>
            <a:off x="6423660" y="2720429"/>
            <a:ext cx="5250300" cy="14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cxnSp>
        <p:nvCxnSpPr>
          <p:cNvPr id="554" name="Google Shape;554;p44"/>
          <p:cNvCxnSpPr/>
          <p:nvPr/>
        </p:nvCxnSpPr>
        <p:spPr>
          <a:xfrm>
            <a:off x="11902440" y="2968943"/>
            <a:ext cx="0" cy="920100"/>
          </a:xfrm>
          <a:prstGeom prst="straightConnector1">
            <a:avLst/>
          </a:prstGeom>
          <a:noFill/>
          <a:ln w="1905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55" name="Google Shape;555;p44"/>
          <p:cNvSpPr/>
          <p:nvPr/>
        </p:nvSpPr>
        <p:spPr>
          <a:xfrm>
            <a:off x="1381125" y="866775"/>
            <a:ext cx="5124600" cy="5124600"/>
          </a:xfrm>
          <a:prstGeom prst="ellipse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556" name="Google Shape;556;p44"/>
          <p:cNvSpPr/>
          <p:nvPr/>
        </p:nvSpPr>
        <p:spPr>
          <a:xfrm>
            <a:off x="1463040" y="948690"/>
            <a:ext cx="4960500" cy="49605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pic>
        <p:nvPicPr>
          <p:cNvPr id="557" name="Google Shape;557;p44"/>
          <p:cNvPicPr preferRelativeResize="0"/>
          <p:nvPr/>
        </p:nvPicPr>
        <p:blipFill rotWithShape="1">
          <a:blip r:embed="rId2">
            <a:alphaModFix/>
          </a:blip>
          <a:srcRect l="19463" t="7774" r="28590"/>
          <a:stretch/>
        </p:blipFill>
        <p:spPr>
          <a:xfrm>
            <a:off x="1538490" y="1024140"/>
            <a:ext cx="4809600" cy="4809600"/>
          </a:xfrm>
          <a:prstGeom prst="ellipse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84305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Appendix 1 1">
  <p:cSld name="Appendix 1 1">
    <p:spTree>
      <p:nvGrpSpPr>
        <p:cNvPr id="1" name="Shape 5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9" name="Google Shape;559;p45"/>
          <p:cNvSpPr/>
          <p:nvPr/>
        </p:nvSpPr>
        <p:spPr>
          <a:xfrm flipH="1">
            <a:off x="-200" y="-50"/>
            <a:ext cx="39339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560" name="Google Shape;560;p45"/>
          <p:cNvSpPr txBox="1">
            <a:spLocks noGrp="1"/>
          </p:cNvSpPr>
          <p:nvPr>
            <p:ph type="title"/>
          </p:nvPr>
        </p:nvSpPr>
        <p:spPr>
          <a:xfrm>
            <a:off x="6423660" y="2720429"/>
            <a:ext cx="5250300" cy="14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cxnSp>
        <p:nvCxnSpPr>
          <p:cNvPr id="561" name="Google Shape;561;p45"/>
          <p:cNvCxnSpPr/>
          <p:nvPr/>
        </p:nvCxnSpPr>
        <p:spPr>
          <a:xfrm>
            <a:off x="11902440" y="2968943"/>
            <a:ext cx="0" cy="920100"/>
          </a:xfrm>
          <a:prstGeom prst="straightConnector1">
            <a:avLst/>
          </a:prstGeom>
          <a:noFill/>
          <a:ln w="1905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62" name="Google Shape;562;p45"/>
          <p:cNvSpPr/>
          <p:nvPr/>
        </p:nvSpPr>
        <p:spPr>
          <a:xfrm>
            <a:off x="1381125" y="866775"/>
            <a:ext cx="5124600" cy="5124600"/>
          </a:xfrm>
          <a:prstGeom prst="ellipse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563" name="Google Shape;563;p45"/>
          <p:cNvSpPr/>
          <p:nvPr/>
        </p:nvSpPr>
        <p:spPr>
          <a:xfrm>
            <a:off x="1463040" y="948690"/>
            <a:ext cx="4960500" cy="49605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pic>
        <p:nvPicPr>
          <p:cNvPr id="564" name="Google Shape;564;p45"/>
          <p:cNvPicPr preferRelativeResize="0"/>
          <p:nvPr/>
        </p:nvPicPr>
        <p:blipFill rotWithShape="1">
          <a:blip r:embed="rId2">
            <a:alphaModFix/>
          </a:blip>
          <a:srcRect l="33479" t="-756" r="1849" b="3800"/>
          <a:stretch/>
        </p:blipFill>
        <p:spPr>
          <a:xfrm flipH="1">
            <a:off x="1538490" y="1024140"/>
            <a:ext cx="4809600" cy="4809600"/>
          </a:xfrm>
          <a:prstGeom prst="ellipse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81153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Appendix 1 3">
  <p:cSld name="Appendix 1 3">
    <p:spTree>
      <p:nvGrpSpPr>
        <p:cNvPr id="1" name="Shape 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6" name="Google Shape;566;p46"/>
          <p:cNvSpPr/>
          <p:nvPr/>
        </p:nvSpPr>
        <p:spPr>
          <a:xfrm flipH="1">
            <a:off x="-200" y="-50"/>
            <a:ext cx="39339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567" name="Google Shape;567;p46"/>
          <p:cNvSpPr txBox="1">
            <a:spLocks noGrp="1"/>
          </p:cNvSpPr>
          <p:nvPr>
            <p:ph type="title"/>
          </p:nvPr>
        </p:nvSpPr>
        <p:spPr>
          <a:xfrm>
            <a:off x="6423660" y="2720429"/>
            <a:ext cx="5250300" cy="14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cxnSp>
        <p:nvCxnSpPr>
          <p:cNvPr id="568" name="Google Shape;568;p46"/>
          <p:cNvCxnSpPr/>
          <p:nvPr/>
        </p:nvCxnSpPr>
        <p:spPr>
          <a:xfrm>
            <a:off x="11902440" y="2968943"/>
            <a:ext cx="0" cy="920100"/>
          </a:xfrm>
          <a:prstGeom prst="straightConnector1">
            <a:avLst/>
          </a:prstGeom>
          <a:noFill/>
          <a:ln w="1905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69" name="Google Shape;569;p46"/>
          <p:cNvSpPr/>
          <p:nvPr/>
        </p:nvSpPr>
        <p:spPr>
          <a:xfrm>
            <a:off x="1381125" y="866775"/>
            <a:ext cx="5124600" cy="5124600"/>
          </a:xfrm>
          <a:prstGeom prst="ellipse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570" name="Google Shape;570;p46"/>
          <p:cNvSpPr/>
          <p:nvPr/>
        </p:nvSpPr>
        <p:spPr>
          <a:xfrm>
            <a:off x="1463040" y="948690"/>
            <a:ext cx="4960500" cy="49605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pic>
        <p:nvPicPr>
          <p:cNvPr id="571" name="Google Shape;571;p46"/>
          <p:cNvPicPr preferRelativeResize="0"/>
          <p:nvPr/>
        </p:nvPicPr>
        <p:blipFill rotWithShape="1">
          <a:blip r:embed="rId2">
            <a:alphaModFix/>
          </a:blip>
          <a:srcRect l="10101" t="2376" r="31609" b="10233"/>
          <a:stretch/>
        </p:blipFill>
        <p:spPr>
          <a:xfrm flipH="1">
            <a:off x="1538490" y="1024140"/>
            <a:ext cx="4809600" cy="4809600"/>
          </a:xfrm>
          <a:prstGeom prst="ellipse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12952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(1 line) &amp; Bullets 3">
  <p:cSld name="Title (1 line) &amp; Bullets 3">
    <p:spTree>
      <p:nvGrpSpPr>
        <p:cNvPr id="1" name="Shape 5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" name="Google Shape;573;p47"/>
          <p:cNvSpPr txBox="1">
            <a:spLocks noGrp="1"/>
          </p:cNvSpPr>
          <p:nvPr>
            <p:ph type="body" idx="1"/>
          </p:nvPr>
        </p:nvSpPr>
        <p:spPr>
          <a:xfrm>
            <a:off x="1036331" y="6335567"/>
            <a:ext cx="11175300" cy="532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121875" bIns="121875" anchor="b" anchorCtr="0">
            <a:noAutofit/>
          </a:bodyPr>
          <a:lstStyle>
            <a:lvl1pPr marL="457200" marR="0" lvl="0" indent="-27305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7B7B7"/>
              </a:buClr>
              <a:buSzPts val="700"/>
              <a:buFont typeface="Arial"/>
              <a:buChar char="●"/>
              <a:defRPr sz="700" b="0" i="0" u="none" strike="noStrike" cap="none">
                <a:solidFill>
                  <a:srgbClr val="B7B7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7305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7B7B7"/>
              </a:buClr>
              <a:buSzPts val="700"/>
              <a:buFont typeface="Arial"/>
              <a:buChar char="○"/>
              <a:defRPr sz="700" b="0" i="0" u="none" strike="noStrike" cap="none">
                <a:solidFill>
                  <a:srgbClr val="B7B7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7305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7B7B7"/>
              </a:buClr>
              <a:buSzPts val="700"/>
              <a:buFont typeface="Arial"/>
              <a:buChar char="■"/>
              <a:defRPr sz="700" b="0" i="0" u="none" strike="noStrike" cap="none">
                <a:solidFill>
                  <a:srgbClr val="B7B7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7305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7B7B7"/>
              </a:buClr>
              <a:buSzPts val="700"/>
              <a:buFont typeface="Arial"/>
              <a:buChar char="●"/>
              <a:defRPr sz="700" b="0" i="0" u="none" strike="noStrike" cap="none">
                <a:solidFill>
                  <a:srgbClr val="B7B7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305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7B7B7"/>
              </a:buClr>
              <a:buSzPts val="700"/>
              <a:buFont typeface="Arial"/>
              <a:buChar char="○"/>
              <a:defRPr sz="700" b="0" i="0" u="none" strike="noStrike" cap="none">
                <a:solidFill>
                  <a:srgbClr val="B7B7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7305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7B7B7"/>
              </a:buClr>
              <a:buSzPts val="700"/>
              <a:buFont typeface="Arial"/>
              <a:buChar char="■"/>
              <a:defRPr sz="700" b="0" i="0" u="none" strike="noStrike" cap="none">
                <a:solidFill>
                  <a:srgbClr val="B7B7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7305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7B7B7"/>
              </a:buClr>
              <a:buSzPts val="700"/>
              <a:buFont typeface="Arial"/>
              <a:buChar char="●"/>
              <a:defRPr sz="700" b="0" i="0" u="none" strike="noStrike" cap="none">
                <a:solidFill>
                  <a:srgbClr val="B7B7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7305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7B7B7"/>
              </a:buClr>
              <a:buSzPts val="700"/>
              <a:buFont typeface="Arial"/>
              <a:buChar char="○"/>
              <a:defRPr sz="700" b="0" i="0" u="none" strike="noStrike" cap="none">
                <a:solidFill>
                  <a:srgbClr val="B7B7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7305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7B7B7"/>
              </a:buClr>
              <a:buSzPts val="700"/>
              <a:buFont typeface="Arial"/>
              <a:buChar char="■"/>
              <a:defRPr sz="700" b="0" i="0" u="none" strike="noStrike" cap="none">
                <a:solidFill>
                  <a:srgbClr val="B7B7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74" name="Google Shape;574;p47"/>
          <p:cNvSpPr txBox="1">
            <a:spLocks noGrp="1"/>
          </p:cNvSpPr>
          <p:nvPr>
            <p:ph type="title"/>
          </p:nvPr>
        </p:nvSpPr>
        <p:spPr>
          <a:xfrm>
            <a:off x="451205" y="340100"/>
            <a:ext cx="11274900" cy="9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i="0" u="none" strike="noStrike" cap="none">
                <a:solidFill>
                  <a:schemeClr val="dk1"/>
                </a:solidFill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300"/>
              <a:buNone/>
              <a:defRPr sz="4300" i="0" u="none" strike="noStrike" cap="none">
                <a:solidFill>
                  <a:schemeClr val="dk1"/>
                </a:solidFill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300"/>
              <a:buNone/>
              <a:defRPr sz="4300" i="0" u="none" strike="noStrike" cap="none">
                <a:solidFill>
                  <a:schemeClr val="dk1"/>
                </a:solidFill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300"/>
              <a:buNone/>
              <a:defRPr sz="4300" i="0" u="none" strike="noStrike" cap="none">
                <a:solidFill>
                  <a:schemeClr val="dk1"/>
                </a:solidFill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300"/>
              <a:buNone/>
              <a:defRPr sz="4300" i="0" u="none" strike="noStrike" cap="none">
                <a:solidFill>
                  <a:schemeClr val="dk1"/>
                </a:solidFill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300"/>
              <a:buNone/>
              <a:defRPr sz="4300" i="0" u="none" strike="noStrike" cap="none">
                <a:solidFill>
                  <a:schemeClr val="dk1"/>
                </a:solidFill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300"/>
              <a:buNone/>
              <a:defRPr sz="4300" i="0" u="none" strike="noStrike" cap="none">
                <a:solidFill>
                  <a:schemeClr val="dk1"/>
                </a:solidFill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300"/>
              <a:buNone/>
              <a:defRPr sz="4300" i="0" u="none" strike="noStrike" cap="none">
                <a:solidFill>
                  <a:schemeClr val="dk1"/>
                </a:solidFill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300"/>
              <a:buNone/>
              <a:defRPr sz="4300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575" name="Google Shape;575;p47"/>
          <p:cNvSpPr txBox="1">
            <a:spLocks noGrp="1"/>
          </p:cNvSpPr>
          <p:nvPr>
            <p:ph type="body" idx="2"/>
          </p:nvPr>
        </p:nvSpPr>
        <p:spPr>
          <a:xfrm>
            <a:off x="459644" y="1255470"/>
            <a:ext cx="10973100" cy="5257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121875" rIns="121875" bIns="121875" anchor="t" anchorCtr="0">
            <a:noAutofit/>
          </a:bodyPr>
          <a:lstStyle>
            <a:lvl1pPr marL="457200" marR="0" lvl="0" indent="-3619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100"/>
              <a:buFont typeface="Roboto"/>
              <a:buChar char="●"/>
              <a:defRPr sz="2100" b="0" i="0" u="none" strike="noStrike" cap="none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914400" marR="0" lvl="1" indent="-361950" algn="l" rtl="0">
              <a:lnSpc>
                <a:spcPct val="115000"/>
              </a:lnSpc>
              <a:spcBef>
                <a:spcPts val="1100"/>
              </a:spcBef>
              <a:spcAft>
                <a:spcPts val="0"/>
              </a:spcAft>
              <a:buClr>
                <a:srgbClr val="000000"/>
              </a:buClr>
              <a:buSzPts val="2100"/>
              <a:buFont typeface="Roboto"/>
              <a:buChar char="○"/>
              <a:defRPr sz="2100" b="0" i="0" u="none" strike="noStrike" cap="none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1371600" marR="0" lvl="2" indent="-361950" algn="l" rtl="0">
              <a:lnSpc>
                <a:spcPct val="115000"/>
              </a:lnSpc>
              <a:spcBef>
                <a:spcPts val="1100"/>
              </a:spcBef>
              <a:spcAft>
                <a:spcPts val="0"/>
              </a:spcAft>
              <a:buClr>
                <a:srgbClr val="000000"/>
              </a:buClr>
              <a:buSzPts val="2100"/>
              <a:buFont typeface="Roboto"/>
              <a:buChar char="■"/>
              <a:defRPr sz="2100" b="0" i="0" u="none" strike="noStrike" cap="none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1828800" marR="0" lvl="3" indent="-361950" algn="l" rtl="0">
              <a:lnSpc>
                <a:spcPct val="115000"/>
              </a:lnSpc>
              <a:spcBef>
                <a:spcPts val="1100"/>
              </a:spcBef>
              <a:spcAft>
                <a:spcPts val="0"/>
              </a:spcAft>
              <a:buClr>
                <a:srgbClr val="000000"/>
              </a:buClr>
              <a:buSzPts val="2100"/>
              <a:buFont typeface="Roboto"/>
              <a:buChar char="●"/>
              <a:defRPr sz="2100" b="0" i="0" u="none" strike="noStrike" cap="none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2286000" marR="0" lvl="4" indent="-361950" algn="l" rtl="0">
              <a:lnSpc>
                <a:spcPct val="115000"/>
              </a:lnSpc>
              <a:spcBef>
                <a:spcPts val="1100"/>
              </a:spcBef>
              <a:spcAft>
                <a:spcPts val="0"/>
              </a:spcAft>
              <a:buClr>
                <a:srgbClr val="000000"/>
              </a:buClr>
              <a:buSzPts val="2100"/>
              <a:buFont typeface="Roboto"/>
              <a:buChar char="○"/>
              <a:defRPr sz="2100" b="0" i="0" u="none" strike="noStrike" cap="none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2743200" marR="0" lvl="5" indent="-361950" algn="l" rtl="0">
              <a:lnSpc>
                <a:spcPct val="115000"/>
              </a:lnSpc>
              <a:spcBef>
                <a:spcPts val="1100"/>
              </a:spcBef>
              <a:spcAft>
                <a:spcPts val="0"/>
              </a:spcAft>
              <a:buClr>
                <a:srgbClr val="000000"/>
              </a:buClr>
              <a:buSzPts val="2100"/>
              <a:buFont typeface="Roboto"/>
              <a:buChar char="■"/>
              <a:defRPr sz="2100" b="0" i="0" u="none" strike="noStrike" cap="none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3200400" marR="0" lvl="6" indent="-361950" algn="l" rtl="0">
              <a:lnSpc>
                <a:spcPct val="115000"/>
              </a:lnSpc>
              <a:spcBef>
                <a:spcPts val="1100"/>
              </a:spcBef>
              <a:spcAft>
                <a:spcPts val="0"/>
              </a:spcAft>
              <a:buClr>
                <a:srgbClr val="000000"/>
              </a:buClr>
              <a:buSzPts val="2100"/>
              <a:buFont typeface="Roboto"/>
              <a:buChar char="●"/>
              <a:defRPr sz="2100" b="0" i="0" u="none" strike="noStrike" cap="none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3657600" marR="0" lvl="7" indent="-361950" algn="l" rtl="0">
              <a:lnSpc>
                <a:spcPct val="115000"/>
              </a:lnSpc>
              <a:spcBef>
                <a:spcPts val="1100"/>
              </a:spcBef>
              <a:spcAft>
                <a:spcPts val="0"/>
              </a:spcAft>
              <a:buClr>
                <a:srgbClr val="000000"/>
              </a:buClr>
              <a:buSzPts val="2100"/>
              <a:buFont typeface="Roboto"/>
              <a:buChar char="○"/>
              <a:defRPr sz="2100" b="0" i="0" u="none" strike="noStrike" cap="none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4114800" marR="0" lvl="8" indent="-361950" algn="l" rtl="0">
              <a:lnSpc>
                <a:spcPct val="115000"/>
              </a:lnSpc>
              <a:spcBef>
                <a:spcPts val="1100"/>
              </a:spcBef>
              <a:spcAft>
                <a:spcPts val="1100"/>
              </a:spcAft>
              <a:buClr>
                <a:srgbClr val="000000"/>
              </a:buClr>
              <a:buSzPts val="2100"/>
              <a:buFont typeface="Roboto"/>
              <a:buChar char="■"/>
              <a:defRPr sz="2100" b="0" i="0" u="none" strike="noStrike" cap="none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0267901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2C Eyebrow, Title, Subtitle, Content on White 1">
  <p:cSld name="B2C Eyebrow, Title, Subtitle, Content on White 1">
    <p:bg>
      <p:bgPr>
        <a:solidFill>
          <a:schemeClr val="lt1"/>
        </a:solidFill>
        <a:effectLst/>
      </p:bgPr>
    </p:bg>
    <p:spTree>
      <p:nvGrpSpPr>
        <p:cNvPr id="1" name="Shape 5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7" name="Google Shape;577;p48"/>
          <p:cNvSpPr txBox="1">
            <a:spLocks noGrp="1"/>
          </p:cNvSpPr>
          <p:nvPr>
            <p:ph type="sldNum" idx="12"/>
          </p:nvPr>
        </p:nvSpPr>
        <p:spPr>
          <a:xfrm>
            <a:off x="11044810" y="6091622"/>
            <a:ext cx="731700" cy="52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Lato"/>
              <a:buNone/>
              <a:defRPr sz="11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Lato"/>
              <a:buNone/>
              <a:defRPr sz="11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Lato"/>
              <a:buNone/>
              <a:defRPr sz="11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Lato"/>
              <a:buNone/>
              <a:defRPr sz="11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Lato"/>
              <a:buNone/>
              <a:defRPr sz="11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Lato"/>
              <a:buNone/>
              <a:defRPr sz="11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Lato"/>
              <a:buNone/>
              <a:defRPr sz="11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Lato"/>
              <a:buNone/>
              <a:defRPr sz="11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Lato"/>
              <a:buNone/>
              <a:defRPr sz="11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78" name="Google Shape;578;p48"/>
          <p:cNvSpPr txBox="1">
            <a:spLocks noGrp="1"/>
          </p:cNvSpPr>
          <p:nvPr>
            <p:ph type="title"/>
          </p:nvPr>
        </p:nvSpPr>
        <p:spPr>
          <a:xfrm>
            <a:off x="415600" y="1226067"/>
            <a:ext cx="11360700" cy="39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00"/>
              <a:buFont typeface="Lato"/>
              <a:buNone/>
              <a:defRPr sz="19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579" name="Google Shape;579;p48"/>
          <p:cNvSpPr txBox="1">
            <a:spLocks noGrp="1"/>
          </p:cNvSpPr>
          <p:nvPr>
            <p:ph type="body" idx="1"/>
          </p:nvPr>
        </p:nvSpPr>
        <p:spPr>
          <a:xfrm>
            <a:off x="415600" y="1834900"/>
            <a:ext cx="11360700" cy="413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302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600"/>
              <a:buChar char="•"/>
              <a:defRPr sz="1600"/>
            </a:lvl1pPr>
            <a:lvl2pPr marL="914400" lvl="1" indent="-323850" algn="l" rtl="0">
              <a:lnSpc>
                <a:spcPct val="115000"/>
              </a:lnSpc>
              <a:spcBef>
                <a:spcPts val="1300"/>
              </a:spcBef>
              <a:spcAft>
                <a:spcPts val="0"/>
              </a:spcAft>
              <a:buSzPts val="1500"/>
              <a:buChar char="○"/>
              <a:defRPr sz="1500"/>
            </a:lvl2pPr>
            <a:lvl3pPr marL="1371600" lvl="2" indent="-311150" algn="l" rtl="0">
              <a:lnSpc>
                <a:spcPct val="115000"/>
              </a:lnSpc>
              <a:spcBef>
                <a:spcPts val="1300"/>
              </a:spcBef>
              <a:spcAft>
                <a:spcPts val="0"/>
              </a:spcAft>
              <a:buSzPts val="1300"/>
              <a:buChar char="•"/>
              <a:defRPr sz="1300"/>
            </a:lvl3pPr>
            <a:lvl4pPr marL="1828800" lvl="3" indent="-304800" algn="l" rtl="0">
              <a:lnSpc>
                <a:spcPct val="115000"/>
              </a:lnSpc>
              <a:spcBef>
                <a:spcPts val="1300"/>
              </a:spcBef>
              <a:spcAft>
                <a:spcPts val="0"/>
              </a:spcAft>
              <a:buSzPts val="1200"/>
              <a:buChar char="◦"/>
              <a:defRPr sz="1200"/>
            </a:lvl4pPr>
            <a:lvl5pPr marL="2286000" lvl="4" indent="-298450" algn="l" rtl="0">
              <a:lnSpc>
                <a:spcPct val="115000"/>
              </a:lnSpc>
              <a:spcBef>
                <a:spcPts val="1300"/>
              </a:spcBef>
              <a:spcAft>
                <a:spcPts val="0"/>
              </a:spcAft>
              <a:buSzPts val="1100"/>
              <a:buChar char="•"/>
              <a:defRPr/>
            </a:lvl5pPr>
            <a:lvl6pPr marL="2743200" lvl="5" indent="-298450" algn="l" rtl="0">
              <a:lnSpc>
                <a:spcPct val="115000"/>
              </a:lnSpc>
              <a:spcBef>
                <a:spcPts val="1300"/>
              </a:spcBef>
              <a:spcAft>
                <a:spcPts val="0"/>
              </a:spcAft>
              <a:buSzPts val="1100"/>
              <a:buChar char="◦"/>
              <a:defRPr/>
            </a:lvl6pPr>
            <a:lvl7pPr marL="3200400" lvl="6" indent="-298450" algn="l" rtl="0">
              <a:lnSpc>
                <a:spcPct val="115000"/>
              </a:lnSpc>
              <a:spcBef>
                <a:spcPts val="1300"/>
              </a:spcBef>
              <a:spcAft>
                <a:spcPts val="0"/>
              </a:spcAft>
              <a:buSzPts val="1100"/>
              <a:buChar char="•"/>
              <a:defRPr/>
            </a:lvl7pPr>
            <a:lvl8pPr marL="3657600" lvl="7" indent="-298450" algn="l" rtl="0">
              <a:lnSpc>
                <a:spcPct val="115000"/>
              </a:lnSpc>
              <a:spcBef>
                <a:spcPts val="13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 algn="l" rtl="0">
              <a:lnSpc>
                <a:spcPct val="115000"/>
              </a:lnSpc>
              <a:spcBef>
                <a:spcPts val="1300"/>
              </a:spcBef>
              <a:spcAft>
                <a:spcPts val="1300"/>
              </a:spcAft>
              <a:buSzPts val="1100"/>
              <a:buChar char="•"/>
              <a:defRPr/>
            </a:lvl9pPr>
          </a:lstStyle>
          <a:p>
            <a:endParaRPr/>
          </a:p>
        </p:txBody>
      </p:sp>
      <p:sp>
        <p:nvSpPr>
          <p:cNvPr id="580" name="Google Shape;580;p48"/>
          <p:cNvSpPr/>
          <p:nvPr/>
        </p:nvSpPr>
        <p:spPr>
          <a:xfrm rot="10800000">
            <a:off x="3833" y="67"/>
            <a:ext cx="11147700" cy="10329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81" name="Google Shape;581;p48"/>
          <p:cNvSpPr/>
          <p:nvPr/>
        </p:nvSpPr>
        <p:spPr>
          <a:xfrm>
            <a:off x="-23600" y="0"/>
            <a:ext cx="1266300" cy="10329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82" name="Google Shape;582;p48"/>
          <p:cNvSpPr txBox="1">
            <a:spLocks noGrp="1"/>
          </p:cNvSpPr>
          <p:nvPr>
            <p:ph type="title" idx="2"/>
          </p:nvPr>
        </p:nvSpPr>
        <p:spPr>
          <a:xfrm>
            <a:off x="415600" y="398067"/>
            <a:ext cx="10124100" cy="52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1pPr>
            <a:lvl2pPr lvl="1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2pPr>
            <a:lvl3pPr lvl="2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3pPr>
            <a:lvl4pPr lvl="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4pPr>
            <a:lvl5pPr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5pPr>
            <a:lvl6pPr lvl="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6pPr>
            <a:lvl7pPr lvl="6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7pPr>
            <a:lvl8pPr lvl="7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8pPr>
            <a:lvl9pPr lvl="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583" name="Google Shape;583;p48"/>
          <p:cNvSpPr/>
          <p:nvPr/>
        </p:nvSpPr>
        <p:spPr>
          <a:xfrm>
            <a:off x="11525533" y="364133"/>
            <a:ext cx="365273" cy="304371"/>
          </a:xfrm>
          <a:custGeom>
            <a:avLst/>
            <a:gdLst/>
            <a:ahLst/>
            <a:cxnLst/>
            <a:rect l="l" t="t" r="r" b="b"/>
            <a:pathLst>
              <a:path w="251479" h="209550" extrusionOk="0">
                <a:moveTo>
                  <a:pt x="62932" y="0"/>
                </a:moveTo>
                <a:lnTo>
                  <a:pt x="59858" y="78"/>
                </a:lnTo>
                <a:lnTo>
                  <a:pt x="56847" y="326"/>
                </a:lnTo>
                <a:lnTo>
                  <a:pt x="53851" y="714"/>
                </a:lnTo>
                <a:lnTo>
                  <a:pt x="50901" y="1257"/>
                </a:lnTo>
                <a:lnTo>
                  <a:pt x="47998" y="1925"/>
                </a:lnTo>
                <a:lnTo>
                  <a:pt x="45142" y="2748"/>
                </a:lnTo>
                <a:lnTo>
                  <a:pt x="42348" y="3695"/>
                </a:lnTo>
                <a:lnTo>
                  <a:pt x="39600" y="4781"/>
                </a:lnTo>
                <a:lnTo>
                  <a:pt x="36915" y="5992"/>
                </a:lnTo>
                <a:lnTo>
                  <a:pt x="34291" y="7327"/>
                </a:lnTo>
                <a:lnTo>
                  <a:pt x="31730" y="8786"/>
                </a:lnTo>
                <a:lnTo>
                  <a:pt x="29246" y="10354"/>
                </a:lnTo>
                <a:lnTo>
                  <a:pt x="26840" y="12031"/>
                </a:lnTo>
                <a:lnTo>
                  <a:pt x="24511" y="13831"/>
                </a:lnTo>
                <a:lnTo>
                  <a:pt x="22261" y="15741"/>
                </a:lnTo>
                <a:lnTo>
                  <a:pt x="20087" y="17743"/>
                </a:lnTo>
                <a:lnTo>
                  <a:pt x="18023" y="19839"/>
                </a:lnTo>
                <a:lnTo>
                  <a:pt x="16036" y="22043"/>
                </a:lnTo>
                <a:lnTo>
                  <a:pt x="14157" y="24325"/>
                </a:lnTo>
                <a:lnTo>
                  <a:pt x="12372" y="26716"/>
                </a:lnTo>
                <a:lnTo>
                  <a:pt x="10696" y="29168"/>
                </a:lnTo>
                <a:lnTo>
                  <a:pt x="9112" y="31714"/>
                </a:lnTo>
                <a:lnTo>
                  <a:pt x="7653" y="34338"/>
                </a:lnTo>
                <a:lnTo>
                  <a:pt x="6318" y="37039"/>
                </a:lnTo>
                <a:lnTo>
                  <a:pt x="5092" y="39802"/>
                </a:lnTo>
                <a:lnTo>
                  <a:pt x="3990" y="42643"/>
                </a:lnTo>
                <a:lnTo>
                  <a:pt x="3012" y="45546"/>
                </a:lnTo>
                <a:lnTo>
                  <a:pt x="2173" y="48495"/>
                </a:lnTo>
                <a:lnTo>
                  <a:pt x="1459" y="51507"/>
                </a:lnTo>
                <a:lnTo>
                  <a:pt x="885" y="54580"/>
                </a:lnTo>
                <a:lnTo>
                  <a:pt x="450" y="57700"/>
                </a:lnTo>
                <a:lnTo>
                  <a:pt x="310" y="59268"/>
                </a:lnTo>
                <a:lnTo>
                  <a:pt x="186" y="60665"/>
                </a:lnTo>
                <a:lnTo>
                  <a:pt x="31" y="63475"/>
                </a:lnTo>
                <a:lnTo>
                  <a:pt x="0" y="66269"/>
                </a:lnTo>
                <a:lnTo>
                  <a:pt x="62" y="69063"/>
                </a:lnTo>
                <a:lnTo>
                  <a:pt x="217" y="71842"/>
                </a:lnTo>
                <a:lnTo>
                  <a:pt x="466" y="74605"/>
                </a:lnTo>
                <a:lnTo>
                  <a:pt x="823" y="77368"/>
                </a:lnTo>
                <a:lnTo>
                  <a:pt x="1257" y="80132"/>
                </a:lnTo>
                <a:lnTo>
                  <a:pt x="1801" y="82864"/>
                </a:lnTo>
                <a:lnTo>
                  <a:pt x="2422" y="85611"/>
                </a:lnTo>
                <a:lnTo>
                  <a:pt x="3120" y="88328"/>
                </a:lnTo>
                <a:lnTo>
                  <a:pt x="3912" y="91045"/>
                </a:lnTo>
                <a:lnTo>
                  <a:pt x="4781" y="93730"/>
                </a:lnTo>
                <a:lnTo>
                  <a:pt x="5728" y="96416"/>
                </a:lnTo>
                <a:lnTo>
                  <a:pt x="7280" y="100436"/>
                </a:lnTo>
                <a:lnTo>
                  <a:pt x="9609" y="105714"/>
                </a:lnTo>
                <a:lnTo>
                  <a:pt x="12201" y="110946"/>
                </a:lnTo>
                <a:lnTo>
                  <a:pt x="15058" y="116099"/>
                </a:lnTo>
                <a:lnTo>
                  <a:pt x="18147" y="121191"/>
                </a:lnTo>
                <a:lnTo>
                  <a:pt x="21438" y="126205"/>
                </a:lnTo>
                <a:lnTo>
                  <a:pt x="24931" y="131126"/>
                </a:lnTo>
                <a:lnTo>
                  <a:pt x="28594" y="135969"/>
                </a:lnTo>
                <a:lnTo>
                  <a:pt x="32413" y="140719"/>
                </a:lnTo>
                <a:lnTo>
                  <a:pt x="36371" y="145392"/>
                </a:lnTo>
                <a:lnTo>
                  <a:pt x="40454" y="149940"/>
                </a:lnTo>
                <a:lnTo>
                  <a:pt x="44630" y="154395"/>
                </a:lnTo>
                <a:lnTo>
                  <a:pt x="48883" y="158742"/>
                </a:lnTo>
                <a:lnTo>
                  <a:pt x="53199" y="162964"/>
                </a:lnTo>
                <a:lnTo>
                  <a:pt x="57545" y="167078"/>
                </a:lnTo>
                <a:lnTo>
                  <a:pt x="61938" y="171068"/>
                </a:lnTo>
                <a:lnTo>
                  <a:pt x="66316" y="174917"/>
                </a:lnTo>
                <a:lnTo>
                  <a:pt x="70678" y="178643"/>
                </a:lnTo>
                <a:lnTo>
                  <a:pt x="75024" y="182229"/>
                </a:lnTo>
                <a:lnTo>
                  <a:pt x="81420" y="187352"/>
                </a:lnTo>
                <a:lnTo>
                  <a:pt x="89663" y="193639"/>
                </a:lnTo>
                <a:lnTo>
                  <a:pt x="97425" y="199274"/>
                </a:lnTo>
                <a:lnTo>
                  <a:pt x="101057" y="201819"/>
                </a:lnTo>
                <a:lnTo>
                  <a:pt x="102454" y="202766"/>
                </a:lnTo>
                <a:lnTo>
                  <a:pt x="105342" y="204458"/>
                </a:lnTo>
                <a:lnTo>
                  <a:pt x="108338" y="205918"/>
                </a:lnTo>
                <a:lnTo>
                  <a:pt x="111396" y="207128"/>
                </a:lnTo>
                <a:lnTo>
                  <a:pt x="114516" y="208091"/>
                </a:lnTo>
                <a:lnTo>
                  <a:pt x="117683" y="208820"/>
                </a:lnTo>
                <a:lnTo>
                  <a:pt x="120896" y="209302"/>
                </a:lnTo>
                <a:lnTo>
                  <a:pt x="124125" y="209550"/>
                </a:lnTo>
                <a:lnTo>
                  <a:pt x="127354" y="209550"/>
                </a:lnTo>
                <a:lnTo>
                  <a:pt x="130583" y="209302"/>
                </a:lnTo>
                <a:lnTo>
                  <a:pt x="133796" y="208820"/>
                </a:lnTo>
                <a:lnTo>
                  <a:pt x="136963" y="208091"/>
                </a:lnTo>
                <a:lnTo>
                  <a:pt x="140098" y="207128"/>
                </a:lnTo>
                <a:lnTo>
                  <a:pt x="143156" y="205918"/>
                </a:lnTo>
                <a:lnTo>
                  <a:pt x="146137" y="204458"/>
                </a:lnTo>
                <a:lnTo>
                  <a:pt x="149024" y="202766"/>
                </a:lnTo>
                <a:lnTo>
                  <a:pt x="150421" y="201819"/>
                </a:lnTo>
                <a:lnTo>
                  <a:pt x="154038" y="199289"/>
                </a:lnTo>
                <a:lnTo>
                  <a:pt x="161769" y="193670"/>
                </a:lnTo>
                <a:lnTo>
                  <a:pt x="169981" y="187414"/>
                </a:lnTo>
                <a:lnTo>
                  <a:pt x="176361" y="182306"/>
                </a:lnTo>
                <a:lnTo>
                  <a:pt x="180676" y="178736"/>
                </a:lnTo>
                <a:lnTo>
                  <a:pt x="185023" y="175042"/>
                </a:lnTo>
                <a:lnTo>
                  <a:pt x="189385" y="171192"/>
                </a:lnTo>
                <a:lnTo>
                  <a:pt x="193763" y="167233"/>
                </a:lnTo>
                <a:lnTo>
                  <a:pt x="198094" y="163151"/>
                </a:lnTo>
                <a:lnTo>
                  <a:pt x="202394" y="158944"/>
                </a:lnTo>
                <a:lnTo>
                  <a:pt x="206647" y="154613"/>
                </a:lnTo>
                <a:lnTo>
                  <a:pt x="210807" y="150189"/>
                </a:lnTo>
                <a:lnTo>
                  <a:pt x="214874" y="145656"/>
                </a:lnTo>
                <a:lnTo>
                  <a:pt x="218817" y="141014"/>
                </a:lnTo>
                <a:lnTo>
                  <a:pt x="222636" y="136280"/>
                </a:lnTo>
                <a:lnTo>
                  <a:pt x="226300" y="131467"/>
                </a:lnTo>
                <a:lnTo>
                  <a:pt x="229792" y="126562"/>
                </a:lnTo>
                <a:lnTo>
                  <a:pt x="233083" y="121579"/>
                </a:lnTo>
                <a:lnTo>
                  <a:pt x="236173" y="116518"/>
                </a:lnTo>
                <a:lnTo>
                  <a:pt x="239044" y="111380"/>
                </a:lnTo>
                <a:lnTo>
                  <a:pt x="241652" y="106180"/>
                </a:lnTo>
                <a:lnTo>
                  <a:pt x="243996" y="100917"/>
                </a:lnTo>
                <a:lnTo>
                  <a:pt x="245564" y="96928"/>
                </a:lnTo>
                <a:lnTo>
                  <a:pt x="246527" y="94258"/>
                </a:lnTo>
                <a:lnTo>
                  <a:pt x="247396" y="91572"/>
                </a:lnTo>
                <a:lnTo>
                  <a:pt x="248203" y="88871"/>
                </a:lnTo>
                <a:lnTo>
                  <a:pt x="248917" y="86155"/>
                </a:lnTo>
                <a:lnTo>
                  <a:pt x="249554" y="83438"/>
                </a:lnTo>
                <a:lnTo>
                  <a:pt x="250112" y="80706"/>
                </a:lnTo>
                <a:lnTo>
                  <a:pt x="250563" y="77958"/>
                </a:lnTo>
                <a:lnTo>
                  <a:pt x="250935" y="75211"/>
                </a:lnTo>
                <a:lnTo>
                  <a:pt x="251215" y="72448"/>
                </a:lnTo>
                <a:lnTo>
                  <a:pt x="251385" y="69684"/>
                </a:lnTo>
                <a:lnTo>
                  <a:pt x="251479" y="66906"/>
                </a:lnTo>
                <a:lnTo>
                  <a:pt x="251463" y="64127"/>
                </a:lnTo>
                <a:lnTo>
                  <a:pt x="251339" y="61333"/>
                </a:lnTo>
                <a:lnTo>
                  <a:pt x="251230" y="59936"/>
                </a:lnTo>
                <a:lnTo>
                  <a:pt x="251199" y="59610"/>
                </a:lnTo>
                <a:lnTo>
                  <a:pt x="251184" y="59268"/>
                </a:lnTo>
                <a:lnTo>
                  <a:pt x="250966" y="57235"/>
                </a:lnTo>
                <a:lnTo>
                  <a:pt x="250361" y="53199"/>
                </a:lnTo>
                <a:lnTo>
                  <a:pt x="249507" y="49256"/>
                </a:lnTo>
                <a:lnTo>
                  <a:pt x="248436" y="45421"/>
                </a:lnTo>
                <a:lnTo>
                  <a:pt x="247132" y="41665"/>
                </a:lnTo>
                <a:lnTo>
                  <a:pt x="245626" y="38032"/>
                </a:lnTo>
                <a:lnTo>
                  <a:pt x="243919" y="34508"/>
                </a:lnTo>
                <a:lnTo>
                  <a:pt x="242009" y="31124"/>
                </a:lnTo>
                <a:lnTo>
                  <a:pt x="240969" y="29479"/>
                </a:lnTo>
                <a:lnTo>
                  <a:pt x="240209" y="28299"/>
                </a:lnTo>
                <a:lnTo>
                  <a:pt x="239401" y="27135"/>
                </a:lnTo>
                <a:lnTo>
                  <a:pt x="238594" y="26110"/>
                </a:lnTo>
                <a:lnTo>
                  <a:pt x="237244" y="24667"/>
                </a:lnTo>
                <a:lnTo>
                  <a:pt x="236281" y="23766"/>
                </a:lnTo>
                <a:lnTo>
                  <a:pt x="235784" y="23332"/>
                </a:lnTo>
                <a:lnTo>
                  <a:pt x="234837" y="22571"/>
                </a:lnTo>
                <a:lnTo>
                  <a:pt x="232882" y="21236"/>
                </a:lnTo>
                <a:lnTo>
                  <a:pt x="230832" y="20134"/>
                </a:lnTo>
                <a:lnTo>
                  <a:pt x="228690" y="19233"/>
                </a:lnTo>
                <a:lnTo>
                  <a:pt x="226517" y="18566"/>
                </a:lnTo>
                <a:lnTo>
                  <a:pt x="224297" y="18116"/>
                </a:lnTo>
                <a:lnTo>
                  <a:pt x="222046" y="17883"/>
                </a:lnTo>
                <a:lnTo>
                  <a:pt x="219795" y="17867"/>
                </a:lnTo>
                <a:lnTo>
                  <a:pt x="217544" y="18069"/>
                </a:lnTo>
                <a:lnTo>
                  <a:pt x="215325" y="18473"/>
                </a:lnTo>
                <a:lnTo>
                  <a:pt x="213167" y="19094"/>
                </a:lnTo>
                <a:lnTo>
                  <a:pt x="211056" y="19916"/>
                </a:lnTo>
                <a:lnTo>
                  <a:pt x="209007" y="20957"/>
                </a:lnTo>
                <a:lnTo>
                  <a:pt x="207082" y="22214"/>
                </a:lnTo>
                <a:lnTo>
                  <a:pt x="205250" y="23658"/>
                </a:lnTo>
                <a:lnTo>
                  <a:pt x="203542" y="25319"/>
                </a:lnTo>
                <a:lnTo>
                  <a:pt x="202751" y="26219"/>
                </a:lnTo>
                <a:lnTo>
                  <a:pt x="185504" y="46787"/>
                </a:lnTo>
                <a:lnTo>
                  <a:pt x="141775" y="98899"/>
                </a:lnTo>
                <a:lnTo>
                  <a:pt x="141232" y="99567"/>
                </a:lnTo>
                <a:lnTo>
                  <a:pt x="140285" y="100964"/>
                </a:lnTo>
                <a:lnTo>
                  <a:pt x="139508" y="102439"/>
                </a:lnTo>
                <a:lnTo>
                  <a:pt x="138903" y="103976"/>
                </a:lnTo>
                <a:lnTo>
                  <a:pt x="138468" y="105543"/>
                </a:lnTo>
                <a:lnTo>
                  <a:pt x="138189" y="107142"/>
                </a:lnTo>
                <a:lnTo>
                  <a:pt x="138065" y="108741"/>
                </a:lnTo>
                <a:lnTo>
                  <a:pt x="138111" y="110356"/>
                </a:lnTo>
                <a:lnTo>
                  <a:pt x="138329" y="111955"/>
                </a:lnTo>
                <a:lnTo>
                  <a:pt x="138701" y="113522"/>
                </a:lnTo>
                <a:lnTo>
                  <a:pt x="139229" y="115044"/>
                </a:lnTo>
                <a:lnTo>
                  <a:pt x="139912" y="116518"/>
                </a:lnTo>
                <a:lnTo>
                  <a:pt x="140750" y="117931"/>
                </a:lnTo>
                <a:lnTo>
                  <a:pt x="141759" y="119266"/>
                </a:lnTo>
                <a:lnTo>
                  <a:pt x="142908" y="120492"/>
                </a:lnTo>
                <a:lnTo>
                  <a:pt x="144212" y="121626"/>
                </a:lnTo>
                <a:lnTo>
                  <a:pt x="144926" y="122138"/>
                </a:lnTo>
                <a:lnTo>
                  <a:pt x="145438" y="122479"/>
                </a:lnTo>
                <a:lnTo>
                  <a:pt x="146494" y="123085"/>
                </a:lnTo>
                <a:lnTo>
                  <a:pt x="147581" y="123613"/>
                </a:lnTo>
                <a:lnTo>
                  <a:pt x="148698" y="124063"/>
                </a:lnTo>
                <a:lnTo>
                  <a:pt x="149863" y="124420"/>
                </a:lnTo>
                <a:lnTo>
                  <a:pt x="151042" y="124684"/>
                </a:lnTo>
                <a:lnTo>
                  <a:pt x="152238" y="124854"/>
                </a:lnTo>
                <a:lnTo>
                  <a:pt x="153448" y="124932"/>
                </a:lnTo>
                <a:lnTo>
                  <a:pt x="154069" y="124932"/>
                </a:lnTo>
                <a:lnTo>
                  <a:pt x="154939" y="124901"/>
                </a:lnTo>
                <a:lnTo>
                  <a:pt x="156662" y="124699"/>
                </a:lnTo>
                <a:lnTo>
                  <a:pt x="158338" y="124311"/>
                </a:lnTo>
                <a:lnTo>
                  <a:pt x="159937" y="123752"/>
                </a:lnTo>
                <a:lnTo>
                  <a:pt x="161459" y="123038"/>
                </a:lnTo>
                <a:lnTo>
                  <a:pt x="162902" y="122153"/>
                </a:lnTo>
                <a:lnTo>
                  <a:pt x="164253" y="121113"/>
                </a:lnTo>
                <a:lnTo>
                  <a:pt x="165495" y="119918"/>
                </a:lnTo>
                <a:lnTo>
                  <a:pt x="166053" y="119266"/>
                </a:lnTo>
                <a:lnTo>
                  <a:pt x="210357" y="66471"/>
                </a:lnTo>
                <a:lnTo>
                  <a:pt x="210668" y="66130"/>
                </a:lnTo>
                <a:lnTo>
                  <a:pt x="211366" y="65586"/>
                </a:lnTo>
                <a:lnTo>
                  <a:pt x="212142" y="65183"/>
                </a:lnTo>
                <a:lnTo>
                  <a:pt x="212965" y="64950"/>
                </a:lnTo>
                <a:lnTo>
                  <a:pt x="213819" y="64872"/>
                </a:lnTo>
                <a:lnTo>
                  <a:pt x="214673" y="64965"/>
                </a:lnTo>
                <a:lnTo>
                  <a:pt x="215495" y="65214"/>
                </a:lnTo>
                <a:lnTo>
                  <a:pt x="216272" y="65633"/>
                </a:lnTo>
                <a:lnTo>
                  <a:pt x="216644" y="65928"/>
                </a:lnTo>
                <a:lnTo>
                  <a:pt x="219252" y="68117"/>
                </a:lnTo>
                <a:lnTo>
                  <a:pt x="219578" y="68412"/>
                </a:lnTo>
                <a:lnTo>
                  <a:pt x="220137" y="69110"/>
                </a:lnTo>
                <a:lnTo>
                  <a:pt x="220525" y="69886"/>
                </a:lnTo>
                <a:lnTo>
                  <a:pt x="220773" y="70709"/>
                </a:lnTo>
                <a:lnTo>
                  <a:pt x="220835" y="71563"/>
                </a:lnTo>
                <a:lnTo>
                  <a:pt x="220758" y="72417"/>
                </a:lnTo>
                <a:lnTo>
                  <a:pt x="220494" y="73239"/>
                </a:lnTo>
                <a:lnTo>
                  <a:pt x="220075" y="74031"/>
                </a:lnTo>
                <a:lnTo>
                  <a:pt x="219795" y="74388"/>
                </a:lnTo>
                <a:lnTo>
                  <a:pt x="175492" y="127183"/>
                </a:lnTo>
                <a:lnTo>
                  <a:pt x="174560" y="128239"/>
                </a:lnTo>
                <a:lnTo>
                  <a:pt x="172573" y="130195"/>
                </a:lnTo>
                <a:lnTo>
                  <a:pt x="170431" y="131918"/>
                </a:lnTo>
                <a:lnTo>
                  <a:pt x="168134" y="133423"/>
                </a:lnTo>
                <a:lnTo>
                  <a:pt x="165696" y="134681"/>
                </a:lnTo>
                <a:lnTo>
                  <a:pt x="163151" y="135705"/>
                </a:lnTo>
                <a:lnTo>
                  <a:pt x="160512" y="136481"/>
                </a:lnTo>
                <a:lnTo>
                  <a:pt x="157764" y="136994"/>
                </a:lnTo>
                <a:lnTo>
                  <a:pt x="156367" y="137133"/>
                </a:lnTo>
                <a:lnTo>
                  <a:pt x="155109" y="137227"/>
                </a:lnTo>
                <a:lnTo>
                  <a:pt x="153868" y="137242"/>
                </a:lnTo>
                <a:lnTo>
                  <a:pt x="152626" y="137227"/>
                </a:lnTo>
                <a:lnTo>
                  <a:pt x="150189" y="137009"/>
                </a:lnTo>
                <a:lnTo>
                  <a:pt x="147782" y="136590"/>
                </a:lnTo>
                <a:lnTo>
                  <a:pt x="145438" y="135954"/>
                </a:lnTo>
                <a:lnTo>
                  <a:pt x="143141" y="135131"/>
                </a:lnTo>
                <a:lnTo>
                  <a:pt x="140937" y="134091"/>
                </a:lnTo>
                <a:lnTo>
                  <a:pt x="138810" y="132865"/>
                </a:lnTo>
                <a:lnTo>
                  <a:pt x="136776" y="131436"/>
                </a:lnTo>
                <a:lnTo>
                  <a:pt x="135814" y="130645"/>
                </a:lnTo>
                <a:lnTo>
                  <a:pt x="135255" y="130179"/>
                </a:lnTo>
                <a:lnTo>
                  <a:pt x="134200" y="129201"/>
                </a:lnTo>
                <a:lnTo>
                  <a:pt x="132725" y="127649"/>
                </a:lnTo>
                <a:lnTo>
                  <a:pt x="130986" y="125460"/>
                </a:lnTo>
                <a:lnTo>
                  <a:pt x="129496" y="123131"/>
                </a:lnTo>
                <a:lnTo>
                  <a:pt x="128254" y="120679"/>
                </a:lnTo>
                <a:lnTo>
                  <a:pt x="127245" y="118148"/>
                </a:lnTo>
                <a:lnTo>
                  <a:pt x="126500" y="115540"/>
                </a:lnTo>
                <a:lnTo>
                  <a:pt x="126019" y="112870"/>
                </a:lnTo>
                <a:lnTo>
                  <a:pt x="125786" y="110185"/>
                </a:lnTo>
                <a:lnTo>
                  <a:pt x="125801" y="107468"/>
                </a:lnTo>
                <a:lnTo>
                  <a:pt x="126081" y="104783"/>
                </a:lnTo>
                <a:lnTo>
                  <a:pt x="126624" y="102113"/>
                </a:lnTo>
                <a:lnTo>
                  <a:pt x="127431" y="99489"/>
                </a:lnTo>
                <a:lnTo>
                  <a:pt x="128487" y="96928"/>
                </a:lnTo>
                <a:lnTo>
                  <a:pt x="129822" y="94460"/>
                </a:lnTo>
                <a:lnTo>
                  <a:pt x="131017" y="92690"/>
                </a:lnTo>
                <a:lnTo>
                  <a:pt x="131887" y="91541"/>
                </a:lnTo>
                <a:lnTo>
                  <a:pt x="132337" y="90967"/>
                </a:lnTo>
                <a:lnTo>
                  <a:pt x="157966" y="60432"/>
                </a:lnTo>
                <a:lnTo>
                  <a:pt x="193312" y="18302"/>
                </a:lnTo>
                <a:lnTo>
                  <a:pt x="193856" y="17681"/>
                </a:lnTo>
                <a:lnTo>
                  <a:pt x="194958" y="16470"/>
                </a:lnTo>
                <a:lnTo>
                  <a:pt x="196697" y="14778"/>
                </a:lnTo>
                <a:lnTo>
                  <a:pt x="199149" y="12745"/>
                </a:lnTo>
                <a:lnTo>
                  <a:pt x="201757" y="10960"/>
                </a:lnTo>
                <a:lnTo>
                  <a:pt x="204474" y="9423"/>
                </a:lnTo>
                <a:lnTo>
                  <a:pt x="207299" y="8134"/>
                </a:lnTo>
                <a:lnTo>
                  <a:pt x="210217" y="7110"/>
                </a:lnTo>
                <a:lnTo>
                  <a:pt x="213198" y="6334"/>
                </a:lnTo>
                <a:lnTo>
                  <a:pt x="214704" y="6054"/>
                </a:lnTo>
                <a:lnTo>
                  <a:pt x="213105" y="5309"/>
                </a:lnTo>
                <a:lnTo>
                  <a:pt x="209860" y="3958"/>
                </a:lnTo>
                <a:lnTo>
                  <a:pt x="206523" y="2810"/>
                </a:lnTo>
                <a:lnTo>
                  <a:pt x="203108" y="1832"/>
                </a:lnTo>
                <a:lnTo>
                  <a:pt x="199630" y="1056"/>
                </a:lnTo>
                <a:lnTo>
                  <a:pt x="196091" y="497"/>
                </a:lnTo>
                <a:lnTo>
                  <a:pt x="192505" y="140"/>
                </a:lnTo>
                <a:lnTo>
                  <a:pt x="188857" y="0"/>
                </a:lnTo>
                <a:lnTo>
                  <a:pt x="187010" y="16"/>
                </a:lnTo>
                <a:lnTo>
                  <a:pt x="185737" y="47"/>
                </a:lnTo>
                <a:lnTo>
                  <a:pt x="183222" y="202"/>
                </a:lnTo>
                <a:lnTo>
                  <a:pt x="180723" y="450"/>
                </a:lnTo>
                <a:lnTo>
                  <a:pt x="178255" y="776"/>
                </a:lnTo>
                <a:lnTo>
                  <a:pt x="175802" y="1195"/>
                </a:lnTo>
                <a:lnTo>
                  <a:pt x="173380" y="1708"/>
                </a:lnTo>
                <a:lnTo>
                  <a:pt x="171005" y="2313"/>
                </a:lnTo>
                <a:lnTo>
                  <a:pt x="168646" y="2996"/>
                </a:lnTo>
                <a:lnTo>
                  <a:pt x="166317" y="3757"/>
                </a:lnTo>
                <a:lnTo>
                  <a:pt x="164035" y="4610"/>
                </a:lnTo>
                <a:lnTo>
                  <a:pt x="161800" y="5542"/>
                </a:lnTo>
                <a:lnTo>
                  <a:pt x="159596" y="6551"/>
                </a:lnTo>
                <a:lnTo>
                  <a:pt x="157422" y="7638"/>
                </a:lnTo>
                <a:lnTo>
                  <a:pt x="155311" y="8786"/>
                </a:lnTo>
                <a:lnTo>
                  <a:pt x="153247" y="10028"/>
                </a:lnTo>
                <a:lnTo>
                  <a:pt x="151213" y="11332"/>
                </a:lnTo>
                <a:lnTo>
                  <a:pt x="149257" y="12714"/>
                </a:lnTo>
                <a:lnTo>
                  <a:pt x="147332" y="14157"/>
                </a:lnTo>
                <a:lnTo>
                  <a:pt x="145469" y="15679"/>
                </a:lnTo>
                <a:lnTo>
                  <a:pt x="143669" y="17262"/>
                </a:lnTo>
                <a:lnTo>
                  <a:pt x="141930" y="18907"/>
                </a:lnTo>
                <a:lnTo>
                  <a:pt x="140254" y="20615"/>
                </a:lnTo>
                <a:lnTo>
                  <a:pt x="138624" y="22385"/>
                </a:lnTo>
                <a:lnTo>
                  <a:pt x="137071" y="24216"/>
                </a:lnTo>
                <a:lnTo>
                  <a:pt x="135597" y="26095"/>
                </a:lnTo>
                <a:lnTo>
                  <a:pt x="134184" y="28035"/>
                </a:lnTo>
                <a:lnTo>
                  <a:pt x="132833" y="30038"/>
                </a:lnTo>
                <a:lnTo>
                  <a:pt x="131561" y="32102"/>
                </a:lnTo>
                <a:lnTo>
                  <a:pt x="130381" y="34198"/>
                </a:lnTo>
                <a:lnTo>
                  <a:pt x="129263" y="36356"/>
                </a:lnTo>
                <a:lnTo>
                  <a:pt x="128223" y="38560"/>
                </a:lnTo>
                <a:lnTo>
                  <a:pt x="127276" y="40826"/>
                </a:lnTo>
                <a:lnTo>
                  <a:pt x="126841" y="41960"/>
                </a:lnTo>
                <a:lnTo>
                  <a:pt x="126717" y="42270"/>
                </a:lnTo>
                <a:lnTo>
                  <a:pt x="126469" y="42720"/>
                </a:lnTo>
                <a:lnTo>
                  <a:pt x="126205" y="42969"/>
                </a:lnTo>
                <a:lnTo>
                  <a:pt x="125910" y="43062"/>
                </a:lnTo>
                <a:lnTo>
                  <a:pt x="125739" y="43077"/>
                </a:lnTo>
                <a:lnTo>
                  <a:pt x="125569" y="43062"/>
                </a:lnTo>
                <a:lnTo>
                  <a:pt x="125274" y="42969"/>
                </a:lnTo>
                <a:lnTo>
                  <a:pt x="125010" y="42720"/>
                </a:lnTo>
                <a:lnTo>
                  <a:pt x="124761" y="42270"/>
                </a:lnTo>
                <a:lnTo>
                  <a:pt x="124637" y="41960"/>
                </a:lnTo>
                <a:lnTo>
                  <a:pt x="124202" y="40826"/>
                </a:lnTo>
                <a:lnTo>
                  <a:pt x="123256" y="38560"/>
                </a:lnTo>
                <a:lnTo>
                  <a:pt x="122215" y="36356"/>
                </a:lnTo>
                <a:lnTo>
                  <a:pt x="121098" y="34198"/>
                </a:lnTo>
                <a:lnTo>
                  <a:pt x="119918" y="32102"/>
                </a:lnTo>
                <a:lnTo>
                  <a:pt x="118645" y="30038"/>
                </a:lnTo>
                <a:lnTo>
                  <a:pt x="117295" y="28035"/>
                </a:lnTo>
                <a:lnTo>
                  <a:pt x="115882" y="26095"/>
                </a:lnTo>
                <a:lnTo>
                  <a:pt x="114407" y="24216"/>
                </a:lnTo>
                <a:lnTo>
                  <a:pt x="112855" y="22385"/>
                </a:lnTo>
                <a:lnTo>
                  <a:pt x="111225" y="20615"/>
                </a:lnTo>
                <a:lnTo>
                  <a:pt x="109548" y="18907"/>
                </a:lnTo>
                <a:lnTo>
                  <a:pt x="107810" y="17262"/>
                </a:lnTo>
                <a:lnTo>
                  <a:pt x="106009" y="15679"/>
                </a:lnTo>
                <a:lnTo>
                  <a:pt x="104146" y="14157"/>
                </a:lnTo>
                <a:lnTo>
                  <a:pt x="102221" y="12714"/>
                </a:lnTo>
                <a:lnTo>
                  <a:pt x="100265" y="11332"/>
                </a:lnTo>
                <a:lnTo>
                  <a:pt x="98232" y="10028"/>
                </a:lnTo>
                <a:lnTo>
                  <a:pt x="96167" y="8786"/>
                </a:lnTo>
                <a:lnTo>
                  <a:pt x="94056" y="7638"/>
                </a:lnTo>
                <a:lnTo>
                  <a:pt x="91883" y="6551"/>
                </a:lnTo>
                <a:lnTo>
                  <a:pt x="89678" y="5542"/>
                </a:lnTo>
                <a:lnTo>
                  <a:pt x="87443" y="4610"/>
                </a:lnTo>
                <a:lnTo>
                  <a:pt x="85161" y="3757"/>
                </a:lnTo>
                <a:lnTo>
                  <a:pt x="82833" y="2996"/>
                </a:lnTo>
                <a:lnTo>
                  <a:pt x="80473" y="2313"/>
                </a:lnTo>
                <a:lnTo>
                  <a:pt x="78098" y="1708"/>
                </a:lnTo>
                <a:lnTo>
                  <a:pt x="75676" y="1195"/>
                </a:lnTo>
                <a:lnTo>
                  <a:pt x="73224" y="776"/>
                </a:lnTo>
                <a:lnTo>
                  <a:pt x="70756" y="450"/>
                </a:lnTo>
                <a:lnTo>
                  <a:pt x="68256" y="202"/>
                </a:lnTo>
                <a:lnTo>
                  <a:pt x="65741" y="47"/>
                </a:lnTo>
                <a:lnTo>
                  <a:pt x="64469" y="16"/>
                </a:lnTo>
                <a:lnTo>
                  <a:pt x="62932" y="0"/>
                </a:lnTo>
                <a:close/>
              </a:path>
            </a:pathLst>
          </a:custGeom>
          <a:solidFill>
            <a:srgbClr val="F7224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3793658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5" name="Google Shape;585;p49"/>
          <p:cNvSpPr txBox="1">
            <a:spLocks noGrp="1"/>
          </p:cNvSpPr>
          <p:nvPr>
            <p:ph type="sldNum" idx="12"/>
          </p:nvPr>
        </p:nvSpPr>
        <p:spPr>
          <a:xfrm>
            <a:off x="11044810" y="6091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algn="r" rtl="0">
              <a:buNone/>
              <a:defRPr sz="11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 algn="r" rtl="0">
              <a:buNone/>
              <a:defRPr sz="11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2pPr>
            <a:lvl3pPr lvl="2" algn="r" rtl="0">
              <a:buNone/>
              <a:defRPr sz="11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3pPr>
            <a:lvl4pPr lvl="3" algn="r" rtl="0">
              <a:buNone/>
              <a:defRPr sz="11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4pPr>
            <a:lvl5pPr lvl="4" algn="r" rtl="0">
              <a:buNone/>
              <a:defRPr sz="11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5pPr>
            <a:lvl6pPr lvl="5" algn="r" rtl="0">
              <a:buNone/>
              <a:defRPr sz="11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6pPr>
            <a:lvl7pPr lvl="6" algn="r" rtl="0">
              <a:buNone/>
              <a:defRPr sz="11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7pPr>
            <a:lvl8pPr lvl="7" algn="r" rtl="0">
              <a:buNone/>
              <a:defRPr sz="11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8pPr>
            <a:lvl9pPr lvl="8" algn="r" rtl="0">
              <a:buNone/>
              <a:defRPr sz="11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047368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4691D0-03F9-43D9-93F8-F29DFE4B3145}" type="datetime1">
              <a:rPr lang="en-US" smtClean="0"/>
              <a:t>6/27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with 1 line">
  <p:cSld name="Title with 1 line">
    <p:spTree>
      <p:nvGrpSpPr>
        <p:cNvPr id="1" name="Shape 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" name="Google Shape;587;p50"/>
          <p:cNvSpPr txBox="1">
            <a:spLocks noGrp="1"/>
          </p:cNvSpPr>
          <p:nvPr>
            <p:ph type="body" idx="1"/>
          </p:nvPr>
        </p:nvSpPr>
        <p:spPr>
          <a:xfrm>
            <a:off x="995577" y="6339840"/>
            <a:ext cx="11175300" cy="5325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marL="457200" lvl="0" indent="-273050" algn="r" rtl="0">
              <a:spcBef>
                <a:spcPts val="0"/>
              </a:spcBef>
              <a:spcAft>
                <a:spcPts val="0"/>
              </a:spcAft>
              <a:buClr>
                <a:srgbClr val="B7B7B7"/>
              </a:buClr>
              <a:buSzPts val="700"/>
              <a:buChar char="•"/>
              <a:defRPr sz="700">
                <a:solidFill>
                  <a:srgbClr val="B7B7B7"/>
                </a:solidFill>
              </a:defRPr>
            </a:lvl1pPr>
            <a:lvl2pPr marL="914400" lvl="1" indent="-273050" algn="r" rtl="0">
              <a:spcBef>
                <a:spcPts val="1300"/>
              </a:spcBef>
              <a:spcAft>
                <a:spcPts val="0"/>
              </a:spcAft>
              <a:buClr>
                <a:srgbClr val="B7B7B7"/>
              </a:buClr>
              <a:buSzPts val="700"/>
              <a:buChar char="○"/>
              <a:defRPr sz="700">
                <a:solidFill>
                  <a:srgbClr val="B7B7B7"/>
                </a:solidFill>
              </a:defRPr>
            </a:lvl2pPr>
            <a:lvl3pPr marL="1371600" lvl="2" indent="-273050" algn="r" rtl="0">
              <a:spcBef>
                <a:spcPts val="1300"/>
              </a:spcBef>
              <a:spcAft>
                <a:spcPts val="0"/>
              </a:spcAft>
              <a:buClr>
                <a:srgbClr val="B7B7B7"/>
              </a:buClr>
              <a:buSzPts val="700"/>
              <a:buChar char="•"/>
              <a:defRPr sz="700">
                <a:solidFill>
                  <a:srgbClr val="B7B7B7"/>
                </a:solidFill>
              </a:defRPr>
            </a:lvl3pPr>
            <a:lvl4pPr marL="1828800" lvl="3" indent="-273050" algn="r" rtl="0">
              <a:spcBef>
                <a:spcPts val="1300"/>
              </a:spcBef>
              <a:spcAft>
                <a:spcPts val="0"/>
              </a:spcAft>
              <a:buClr>
                <a:srgbClr val="B7B7B7"/>
              </a:buClr>
              <a:buSzPts val="700"/>
              <a:buChar char="◦"/>
              <a:defRPr sz="700">
                <a:solidFill>
                  <a:srgbClr val="B7B7B7"/>
                </a:solidFill>
              </a:defRPr>
            </a:lvl4pPr>
            <a:lvl5pPr marL="2286000" lvl="4" indent="-273050" algn="r" rtl="0">
              <a:spcBef>
                <a:spcPts val="1300"/>
              </a:spcBef>
              <a:spcAft>
                <a:spcPts val="0"/>
              </a:spcAft>
              <a:buClr>
                <a:srgbClr val="B7B7B7"/>
              </a:buClr>
              <a:buSzPts val="700"/>
              <a:buChar char="•"/>
              <a:defRPr sz="700">
                <a:solidFill>
                  <a:srgbClr val="B7B7B7"/>
                </a:solidFill>
              </a:defRPr>
            </a:lvl5pPr>
            <a:lvl6pPr marL="2743200" lvl="5" indent="-273050" algn="r" rtl="0">
              <a:spcBef>
                <a:spcPts val="1300"/>
              </a:spcBef>
              <a:spcAft>
                <a:spcPts val="0"/>
              </a:spcAft>
              <a:buClr>
                <a:srgbClr val="B7B7B7"/>
              </a:buClr>
              <a:buSzPts val="700"/>
              <a:buChar char="◦"/>
              <a:defRPr sz="700">
                <a:solidFill>
                  <a:srgbClr val="B7B7B7"/>
                </a:solidFill>
              </a:defRPr>
            </a:lvl6pPr>
            <a:lvl7pPr marL="3200400" lvl="6" indent="-273050" algn="r" rtl="0">
              <a:spcBef>
                <a:spcPts val="1300"/>
              </a:spcBef>
              <a:spcAft>
                <a:spcPts val="0"/>
              </a:spcAft>
              <a:buClr>
                <a:srgbClr val="B7B7B7"/>
              </a:buClr>
              <a:buSzPts val="700"/>
              <a:buChar char="•"/>
              <a:defRPr sz="700">
                <a:solidFill>
                  <a:srgbClr val="B7B7B7"/>
                </a:solidFill>
              </a:defRPr>
            </a:lvl7pPr>
            <a:lvl8pPr marL="3657600" lvl="7" indent="-273050" algn="r" rtl="0">
              <a:spcBef>
                <a:spcPts val="1300"/>
              </a:spcBef>
              <a:spcAft>
                <a:spcPts val="0"/>
              </a:spcAft>
              <a:buClr>
                <a:srgbClr val="B7B7B7"/>
              </a:buClr>
              <a:buSzPts val="700"/>
              <a:buChar char="○"/>
              <a:defRPr sz="700">
                <a:solidFill>
                  <a:srgbClr val="B7B7B7"/>
                </a:solidFill>
              </a:defRPr>
            </a:lvl8pPr>
            <a:lvl9pPr marL="4114800" lvl="8" indent="-273050" algn="r" rtl="0">
              <a:spcBef>
                <a:spcPts val="1300"/>
              </a:spcBef>
              <a:spcAft>
                <a:spcPts val="1300"/>
              </a:spcAft>
              <a:buClr>
                <a:srgbClr val="B7B7B7"/>
              </a:buClr>
              <a:buSzPts val="700"/>
              <a:buChar char="•"/>
              <a:defRPr sz="700">
                <a:solidFill>
                  <a:srgbClr val="B7B7B7"/>
                </a:solidFill>
              </a:defRPr>
            </a:lvl9pPr>
          </a:lstStyle>
          <a:p>
            <a:endParaRPr/>
          </a:p>
        </p:txBody>
      </p:sp>
      <p:sp>
        <p:nvSpPr>
          <p:cNvPr id="588" name="Google Shape;588;p50"/>
          <p:cNvSpPr txBox="1">
            <a:spLocks noGrp="1"/>
          </p:cNvSpPr>
          <p:nvPr>
            <p:ph type="title"/>
          </p:nvPr>
        </p:nvSpPr>
        <p:spPr>
          <a:xfrm>
            <a:off x="451200" y="340100"/>
            <a:ext cx="11274900" cy="9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None/>
              <a:defRPr sz="4000" i="0" u="none" strike="noStrike" cap="none">
                <a:solidFill>
                  <a:schemeClr val="dk1"/>
                </a:solidFill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300"/>
              <a:buNone/>
              <a:defRPr sz="4300" i="0" u="none" strike="noStrike" cap="none">
                <a:solidFill>
                  <a:schemeClr val="dk1"/>
                </a:solidFill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300"/>
              <a:buNone/>
              <a:defRPr sz="4300" i="0" u="none" strike="noStrike" cap="none">
                <a:solidFill>
                  <a:schemeClr val="dk1"/>
                </a:solidFill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300"/>
              <a:buNone/>
              <a:defRPr sz="4300" i="0" u="none" strike="noStrike" cap="none">
                <a:solidFill>
                  <a:schemeClr val="dk1"/>
                </a:solidFill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300"/>
              <a:buNone/>
              <a:defRPr sz="4300" i="0" u="none" strike="noStrike" cap="none">
                <a:solidFill>
                  <a:schemeClr val="dk1"/>
                </a:solidFill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300"/>
              <a:buNone/>
              <a:defRPr sz="4300" i="0" u="none" strike="noStrike" cap="none">
                <a:solidFill>
                  <a:schemeClr val="dk1"/>
                </a:solidFill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300"/>
              <a:buNone/>
              <a:defRPr sz="4300" i="0" u="none" strike="noStrike" cap="none">
                <a:solidFill>
                  <a:schemeClr val="dk1"/>
                </a:solidFill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300"/>
              <a:buNone/>
              <a:defRPr sz="4300" i="0" u="none" strike="noStrike" cap="none">
                <a:solidFill>
                  <a:schemeClr val="dk1"/>
                </a:solidFill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300"/>
              <a:buNone/>
              <a:defRPr sz="4300" i="0" u="none" strike="noStrike" cap="none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589" name="Google Shape;589;p50"/>
          <p:cNvSpPr txBox="1">
            <a:spLocks noGrp="1"/>
          </p:cNvSpPr>
          <p:nvPr>
            <p:ph type="body" idx="2"/>
          </p:nvPr>
        </p:nvSpPr>
        <p:spPr>
          <a:xfrm>
            <a:off x="459633" y="1255467"/>
            <a:ext cx="10972800" cy="499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marR="0" lvl="0" indent="-3619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100"/>
              <a:buFont typeface="Roboto"/>
              <a:buChar char="●"/>
              <a:defRPr sz="2100" i="0" u="none" strike="noStrike" cap="none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914400" marR="0" lvl="1" indent="-361950" algn="l" rtl="0">
              <a:lnSpc>
                <a:spcPct val="115000"/>
              </a:lnSpc>
              <a:spcBef>
                <a:spcPts val="1100"/>
              </a:spcBef>
              <a:spcAft>
                <a:spcPts val="0"/>
              </a:spcAft>
              <a:buClr>
                <a:srgbClr val="000000"/>
              </a:buClr>
              <a:buSzPts val="2100"/>
              <a:buFont typeface="Roboto"/>
              <a:buChar char="○"/>
              <a:defRPr sz="2100" i="0" u="none" strike="noStrike" cap="none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1371600" marR="0" lvl="2" indent="-361950" algn="l" rtl="0">
              <a:lnSpc>
                <a:spcPct val="115000"/>
              </a:lnSpc>
              <a:spcBef>
                <a:spcPts val="1100"/>
              </a:spcBef>
              <a:spcAft>
                <a:spcPts val="0"/>
              </a:spcAft>
              <a:buClr>
                <a:srgbClr val="000000"/>
              </a:buClr>
              <a:buSzPts val="2100"/>
              <a:buFont typeface="Roboto"/>
              <a:buChar char="■"/>
              <a:defRPr sz="2100" i="0" u="none" strike="noStrike" cap="none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1828800" marR="0" lvl="3" indent="-361950" algn="l" rtl="0">
              <a:lnSpc>
                <a:spcPct val="115000"/>
              </a:lnSpc>
              <a:spcBef>
                <a:spcPts val="1100"/>
              </a:spcBef>
              <a:spcAft>
                <a:spcPts val="0"/>
              </a:spcAft>
              <a:buClr>
                <a:srgbClr val="000000"/>
              </a:buClr>
              <a:buSzPts val="2100"/>
              <a:buFont typeface="Roboto"/>
              <a:buChar char="●"/>
              <a:defRPr sz="2100" i="0" u="none" strike="noStrike" cap="none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2286000" marR="0" lvl="4" indent="-361950" algn="l" rtl="0">
              <a:lnSpc>
                <a:spcPct val="115000"/>
              </a:lnSpc>
              <a:spcBef>
                <a:spcPts val="1100"/>
              </a:spcBef>
              <a:spcAft>
                <a:spcPts val="0"/>
              </a:spcAft>
              <a:buClr>
                <a:srgbClr val="000000"/>
              </a:buClr>
              <a:buSzPts val="2100"/>
              <a:buFont typeface="Roboto"/>
              <a:buChar char="○"/>
              <a:defRPr sz="2100" i="0" u="none" strike="noStrike" cap="none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2743200" marR="0" lvl="5" indent="-361950" algn="l" rtl="0">
              <a:lnSpc>
                <a:spcPct val="115000"/>
              </a:lnSpc>
              <a:spcBef>
                <a:spcPts val="1100"/>
              </a:spcBef>
              <a:spcAft>
                <a:spcPts val="0"/>
              </a:spcAft>
              <a:buClr>
                <a:srgbClr val="000000"/>
              </a:buClr>
              <a:buSzPts val="2100"/>
              <a:buFont typeface="Roboto"/>
              <a:buChar char="■"/>
              <a:defRPr sz="2100" i="0" u="none" strike="noStrike" cap="none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3200400" marR="0" lvl="6" indent="-361950" algn="l" rtl="0">
              <a:lnSpc>
                <a:spcPct val="115000"/>
              </a:lnSpc>
              <a:spcBef>
                <a:spcPts val="1100"/>
              </a:spcBef>
              <a:spcAft>
                <a:spcPts val="0"/>
              </a:spcAft>
              <a:buClr>
                <a:srgbClr val="000000"/>
              </a:buClr>
              <a:buSzPts val="2100"/>
              <a:buFont typeface="Roboto"/>
              <a:buChar char="●"/>
              <a:defRPr sz="2100" i="0" u="none" strike="noStrike" cap="none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3657600" marR="0" lvl="7" indent="-361950" algn="l" rtl="0">
              <a:lnSpc>
                <a:spcPct val="115000"/>
              </a:lnSpc>
              <a:spcBef>
                <a:spcPts val="1100"/>
              </a:spcBef>
              <a:spcAft>
                <a:spcPts val="0"/>
              </a:spcAft>
              <a:buClr>
                <a:srgbClr val="000000"/>
              </a:buClr>
              <a:buSzPts val="2100"/>
              <a:buFont typeface="Roboto"/>
              <a:buChar char="○"/>
              <a:defRPr sz="2100" i="0" u="none" strike="noStrike" cap="none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4114800" marR="0" lvl="8" indent="-361950" algn="l" rtl="0">
              <a:lnSpc>
                <a:spcPct val="115000"/>
              </a:lnSpc>
              <a:spcBef>
                <a:spcPts val="1100"/>
              </a:spcBef>
              <a:spcAft>
                <a:spcPts val="1100"/>
              </a:spcAft>
              <a:buClr>
                <a:srgbClr val="000000"/>
              </a:buClr>
              <a:buSzPts val="2100"/>
              <a:buFont typeface="Roboto"/>
              <a:buChar char="■"/>
              <a:defRPr sz="2100" i="0" u="none" strike="noStrike" cap="none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80565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5">
          <p15:clr>
            <a:srgbClr val="FA7B17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2B Section title and description_third_red">
  <p:cSld name="B2B Section title and description_third_red">
    <p:bg>
      <p:bgPr>
        <a:solidFill>
          <a:schemeClr val="dk1"/>
        </a:solidFill>
        <a:effectLst/>
      </p:bgPr>
    </p:bg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Google Shape;591;p51"/>
          <p:cNvSpPr/>
          <p:nvPr/>
        </p:nvSpPr>
        <p:spPr>
          <a:xfrm flipH="1">
            <a:off x="72" y="0"/>
            <a:ext cx="121896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2" name="Google Shape;592;p51"/>
          <p:cNvSpPr/>
          <p:nvPr/>
        </p:nvSpPr>
        <p:spPr>
          <a:xfrm flipH="1">
            <a:off x="1059" y="0"/>
            <a:ext cx="48759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900"/>
          </a:p>
        </p:txBody>
      </p:sp>
      <p:sp>
        <p:nvSpPr>
          <p:cNvPr id="593" name="Google Shape;593;p51"/>
          <p:cNvSpPr/>
          <p:nvPr/>
        </p:nvSpPr>
        <p:spPr>
          <a:xfrm>
            <a:off x="4876800" y="225"/>
            <a:ext cx="73152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4" name="Google Shape;594;p51"/>
          <p:cNvSpPr txBox="1">
            <a:spLocks noGrp="1"/>
          </p:cNvSpPr>
          <p:nvPr>
            <p:ph type="title"/>
          </p:nvPr>
        </p:nvSpPr>
        <p:spPr>
          <a:xfrm>
            <a:off x="576075" y="1855200"/>
            <a:ext cx="4124700" cy="2385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500"/>
              <a:buNone/>
              <a:defRPr sz="4500">
                <a:solidFill>
                  <a:schemeClr val="lt2"/>
                </a:solidFill>
              </a:defRPr>
            </a:lvl1pPr>
            <a:lvl2pPr lvl="1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2pPr>
            <a:lvl3pPr lvl="2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3pPr>
            <a:lvl4pPr lvl="3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4pPr>
            <a:lvl5pPr lvl="4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5pPr>
            <a:lvl6pPr lvl="5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6pPr>
            <a:lvl7pPr lvl="6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7pPr>
            <a:lvl8pPr lvl="7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8pPr>
            <a:lvl9pPr lvl="8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595" name="Google Shape;595;p51"/>
          <p:cNvSpPr txBox="1">
            <a:spLocks noGrp="1"/>
          </p:cNvSpPr>
          <p:nvPr>
            <p:ph type="subTitle" idx="1"/>
          </p:nvPr>
        </p:nvSpPr>
        <p:spPr>
          <a:xfrm>
            <a:off x="576072" y="4546600"/>
            <a:ext cx="4522800" cy="1516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9pPr>
          </a:lstStyle>
          <a:p>
            <a:endParaRPr/>
          </a:p>
        </p:txBody>
      </p:sp>
      <p:sp>
        <p:nvSpPr>
          <p:cNvPr id="596" name="Google Shape;596;p51"/>
          <p:cNvSpPr txBox="1">
            <a:spLocks noGrp="1"/>
          </p:cNvSpPr>
          <p:nvPr>
            <p:ph type="body" idx="2"/>
          </p:nvPr>
        </p:nvSpPr>
        <p:spPr>
          <a:xfrm>
            <a:off x="5143500" y="496675"/>
            <a:ext cx="6558300" cy="55947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rmAutofit/>
          </a:bodyPr>
          <a:lstStyle>
            <a:lvl1pPr marL="457200" lvl="0" indent="-330200" rtl="0">
              <a:spcBef>
                <a:spcPts val="0"/>
              </a:spcBef>
              <a:spcAft>
                <a:spcPts val="0"/>
              </a:spcAft>
              <a:buSzPts val="1600"/>
              <a:buChar char="•"/>
              <a:defRPr sz="1600"/>
            </a:lvl1pPr>
            <a:lvl2pPr marL="914400" lvl="1" indent="-323850" rtl="0">
              <a:spcBef>
                <a:spcPts val="1300"/>
              </a:spcBef>
              <a:spcAft>
                <a:spcPts val="0"/>
              </a:spcAft>
              <a:buSzPts val="1500"/>
              <a:buChar char="○"/>
              <a:defRPr sz="1500"/>
            </a:lvl2pPr>
            <a:lvl3pPr marL="1371600" lvl="2" indent="-311150" rtl="0">
              <a:spcBef>
                <a:spcPts val="1300"/>
              </a:spcBef>
              <a:spcAft>
                <a:spcPts val="0"/>
              </a:spcAft>
              <a:buSzPts val="1300"/>
              <a:buChar char="•"/>
              <a:defRPr sz="1300"/>
            </a:lvl3pPr>
            <a:lvl4pPr marL="1828800" lvl="3" indent="-304800" rtl="0">
              <a:spcBef>
                <a:spcPts val="1300"/>
              </a:spcBef>
              <a:spcAft>
                <a:spcPts val="0"/>
              </a:spcAft>
              <a:buSzPts val="1200"/>
              <a:buChar char="◦"/>
              <a:defRPr sz="1200"/>
            </a:lvl4pPr>
            <a:lvl5pPr marL="2286000" lvl="4" indent="-298450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/>
            </a:lvl5pPr>
            <a:lvl6pPr marL="2743200" lvl="5" indent="-298450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/>
            </a:lvl6pPr>
            <a:lvl7pPr marL="3200400" lvl="6" indent="-298450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/>
            </a:lvl7pPr>
            <a:lvl8pPr marL="3657600" lvl="7" indent="-298450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 rtl="0">
              <a:spcBef>
                <a:spcPts val="1300"/>
              </a:spcBef>
              <a:spcAft>
                <a:spcPts val="1300"/>
              </a:spcAft>
              <a:buSzPts val="1100"/>
              <a:buChar char="•"/>
              <a:defRPr/>
            </a:lvl9pPr>
          </a:lstStyle>
          <a:p>
            <a:endParaRPr/>
          </a:p>
        </p:txBody>
      </p:sp>
      <p:sp>
        <p:nvSpPr>
          <p:cNvPr id="597" name="Google Shape;597;p51"/>
          <p:cNvSpPr txBox="1">
            <a:spLocks noGrp="1"/>
          </p:cNvSpPr>
          <p:nvPr>
            <p:ph type="sldNum" idx="12"/>
          </p:nvPr>
        </p:nvSpPr>
        <p:spPr>
          <a:xfrm>
            <a:off x="11044810" y="6091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98" name="Google Shape;598;p51"/>
          <p:cNvSpPr/>
          <p:nvPr/>
        </p:nvSpPr>
        <p:spPr>
          <a:xfrm>
            <a:off x="576072" y="965115"/>
            <a:ext cx="629955" cy="524923"/>
          </a:xfrm>
          <a:custGeom>
            <a:avLst/>
            <a:gdLst/>
            <a:ahLst/>
            <a:cxnLst/>
            <a:rect l="l" t="t" r="r" b="b"/>
            <a:pathLst>
              <a:path w="251479" h="209550" extrusionOk="0">
                <a:moveTo>
                  <a:pt x="62932" y="0"/>
                </a:moveTo>
                <a:lnTo>
                  <a:pt x="59858" y="78"/>
                </a:lnTo>
                <a:lnTo>
                  <a:pt x="56847" y="326"/>
                </a:lnTo>
                <a:lnTo>
                  <a:pt x="53851" y="714"/>
                </a:lnTo>
                <a:lnTo>
                  <a:pt x="50901" y="1257"/>
                </a:lnTo>
                <a:lnTo>
                  <a:pt x="47998" y="1925"/>
                </a:lnTo>
                <a:lnTo>
                  <a:pt x="45142" y="2748"/>
                </a:lnTo>
                <a:lnTo>
                  <a:pt x="42348" y="3695"/>
                </a:lnTo>
                <a:lnTo>
                  <a:pt x="39600" y="4781"/>
                </a:lnTo>
                <a:lnTo>
                  <a:pt x="36915" y="5992"/>
                </a:lnTo>
                <a:lnTo>
                  <a:pt x="34291" y="7327"/>
                </a:lnTo>
                <a:lnTo>
                  <a:pt x="31730" y="8786"/>
                </a:lnTo>
                <a:lnTo>
                  <a:pt x="29246" y="10354"/>
                </a:lnTo>
                <a:lnTo>
                  <a:pt x="26840" y="12031"/>
                </a:lnTo>
                <a:lnTo>
                  <a:pt x="24511" y="13831"/>
                </a:lnTo>
                <a:lnTo>
                  <a:pt x="22261" y="15741"/>
                </a:lnTo>
                <a:lnTo>
                  <a:pt x="20087" y="17743"/>
                </a:lnTo>
                <a:lnTo>
                  <a:pt x="18023" y="19839"/>
                </a:lnTo>
                <a:lnTo>
                  <a:pt x="16036" y="22043"/>
                </a:lnTo>
                <a:lnTo>
                  <a:pt x="14157" y="24325"/>
                </a:lnTo>
                <a:lnTo>
                  <a:pt x="12372" y="26716"/>
                </a:lnTo>
                <a:lnTo>
                  <a:pt x="10696" y="29168"/>
                </a:lnTo>
                <a:lnTo>
                  <a:pt x="9112" y="31714"/>
                </a:lnTo>
                <a:lnTo>
                  <a:pt x="7653" y="34338"/>
                </a:lnTo>
                <a:lnTo>
                  <a:pt x="6318" y="37039"/>
                </a:lnTo>
                <a:lnTo>
                  <a:pt x="5092" y="39802"/>
                </a:lnTo>
                <a:lnTo>
                  <a:pt x="3990" y="42643"/>
                </a:lnTo>
                <a:lnTo>
                  <a:pt x="3012" y="45546"/>
                </a:lnTo>
                <a:lnTo>
                  <a:pt x="2173" y="48495"/>
                </a:lnTo>
                <a:lnTo>
                  <a:pt x="1459" y="51507"/>
                </a:lnTo>
                <a:lnTo>
                  <a:pt x="885" y="54580"/>
                </a:lnTo>
                <a:lnTo>
                  <a:pt x="450" y="57700"/>
                </a:lnTo>
                <a:lnTo>
                  <a:pt x="310" y="59268"/>
                </a:lnTo>
                <a:lnTo>
                  <a:pt x="186" y="60665"/>
                </a:lnTo>
                <a:lnTo>
                  <a:pt x="31" y="63475"/>
                </a:lnTo>
                <a:lnTo>
                  <a:pt x="0" y="66269"/>
                </a:lnTo>
                <a:lnTo>
                  <a:pt x="62" y="69063"/>
                </a:lnTo>
                <a:lnTo>
                  <a:pt x="217" y="71842"/>
                </a:lnTo>
                <a:lnTo>
                  <a:pt x="466" y="74605"/>
                </a:lnTo>
                <a:lnTo>
                  <a:pt x="823" y="77368"/>
                </a:lnTo>
                <a:lnTo>
                  <a:pt x="1257" y="80132"/>
                </a:lnTo>
                <a:lnTo>
                  <a:pt x="1801" y="82864"/>
                </a:lnTo>
                <a:lnTo>
                  <a:pt x="2422" y="85611"/>
                </a:lnTo>
                <a:lnTo>
                  <a:pt x="3120" y="88328"/>
                </a:lnTo>
                <a:lnTo>
                  <a:pt x="3912" y="91045"/>
                </a:lnTo>
                <a:lnTo>
                  <a:pt x="4781" y="93730"/>
                </a:lnTo>
                <a:lnTo>
                  <a:pt x="5728" y="96416"/>
                </a:lnTo>
                <a:lnTo>
                  <a:pt x="7280" y="100436"/>
                </a:lnTo>
                <a:lnTo>
                  <a:pt x="9609" y="105714"/>
                </a:lnTo>
                <a:lnTo>
                  <a:pt x="12201" y="110946"/>
                </a:lnTo>
                <a:lnTo>
                  <a:pt x="15058" y="116099"/>
                </a:lnTo>
                <a:lnTo>
                  <a:pt x="18147" y="121191"/>
                </a:lnTo>
                <a:lnTo>
                  <a:pt x="21438" y="126205"/>
                </a:lnTo>
                <a:lnTo>
                  <a:pt x="24931" y="131126"/>
                </a:lnTo>
                <a:lnTo>
                  <a:pt x="28594" y="135969"/>
                </a:lnTo>
                <a:lnTo>
                  <a:pt x="32413" y="140719"/>
                </a:lnTo>
                <a:lnTo>
                  <a:pt x="36371" y="145392"/>
                </a:lnTo>
                <a:lnTo>
                  <a:pt x="40454" y="149940"/>
                </a:lnTo>
                <a:lnTo>
                  <a:pt x="44630" y="154395"/>
                </a:lnTo>
                <a:lnTo>
                  <a:pt x="48883" y="158742"/>
                </a:lnTo>
                <a:lnTo>
                  <a:pt x="53199" y="162964"/>
                </a:lnTo>
                <a:lnTo>
                  <a:pt x="57545" y="167078"/>
                </a:lnTo>
                <a:lnTo>
                  <a:pt x="61938" y="171068"/>
                </a:lnTo>
                <a:lnTo>
                  <a:pt x="66316" y="174917"/>
                </a:lnTo>
                <a:lnTo>
                  <a:pt x="70678" y="178643"/>
                </a:lnTo>
                <a:lnTo>
                  <a:pt x="75024" y="182229"/>
                </a:lnTo>
                <a:lnTo>
                  <a:pt x="81420" y="187352"/>
                </a:lnTo>
                <a:lnTo>
                  <a:pt x="89663" y="193639"/>
                </a:lnTo>
                <a:lnTo>
                  <a:pt x="97425" y="199274"/>
                </a:lnTo>
                <a:lnTo>
                  <a:pt x="101057" y="201819"/>
                </a:lnTo>
                <a:lnTo>
                  <a:pt x="102454" y="202766"/>
                </a:lnTo>
                <a:lnTo>
                  <a:pt x="105342" y="204458"/>
                </a:lnTo>
                <a:lnTo>
                  <a:pt x="108338" y="205918"/>
                </a:lnTo>
                <a:lnTo>
                  <a:pt x="111396" y="207128"/>
                </a:lnTo>
                <a:lnTo>
                  <a:pt x="114516" y="208091"/>
                </a:lnTo>
                <a:lnTo>
                  <a:pt x="117683" y="208820"/>
                </a:lnTo>
                <a:lnTo>
                  <a:pt x="120896" y="209302"/>
                </a:lnTo>
                <a:lnTo>
                  <a:pt x="124125" y="209550"/>
                </a:lnTo>
                <a:lnTo>
                  <a:pt x="127354" y="209550"/>
                </a:lnTo>
                <a:lnTo>
                  <a:pt x="130583" y="209302"/>
                </a:lnTo>
                <a:lnTo>
                  <a:pt x="133796" y="208820"/>
                </a:lnTo>
                <a:lnTo>
                  <a:pt x="136963" y="208091"/>
                </a:lnTo>
                <a:lnTo>
                  <a:pt x="140098" y="207128"/>
                </a:lnTo>
                <a:lnTo>
                  <a:pt x="143156" y="205918"/>
                </a:lnTo>
                <a:lnTo>
                  <a:pt x="146137" y="204458"/>
                </a:lnTo>
                <a:lnTo>
                  <a:pt x="149024" y="202766"/>
                </a:lnTo>
                <a:lnTo>
                  <a:pt x="150421" y="201819"/>
                </a:lnTo>
                <a:lnTo>
                  <a:pt x="154038" y="199289"/>
                </a:lnTo>
                <a:lnTo>
                  <a:pt x="161769" y="193670"/>
                </a:lnTo>
                <a:lnTo>
                  <a:pt x="169981" y="187414"/>
                </a:lnTo>
                <a:lnTo>
                  <a:pt x="176361" y="182306"/>
                </a:lnTo>
                <a:lnTo>
                  <a:pt x="180676" y="178736"/>
                </a:lnTo>
                <a:lnTo>
                  <a:pt x="185023" y="175042"/>
                </a:lnTo>
                <a:lnTo>
                  <a:pt x="189385" y="171192"/>
                </a:lnTo>
                <a:lnTo>
                  <a:pt x="193763" y="167233"/>
                </a:lnTo>
                <a:lnTo>
                  <a:pt x="198094" y="163151"/>
                </a:lnTo>
                <a:lnTo>
                  <a:pt x="202394" y="158944"/>
                </a:lnTo>
                <a:lnTo>
                  <a:pt x="206647" y="154613"/>
                </a:lnTo>
                <a:lnTo>
                  <a:pt x="210807" y="150189"/>
                </a:lnTo>
                <a:lnTo>
                  <a:pt x="214874" y="145656"/>
                </a:lnTo>
                <a:lnTo>
                  <a:pt x="218817" y="141014"/>
                </a:lnTo>
                <a:lnTo>
                  <a:pt x="222636" y="136280"/>
                </a:lnTo>
                <a:lnTo>
                  <a:pt x="226300" y="131467"/>
                </a:lnTo>
                <a:lnTo>
                  <a:pt x="229792" y="126562"/>
                </a:lnTo>
                <a:lnTo>
                  <a:pt x="233083" y="121579"/>
                </a:lnTo>
                <a:lnTo>
                  <a:pt x="236173" y="116518"/>
                </a:lnTo>
                <a:lnTo>
                  <a:pt x="239044" y="111380"/>
                </a:lnTo>
                <a:lnTo>
                  <a:pt x="241652" y="106180"/>
                </a:lnTo>
                <a:lnTo>
                  <a:pt x="243996" y="100917"/>
                </a:lnTo>
                <a:lnTo>
                  <a:pt x="245564" y="96928"/>
                </a:lnTo>
                <a:lnTo>
                  <a:pt x="246527" y="94258"/>
                </a:lnTo>
                <a:lnTo>
                  <a:pt x="247396" y="91572"/>
                </a:lnTo>
                <a:lnTo>
                  <a:pt x="248203" y="88871"/>
                </a:lnTo>
                <a:lnTo>
                  <a:pt x="248917" y="86155"/>
                </a:lnTo>
                <a:lnTo>
                  <a:pt x="249554" y="83438"/>
                </a:lnTo>
                <a:lnTo>
                  <a:pt x="250112" y="80706"/>
                </a:lnTo>
                <a:lnTo>
                  <a:pt x="250563" y="77958"/>
                </a:lnTo>
                <a:lnTo>
                  <a:pt x="250935" y="75211"/>
                </a:lnTo>
                <a:lnTo>
                  <a:pt x="251215" y="72448"/>
                </a:lnTo>
                <a:lnTo>
                  <a:pt x="251385" y="69684"/>
                </a:lnTo>
                <a:lnTo>
                  <a:pt x="251479" y="66906"/>
                </a:lnTo>
                <a:lnTo>
                  <a:pt x="251463" y="64127"/>
                </a:lnTo>
                <a:lnTo>
                  <a:pt x="251339" y="61333"/>
                </a:lnTo>
                <a:lnTo>
                  <a:pt x="251230" y="59936"/>
                </a:lnTo>
                <a:lnTo>
                  <a:pt x="251199" y="59610"/>
                </a:lnTo>
                <a:lnTo>
                  <a:pt x="251184" y="59268"/>
                </a:lnTo>
                <a:lnTo>
                  <a:pt x="250966" y="57235"/>
                </a:lnTo>
                <a:lnTo>
                  <a:pt x="250361" y="53199"/>
                </a:lnTo>
                <a:lnTo>
                  <a:pt x="249507" y="49256"/>
                </a:lnTo>
                <a:lnTo>
                  <a:pt x="248436" y="45421"/>
                </a:lnTo>
                <a:lnTo>
                  <a:pt x="247132" y="41665"/>
                </a:lnTo>
                <a:lnTo>
                  <a:pt x="245626" y="38032"/>
                </a:lnTo>
                <a:lnTo>
                  <a:pt x="243919" y="34508"/>
                </a:lnTo>
                <a:lnTo>
                  <a:pt x="242009" y="31124"/>
                </a:lnTo>
                <a:lnTo>
                  <a:pt x="240969" y="29479"/>
                </a:lnTo>
                <a:lnTo>
                  <a:pt x="240209" y="28299"/>
                </a:lnTo>
                <a:lnTo>
                  <a:pt x="239401" y="27135"/>
                </a:lnTo>
                <a:lnTo>
                  <a:pt x="238594" y="26110"/>
                </a:lnTo>
                <a:lnTo>
                  <a:pt x="237244" y="24667"/>
                </a:lnTo>
                <a:lnTo>
                  <a:pt x="236281" y="23766"/>
                </a:lnTo>
                <a:lnTo>
                  <a:pt x="235784" y="23332"/>
                </a:lnTo>
                <a:lnTo>
                  <a:pt x="234837" y="22571"/>
                </a:lnTo>
                <a:lnTo>
                  <a:pt x="232882" y="21236"/>
                </a:lnTo>
                <a:lnTo>
                  <a:pt x="230832" y="20134"/>
                </a:lnTo>
                <a:lnTo>
                  <a:pt x="228690" y="19233"/>
                </a:lnTo>
                <a:lnTo>
                  <a:pt x="226517" y="18566"/>
                </a:lnTo>
                <a:lnTo>
                  <a:pt x="224297" y="18116"/>
                </a:lnTo>
                <a:lnTo>
                  <a:pt x="222046" y="17883"/>
                </a:lnTo>
                <a:lnTo>
                  <a:pt x="219795" y="17867"/>
                </a:lnTo>
                <a:lnTo>
                  <a:pt x="217544" y="18069"/>
                </a:lnTo>
                <a:lnTo>
                  <a:pt x="215325" y="18473"/>
                </a:lnTo>
                <a:lnTo>
                  <a:pt x="213167" y="19094"/>
                </a:lnTo>
                <a:lnTo>
                  <a:pt x="211056" y="19916"/>
                </a:lnTo>
                <a:lnTo>
                  <a:pt x="209007" y="20957"/>
                </a:lnTo>
                <a:lnTo>
                  <a:pt x="207082" y="22214"/>
                </a:lnTo>
                <a:lnTo>
                  <a:pt x="205250" y="23658"/>
                </a:lnTo>
                <a:lnTo>
                  <a:pt x="203542" y="25319"/>
                </a:lnTo>
                <a:lnTo>
                  <a:pt x="202751" y="26219"/>
                </a:lnTo>
                <a:lnTo>
                  <a:pt x="185504" y="46787"/>
                </a:lnTo>
                <a:lnTo>
                  <a:pt x="141775" y="98899"/>
                </a:lnTo>
                <a:lnTo>
                  <a:pt x="141232" y="99567"/>
                </a:lnTo>
                <a:lnTo>
                  <a:pt x="140285" y="100964"/>
                </a:lnTo>
                <a:lnTo>
                  <a:pt x="139508" y="102439"/>
                </a:lnTo>
                <a:lnTo>
                  <a:pt x="138903" y="103976"/>
                </a:lnTo>
                <a:lnTo>
                  <a:pt x="138468" y="105543"/>
                </a:lnTo>
                <a:lnTo>
                  <a:pt x="138189" y="107142"/>
                </a:lnTo>
                <a:lnTo>
                  <a:pt x="138065" y="108741"/>
                </a:lnTo>
                <a:lnTo>
                  <a:pt x="138111" y="110356"/>
                </a:lnTo>
                <a:lnTo>
                  <a:pt x="138329" y="111955"/>
                </a:lnTo>
                <a:lnTo>
                  <a:pt x="138701" y="113522"/>
                </a:lnTo>
                <a:lnTo>
                  <a:pt x="139229" y="115044"/>
                </a:lnTo>
                <a:lnTo>
                  <a:pt x="139912" y="116518"/>
                </a:lnTo>
                <a:lnTo>
                  <a:pt x="140750" y="117931"/>
                </a:lnTo>
                <a:lnTo>
                  <a:pt x="141759" y="119266"/>
                </a:lnTo>
                <a:lnTo>
                  <a:pt x="142908" y="120492"/>
                </a:lnTo>
                <a:lnTo>
                  <a:pt x="144212" y="121626"/>
                </a:lnTo>
                <a:lnTo>
                  <a:pt x="144926" y="122138"/>
                </a:lnTo>
                <a:lnTo>
                  <a:pt x="145438" y="122479"/>
                </a:lnTo>
                <a:lnTo>
                  <a:pt x="146494" y="123085"/>
                </a:lnTo>
                <a:lnTo>
                  <a:pt x="147581" y="123613"/>
                </a:lnTo>
                <a:lnTo>
                  <a:pt x="148698" y="124063"/>
                </a:lnTo>
                <a:lnTo>
                  <a:pt x="149863" y="124420"/>
                </a:lnTo>
                <a:lnTo>
                  <a:pt x="151042" y="124684"/>
                </a:lnTo>
                <a:lnTo>
                  <a:pt x="152238" y="124854"/>
                </a:lnTo>
                <a:lnTo>
                  <a:pt x="153448" y="124932"/>
                </a:lnTo>
                <a:lnTo>
                  <a:pt x="154069" y="124932"/>
                </a:lnTo>
                <a:lnTo>
                  <a:pt x="154939" y="124901"/>
                </a:lnTo>
                <a:lnTo>
                  <a:pt x="156662" y="124699"/>
                </a:lnTo>
                <a:lnTo>
                  <a:pt x="158338" y="124311"/>
                </a:lnTo>
                <a:lnTo>
                  <a:pt x="159937" y="123752"/>
                </a:lnTo>
                <a:lnTo>
                  <a:pt x="161459" y="123038"/>
                </a:lnTo>
                <a:lnTo>
                  <a:pt x="162902" y="122153"/>
                </a:lnTo>
                <a:lnTo>
                  <a:pt x="164253" y="121113"/>
                </a:lnTo>
                <a:lnTo>
                  <a:pt x="165495" y="119918"/>
                </a:lnTo>
                <a:lnTo>
                  <a:pt x="166053" y="119266"/>
                </a:lnTo>
                <a:lnTo>
                  <a:pt x="210357" y="66471"/>
                </a:lnTo>
                <a:lnTo>
                  <a:pt x="210668" y="66130"/>
                </a:lnTo>
                <a:lnTo>
                  <a:pt x="211366" y="65586"/>
                </a:lnTo>
                <a:lnTo>
                  <a:pt x="212142" y="65183"/>
                </a:lnTo>
                <a:lnTo>
                  <a:pt x="212965" y="64950"/>
                </a:lnTo>
                <a:lnTo>
                  <a:pt x="213819" y="64872"/>
                </a:lnTo>
                <a:lnTo>
                  <a:pt x="214673" y="64965"/>
                </a:lnTo>
                <a:lnTo>
                  <a:pt x="215495" y="65214"/>
                </a:lnTo>
                <a:lnTo>
                  <a:pt x="216272" y="65633"/>
                </a:lnTo>
                <a:lnTo>
                  <a:pt x="216644" y="65928"/>
                </a:lnTo>
                <a:lnTo>
                  <a:pt x="219252" y="68117"/>
                </a:lnTo>
                <a:lnTo>
                  <a:pt x="219578" y="68412"/>
                </a:lnTo>
                <a:lnTo>
                  <a:pt x="220137" y="69110"/>
                </a:lnTo>
                <a:lnTo>
                  <a:pt x="220525" y="69886"/>
                </a:lnTo>
                <a:lnTo>
                  <a:pt x="220773" y="70709"/>
                </a:lnTo>
                <a:lnTo>
                  <a:pt x="220835" y="71563"/>
                </a:lnTo>
                <a:lnTo>
                  <a:pt x="220758" y="72417"/>
                </a:lnTo>
                <a:lnTo>
                  <a:pt x="220494" y="73239"/>
                </a:lnTo>
                <a:lnTo>
                  <a:pt x="220075" y="74031"/>
                </a:lnTo>
                <a:lnTo>
                  <a:pt x="219795" y="74388"/>
                </a:lnTo>
                <a:lnTo>
                  <a:pt x="175492" y="127183"/>
                </a:lnTo>
                <a:lnTo>
                  <a:pt x="174560" y="128239"/>
                </a:lnTo>
                <a:lnTo>
                  <a:pt x="172573" y="130195"/>
                </a:lnTo>
                <a:lnTo>
                  <a:pt x="170431" y="131918"/>
                </a:lnTo>
                <a:lnTo>
                  <a:pt x="168134" y="133423"/>
                </a:lnTo>
                <a:lnTo>
                  <a:pt x="165696" y="134681"/>
                </a:lnTo>
                <a:lnTo>
                  <a:pt x="163151" y="135705"/>
                </a:lnTo>
                <a:lnTo>
                  <a:pt x="160512" y="136481"/>
                </a:lnTo>
                <a:lnTo>
                  <a:pt x="157764" y="136994"/>
                </a:lnTo>
                <a:lnTo>
                  <a:pt x="156367" y="137133"/>
                </a:lnTo>
                <a:lnTo>
                  <a:pt x="155109" y="137227"/>
                </a:lnTo>
                <a:lnTo>
                  <a:pt x="153868" y="137242"/>
                </a:lnTo>
                <a:lnTo>
                  <a:pt x="152626" y="137227"/>
                </a:lnTo>
                <a:lnTo>
                  <a:pt x="150189" y="137009"/>
                </a:lnTo>
                <a:lnTo>
                  <a:pt x="147782" y="136590"/>
                </a:lnTo>
                <a:lnTo>
                  <a:pt x="145438" y="135954"/>
                </a:lnTo>
                <a:lnTo>
                  <a:pt x="143141" y="135131"/>
                </a:lnTo>
                <a:lnTo>
                  <a:pt x="140937" y="134091"/>
                </a:lnTo>
                <a:lnTo>
                  <a:pt x="138810" y="132865"/>
                </a:lnTo>
                <a:lnTo>
                  <a:pt x="136776" y="131436"/>
                </a:lnTo>
                <a:lnTo>
                  <a:pt x="135814" y="130645"/>
                </a:lnTo>
                <a:lnTo>
                  <a:pt x="135255" y="130179"/>
                </a:lnTo>
                <a:lnTo>
                  <a:pt x="134200" y="129201"/>
                </a:lnTo>
                <a:lnTo>
                  <a:pt x="132725" y="127649"/>
                </a:lnTo>
                <a:lnTo>
                  <a:pt x="130986" y="125460"/>
                </a:lnTo>
                <a:lnTo>
                  <a:pt x="129496" y="123131"/>
                </a:lnTo>
                <a:lnTo>
                  <a:pt x="128254" y="120679"/>
                </a:lnTo>
                <a:lnTo>
                  <a:pt x="127245" y="118148"/>
                </a:lnTo>
                <a:lnTo>
                  <a:pt x="126500" y="115540"/>
                </a:lnTo>
                <a:lnTo>
                  <a:pt x="126019" y="112870"/>
                </a:lnTo>
                <a:lnTo>
                  <a:pt x="125786" y="110185"/>
                </a:lnTo>
                <a:lnTo>
                  <a:pt x="125801" y="107468"/>
                </a:lnTo>
                <a:lnTo>
                  <a:pt x="126081" y="104783"/>
                </a:lnTo>
                <a:lnTo>
                  <a:pt x="126624" y="102113"/>
                </a:lnTo>
                <a:lnTo>
                  <a:pt x="127431" y="99489"/>
                </a:lnTo>
                <a:lnTo>
                  <a:pt x="128487" y="96928"/>
                </a:lnTo>
                <a:lnTo>
                  <a:pt x="129822" y="94460"/>
                </a:lnTo>
                <a:lnTo>
                  <a:pt x="131017" y="92690"/>
                </a:lnTo>
                <a:lnTo>
                  <a:pt x="131887" y="91541"/>
                </a:lnTo>
                <a:lnTo>
                  <a:pt x="132337" y="90967"/>
                </a:lnTo>
                <a:lnTo>
                  <a:pt x="157966" y="60432"/>
                </a:lnTo>
                <a:lnTo>
                  <a:pt x="193312" y="18302"/>
                </a:lnTo>
                <a:lnTo>
                  <a:pt x="193856" y="17681"/>
                </a:lnTo>
                <a:lnTo>
                  <a:pt x="194958" y="16470"/>
                </a:lnTo>
                <a:lnTo>
                  <a:pt x="196697" y="14778"/>
                </a:lnTo>
                <a:lnTo>
                  <a:pt x="199149" y="12745"/>
                </a:lnTo>
                <a:lnTo>
                  <a:pt x="201757" y="10960"/>
                </a:lnTo>
                <a:lnTo>
                  <a:pt x="204474" y="9423"/>
                </a:lnTo>
                <a:lnTo>
                  <a:pt x="207299" y="8134"/>
                </a:lnTo>
                <a:lnTo>
                  <a:pt x="210217" y="7110"/>
                </a:lnTo>
                <a:lnTo>
                  <a:pt x="213198" y="6334"/>
                </a:lnTo>
                <a:lnTo>
                  <a:pt x="214704" y="6054"/>
                </a:lnTo>
                <a:lnTo>
                  <a:pt x="213105" y="5309"/>
                </a:lnTo>
                <a:lnTo>
                  <a:pt x="209860" y="3958"/>
                </a:lnTo>
                <a:lnTo>
                  <a:pt x="206523" y="2810"/>
                </a:lnTo>
                <a:lnTo>
                  <a:pt x="203108" y="1832"/>
                </a:lnTo>
                <a:lnTo>
                  <a:pt x="199630" y="1056"/>
                </a:lnTo>
                <a:lnTo>
                  <a:pt x="196091" y="497"/>
                </a:lnTo>
                <a:lnTo>
                  <a:pt x="192505" y="140"/>
                </a:lnTo>
                <a:lnTo>
                  <a:pt x="188857" y="0"/>
                </a:lnTo>
                <a:lnTo>
                  <a:pt x="187010" y="16"/>
                </a:lnTo>
                <a:lnTo>
                  <a:pt x="185737" y="47"/>
                </a:lnTo>
                <a:lnTo>
                  <a:pt x="183222" y="202"/>
                </a:lnTo>
                <a:lnTo>
                  <a:pt x="180723" y="450"/>
                </a:lnTo>
                <a:lnTo>
                  <a:pt x="178255" y="776"/>
                </a:lnTo>
                <a:lnTo>
                  <a:pt x="175802" y="1195"/>
                </a:lnTo>
                <a:lnTo>
                  <a:pt x="173380" y="1708"/>
                </a:lnTo>
                <a:lnTo>
                  <a:pt x="171005" y="2313"/>
                </a:lnTo>
                <a:lnTo>
                  <a:pt x="168646" y="2996"/>
                </a:lnTo>
                <a:lnTo>
                  <a:pt x="166317" y="3757"/>
                </a:lnTo>
                <a:lnTo>
                  <a:pt x="164035" y="4610"/>
                </a:lnTo>
                <a:lnTo>
                  <a:pt x="161800" y="5542"/>
                </a:lnTo>
                <a:lnTo>
                  <a:pt x="159596" y="6551"/>
                </a:lnTo>
                <a:lnTo>
                  <a:pt x="157422" y="7638"/>
                </a:lnTo>
                <a:lnTo>
                  <a:pt x="155311" y="8786"/>
                </a:lnTo>
                <a:lnTo>
                  <a:pt x="153247" y="10028"/>
                </a:lnTo>
                <a:lnTo>
                  <a:pt x="151213" y="11332"/>
                </a:lnTo>
                <a:lnTo>
                  <a:pt x="149257" y="12714"/>
                </a:lnTo>
                <a:lnTo>
                  <a:pt x="147332" y="14157"/>
                </a:lnTo>
                <a:lnTo>
                  <a:pt x="145469" y="15679"/>
                </a:lnTo>
                <a:lnTo>
                  <a:pt x="143669" y="17262"/>
                </a:lnTo>
                <a:lnTo>
                  <a:pt x="141930" y="18907"/>
                </a:lnTo>
                <a:lnTo>
                  <a:pt x="140254" y="20615"/>
                </a:lnTo>
                <a:lnTo>
                  <a:pt x="138624" y="22385"/>
                </a:lnTo>
                <a:lnTo>
                  <a:pt x="137071" y="24216"/>
                </a:lnTo>
                <a:lnTo>
                  <a:pt x="135597" y="26095"/>
                </a:lnTo>
                <a:lnTo>
                  <a:pt x="134184" y="28035"/>
                </a:lnTo>
                <a:lnTo>
                  <a:pt x="132833" y="30038"/>
                </a:lnTo>
                <a:lnTo>
                  <a:pt x="131561" y="32102"/>
                </a:lnTo>
                <a:lnTo>
                  <a:pt x="130381" y="34198"/>
                </a:lnTo>
                <a:lnTo>
                  <a:pt x="129263" y="36356"/>
                </a:lnTo>
                <a:lnTo>
                  <a:pt x="128223" y="38560"/>
                </a:lnTo>
                <a:lnTo>
                  <a:pt x="127276" y="40826"/>
                </a:lnTo>
                <a:lnTo>
                  <a:pt x="126841" y="41960"/>
                </a:lnTo>
                <a:lnTo>
                  <a:pt x="126717" y="42270"/>
                </a:lnTo>
                <a:lnTo>
                  <a:pt x="126469" y="42720"/>
                </a:lnTo>
                <a:lnTo>
                  <a:pt x="126205" y="42969"/>
                </a:lnTo>
                <a:lnTo>
                  <a:pt x="125910" y="43062"/>
                </a:lnTo>
                <a:lnTo>
                  <a:pt x="125739" y="43077"/>
                </a:lnTo>
                <a:lnTo>
                  <a:pt x="125569" y="43062"/>
                </a:lnTo>
                <a:lnTo>
                  <a:pt x="125274" y="42969"/>
                </a:lnTo>
                <a:lnTo>
                  <a:pt x="125010" y="42720"/>
                </a:lnTo>
                <a:lnTo>
                  <a:pt x="124761" y="42270"/>
                </a:lnTo>
                <a:lnTo>
                  <a:pt x="124637" y="41960"/>
                </a:lnTo>
                <a:lnTo>
                  <a:pt x="124202" y="40826"/>
                </a:lnTo>
                <a:lnTo>
                  <a:pt x="123256" y="38560"/>
                </a:lnTo>
                <a:lnTo>
                  <a:pt x="122215" y="36356"/>
                </a:lnTo>
                <a:lnTo>
                  <a:pt x="121098" y="34198"/>
                </a:lnTo>
                <a:lnTo>
                  <a:pt x="119918" y="32102"/>
                </a:lnTo>
                <a:lnTo>
                  <a:pt x="118645" y="30038"/>
                </a:lnTo>
                <a:lnTo>
                  <a:pt x="117295" y="28035"/>
                </a:lnTo>
                <a:lnTo>
                  <a:pt x="115882" y="26095"/>
                </a:lnTo>
                <a:lnTo>
                  <a:pt x="114407" y="24216"/>
                </a:lnTo>
                <a:lnTo>
                  <a:pt x="112855" y="22385"/>
                </a:lnTo>
                <a:lnTo>
                  <a:pt x="111225" y="20615"/>
                </a:lnTo>
                <a:lnTo>
                  <a:pt x="109548" y="18907"/>
                </a:lnTo>
                <a:lnTo>
                  <a:pt x="107810" y="17262"/>
                </a:lnTo>
                <a:lnTo>
                  <a:pt x="106009" y="15679"/>
                </a:lnTo>
                <a:lnTo>
                  <a:pt x="104146" y="14157"/>
                </a:lnTo>
                <a:lnTo>
                  <a:pt x="102221" y="12714"/>
                </a:lnTo>
                <a:lnTo>
                  <a:pt x="100265" y="11332"/>
                </a:lnTo>
                <a:lnTo>
                  <a:pt x="98232" y="10028"/>
                </a:lnTo>
                <a:lnTo>
                  <a:pt x="96167" y="8786"/>
                </a:lnTo>
                <a:lnTo>
                  <a:pt x="94056" y="7638"/>
                </a:lnTo>
                <a:lnTo>
                  <a:pt x="91883" y="6551"/>
                </a:lnTo>
                <a:lnTo>
                  <a:pt x="89678" y="5542"/>
                </a:lnTo>
                <a:lnTo>
                  <a:pt x="87443" y="4610"/>
                </a:lnTo>
                <a:lnTo>
                  <a:pt x="85161" y="3757"/>
                </a:lnTo>
                <a:lnTo>
                  <a:pt x="82833" y="2996"/>
                </a:lnTo>
                <a:lnTo>
                  <a:pt x="80473" y="2313"/>
                </a:lnTo>
                <a:lnTo>
                  <a:pt x="78098" y="1708"/>
                </a:lnTo>
                <a:lnTo>
                  <a:pt x="75676" y="1195"/>
                </a:lnTo>
                <a:lnTo>
                  <a:pt x="73224" y="776"/>
                </a:lnTo>
                <a:lnTo>
                  <a:pt x="70756" y="450"/>
                </a:lnTo>
                <a:lnTo>
                  <a:pt x="68256" y="202"/>
                </a:lnTo>
                <a:lnTo>
                  <a:pt x="65741" y="47"/>
                </a:lnTo>
                <a:lnTo>
                  <a:pt x="64469" y="16"/>
                </a:lnTo>
                <a:lnTo>
                  <a:pt x="62932" y="0"/>
                </a:lnTo>
                <a:close/>
              </a:path>
            </a:pathLst>
          </a:custGeom>
          <a:solidFill>
            <a:srgbClr val="F7224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7511929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2B Section title and description_third_red_Bricks">
  <p:cSld name="B2B Section title and description_third_red_Bricks">
    <p:bg>
      <p:bgPr>
        <a:solidFill>
          <a:schemeClr val="dk1"/>
        </a:solidFill>
        <a:effectLst/>
      </p:bgPr>
    </p:bg>
    <p:spTree>
      <p:nvGrpSpPr>
        <p:cNvPr id="1" name="Shape 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0" name="Google Shape;600;p52"/>
          <p:cNvSpPr/>
          <p:nvPr/>
        </p:nvSpPr>
        <p:spPr>
          <a:xfrm>
            <a:off x="4876800" y="225"/>
            <a:ext cx="73152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01" name="Google Shape;601;p52"/>
          <p:cNvSpPr txBox="1"/>
          <p:nvPr/>
        </p:nvSpPr>
        <p:spPr>
          <a:xfrm>
            <a:off x="4918541" y="3939221"/>
            <a:ext cx="2931900" cy="492600"/>
          </a:xfrm>
          <a:prstGeom prst="rect">
            <a:avLst/>
          </a:prstGeom>
          <a:solidFill>
            <a:srgbClr val="F5F5F0">
              <a:alpha val="50000"/>
            </a:srgbClr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000" b="1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02" name="Google Shape;602;p52"/>
          <p:cNvSpPr txBox="1"/>
          <p:nvPr/>
        </p:nvSpPr>
        <p:spPr>
          <a:xfrm>
            <a:off x="6601073" y="1195970"/>
            <a:ext cx="2931900" cy="492600"/>
          </a:xfrm>
          <a:prstGeom prst="rect">
            <a:avLst/>
          </a:prstGeom>
          <a:solidFill>
            <a:srgbClr val="F5F5F0">
              <a:alpha val="50000"/>
            </a:srgbClr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000" b="1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03" name="Google Shape;603;p52"/>
          <p:cNvSpPr txBox="1"/>
          <p:nvPr/>
        </p:nvSpPr>
        <p:spPr>
          <a:xfrm>
            <a:off x="4918541" y="3390608"/>
            <a:ext cx="1622400" cy="492600"/>
          </a:xfrm>
          <a:prstGeom prst="rect">
            <a:avLst/>
          </a:prstGeom>
          <a:solidFill>
            <a:srgbClr val="F5F5F0">
              <a:alpha val="50000"/>
            </a:srgbClr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000" b="1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04" name="Google Shape;604;p52"/>
          <p:cNvSpPr txBox="1"/>
          <p:nvPr/>
        </p:nvSpPr>
        <p:spPr>
          <a:xfrm>
            <a:off x="6601073" y="3390395"/>
            <a:ext cx="2931900" cy="492600"/>
          </a:xfrm>
          <a:prstGeom prst="rect">
            <a:avLst/>
          </a:prstGeom>
          <a:solidFill>
            <a:srgbClr val="F5F5F0">
              <a:alpha val="50000"/>
            </a:srgbClr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000" b="1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05" name="Google Shape;605;p52"/>
          <p:cNvSpPr txBox="1"/>
          <p:nvPr/>
        </p:nvSpPr>
        <p:spPr>
          <a:xfrm>
            <a:off x="4918541" y="2841994"/>
            <a:ext cx="2931900" cy="492600"/>
          </a:xfrm>
          <a:prstGeom prst="rect">
            <a:avLst/>
          </a:prstGeom>
          <a:solidFill>
            <a:srgbClr val="F5F5F0">
              <a:alpha val="50000"/>
            </a:srgbClr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000" b="1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06" name="Google Shape;606;p52"/>
          <p:cNvSpPr txBox="1"/>
          <p:nvPr/>
        </p:nvSpPr>
        <p:spPr>
          <a:xfrm>
            <a:off x="7910566" y="2841788"/>
            <a:ext cx="1622400" cy="492600"/>
          </a:xfrm>
          <a:prstGeom prst="rect">
            <a:avLst/>
          </a:prstGeom>
          <a:solidFill>
            <a:srgbClr val="F5F5F0">
              <a:alpha val="50000"/>
            </a:srgbClr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000" b="1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07" name="Google Shape;607;p52"/>
          <p:cNvSpPr txBox="1"/>
          <p:nvPr/>
        </p:nvSpPr>
        <p:spPr>
          <a:xfrm>
            <a:off x="4918541" y="1744768"/>
            <a:ext cx="2931900" cy="492600"/>
          </a:xfrm>
          <a:prstGeom prst="rect">
            <a:avLst/>
          </a:prstGeom>
          <a:solidFill>
            <a:schemeClr val="lt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000" b="1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08" name="Google Shape;608;p52"/>
          <p:cNvSpPr txBox="1"/>
          <p:nvPr/>
        </p:nvSpPr>
        <p:spPr>
          <a:xfrm>
            <a:off x="6601073" y="2293182"/>
            <a:ext cx="2931900" cy="492600"/>
          </a:xfrm>
          <a:prstGeom prst="rect">
            <a:avLst/>
          </a:prstGeom>
          <a:solidFill>
            <a:srgbClr val="F5F5F0">
              <a:alpha val="50000"/>
            </a:srgbClr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000" b="1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09" name="Google Shape;609;p52"/>
          <p:cNvSpPr txBox="1"/>
          <p:nvPr/>
        </p:nvSpPr>
        <p:spPr>
          <a:xfrm>
            <a:off x="7910566" y="1744576"/>
            <a:ext cx="1622400" cy="492600"/>
          </a:xfrm>
          <a:prstGeom prst="rect">
            <a:avLst/>
          </a:prstGeom>
          <a:solidFill>
            <a:srgbClr val="F5F5F0">
              <a:alpha val="50000"/>
            </a:srgbClr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000" b="1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10" name="Google Shape;610;p52"/>
          <p:cNvSpPr txBox="1"/>
          <p:nvPr/>
        </p:nvSpPr>
        <p:spPr>
          <a:xfrm>
            <a:off x="4918541" y="2293381"/>
            <a:ext cx="1622400" cy="492600"/>
          </a:xfrm>
          <a:prstGeom prst="rect">
            <a:avLst/>
          </a:prstGeom>
          <a:solidFill>
            <a:srgbClr val="F5F5F0">
              <a:alpha val="50000"/>
            </a:srgbClr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000" b="1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11" name="Google Shape;611;p52"/>
          <p:cNvSpPr txBox="1"/>
          <p:nvPr/>
        </p:nvSpPr>
        <p:spPr>
          <a:xfrm>
            <a:off x="7910566" y="3939001"/>
            <a:ext cx="1622400" cy="492600"/>
          </a:xfrm>
          <a:prstGeom prst="rect">
            <a:avLst/>
          </a:prstGeom>
          <a:solidFill>
            <a:srgbClr val="F5F5F0">
              <a:alpha val="50000"/>
            </a:srgbClr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000" b="1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12" name="Google Shape;612;p52"/>
          <p:cNvSpPr txBox="1"/>
          <p:nvPr/>
        </p:nvSpPr>
        <p:spPr>
          <a:xfrm>
            <a:off x="4918541" y="1196155"/>
            <a:ext cx="1617600" cy="492600"/>
          </a:xfrm>
          <a:prstGeom prst="rect">
            <a:avLst/>
          </a:prstGeom>
          <a:solidFill>
            <a:srgbClr val="F5F5F0">
              <a:alpha val="50000"/>
            </a:srgbClr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000" b="1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13" name="Google Shape;613;p52"/>
          <p:cNvSpPr txBox="1"/>
          <p:nvPr/>
        </p:nvSpPr>
        <p:spPr>
          <a:xfrm>
            <a:off x="4918541" y="4487834"/>
            <a:ext cx="1622400" cy="538800"/>
          </a:xfrm>
          <a:prstGeom prst="rect">
            <a:avLst/>
          </a:prstGeom>
          <a:solidFill>
            <a:schemeClr val="lt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300" b="1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14" name="Google Shape;614;p52"/>
          <p:cNvSpPr txBox="1"/>
          <p:nvPr/>
        </p:nvSpPr>
        <p:spPr>
          <a:xfrm>
            <a:off x="6601073" y="4487607"/>
            <a:ext cx="2931900" cy="538800"/>
          </a:xfrm>
          <a:prstGeom prst="rect">
            <a:avLst/>
          </a:prstGeom>
          <a:solidFill>
            <a:srgbClr val="F5F5F0">
              <a:alpha val="50000"/>
            </a:srgbClr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300" b="1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15" name="Google Shape;615;p52"/>
          <p:cNvSpPr txBox="1"/>
          <p:nvPr/>
        </p:nvSpPr>
        <p:spPr>
          <a:xfrm>
            <a:off x="7910566" y="5085592"/>
            <a:ext cx="1622400" cy="538800"/>
          </a:xfrm>
          <a:prstGeom prst="rect">
            <a:avLst/>
          </a:prstGeom>
          <a:solidFill>
            <a:srgbClr val="F5F5F0">
              <a:alpha val="50000"/>
            </a:srgbClr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300" b="1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16" name="Google Shape;616;p52"/>
          <p:cNvSpPr txBox="1"/>
          <p:nvPr/>
        </p:nvSpPr>
        <p:spPr>
          <a:xfrm>
            <a:off x="4918541" y="5085826"/>
            <a:ext cx="2931900" cy="538800"/>
          </a:xfrm>
          <a:prstGeom prst="rect">
            <a:avLst/>
          </a:prstGeom>
          <a:solidFill>
            <a:srgbClr val="F5F5F0">
              <a:alpha val="50000"/>
            </a:srgbClr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300" b="1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17" name="Google Shape;617;p52"/>
          <p:cNvSpPr txBox="1"/>
          <p:nvPr/>
        </p:nvSpPr>
        <p:spPr>
          <a:xfrm>
            <a:off x="4918554" y="171"/>
            <a:ext cx="1622400" cy="538800"/>
          </a:xfrm>
          <a:prstGeom prst="rect">
            <a:avLst/>
          </a:prstGeom>
          <a:solidFill>
            <a:srgbClr val="F5F5F0">
              <a:alpha val="50000"/>
            </a:srgbClr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300" b="1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18" name="Google Shape;618;p52"/>
          <p:cNvSpPr txBox="1"/>
          <p:nvPr/>
        </p:nvSpPr>
        <p:spPr>
          <a:xfrm>
            <a:off x="6601084" y="0"/>
            <a:ext cx="2931900" cy="538800"/>
          </a:xfrm>
          <a:prstGeom prst="rect">
            <a:avLst/>
          </a:prstGeom>
          <a:solidFill>
            <a:srgbClr val="F5F5F0">
              <a:alpha val="50000"/>
            </a:srgbClr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300" b="1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19" name="Google Shape;619;p52"/>
          <p:cNvSpPr txBox="1"/>
          <p:nvPr/>
        </p:nvSpPr>
        <p:spPr>
          <a:xfrm>
            <a:off x="7910566" y="597985"/>
            <a:ext cx="1622400" cy="538800"/>
          </a:xfrm>
          <a:prstGeom prst="rect">
            <a:avLst/>
          </a:prstGeom>
          <a:solidFill>
            <a:srgbClr val="F5F5F0">
              <a:alpha val="50000"/>
            </a:srgbClr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300" b="1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20" name="Google Shape;620;p52"/>
          <p:cNvSpPr txBox="1"/>
          <p:nvPr/>
        </p:nvSpPr>
        <p:spPr>
          <a:xfrm>
            <a:off x="4918541" y="598163"/>
            <a:ext cx="2931900" cy="538800"/>
          </a:xfrm>
          <a:prstGeom prst="rect">
            <a:avLst/>
          </a:prstGeom>
          <a:solidFill>
            <a:srgbClr val="F5F5F0">
              <a:alpha val="50000"/>
            </a:srgbClr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300" b="1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21" name="Google Shape;621;p52"/>
          <p:cNvSpPr txBox="1"/>
          <p:nvPr/>
        </p:nvSpPr>
        <p:spPr>
          <a:xfrm>
            <a:off x="4918541" y="5683818"/>
            <a:ext cx="1622400" cy="538800"/>
          </a:xfrm>
          <a:prstGeom prst="rect">
            <a:avLst/>
          </a:prstGeom>
          <a:solidFill>
            <a:srgbClr val="F5F5F0">
              <a:alpha val="50000"/>
            </a:srgbClr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300" b="1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22" name="Google Shape;622;p52"/>
          <p:cNvSpPr txBox="1"/>
          <p:nvPr/>
        </p:nvSpPr>
        <p:spPr>
          <a:xfrm>
            <a:off x="6601073" y="5683577"/>
            <a:ext cx="2931900" cy="538800"/>
          </a:xfrm>
          <a:prstGeom prst="rect">
            <a:avLst/>
          </a:prstGeom>
          <a:solidFill>
            <a:srgbClr val="F5F5F0">
              <a:alpha val="50000"/>
            </a:srgbClr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300" b="1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23" name="Google Shape;623;p52"/>
          <p:cNvSpPr txBox="1"/>
          <p:nvPr/>
        </p:nvSpPr>
        <p:spPr>
          <a:xfrm>
            <a:off x="7910566" y="6281819"/>
            <a:ext cx="1622400" cy="538800"/>
          </a:xfrm>
          <a:prstGeom prst="rect">
            <a:avLst/>
          </a:prstGeom>
          <a:solidFill>
            <a:srgbClr val="F5F5F0">
              <a:alpha val="50000"/>
            </a:srgbClr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300" b="1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24" name="Google Shape;624;p52"/>
          <p:cNvSpPr txBox="1"/>
          <p:nvPr/>
        </p:nvSpPr>
        <p:spPr>
          <a:xfrm>
            <a:off x="4918541" y="6282054"/>
            <a:ext cx="2931900" cy="538800"/>
          </a:xfrm>
          <a:prstGeom prst="rect">
            <a:avLst/>
          </a:prstGeom>
          <a:solidFill>
            <a:srgbClr val="F5F5F0">
              <a:alpha val="50000"/>
            </a:srgbClr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300" b="1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25" name="Google Shape;625;p52"/>
          <p:cNvSpPr txBox="1"/>
          <p:nvPr/>
        </p:nvSpPr>
        <p:spPr>
          <a:xfrm>
            <a:off x="9559449" y="3939225"/>
            <a:ext cx="2710200" cy="492600"/>
          </a:xfrm>
          <a:prstGeom prst="rect">
            <a:avLst/>
          </a:prstGeom>
          <a:solidFill>
            <a:srgbClr val="F5F5F0">
              <a:alpha val="50000"/>
            </a:srgbClr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000" b="1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26" name="Google Shape;626;p52"/>
          <p:cNvSpPr txBox="1"/>
          <p:nvPr/>
        </p:nvSpPr>
        <p:spPr>
          <a:xfrm>
            <a:off x="11241974" y="1195975"/>
            <a:ext cx="1027800" cy="492600"/>
          </a:xfrm>
          <a:prstGeom prst="rect">
            <a:avLst/>
          </a:prstGeom>
          <a:solidFill>
            <a:srgbClr val="F5F5F0">
              <a:alpha val="50000"/>
            </a:srgbClr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000" b="1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27" name="Google Shape;627;p52"/>
          <p:cNvSpPr txBox="1"/>
          <p:nvPr/>
        </p:nvSpPr>
        <p:spPr>
          <a:xfrm>
            <a:off x="9559442" y="3390608"/>
            <a:ext cx="1622400" cy="492600"/>
          </a:xfrm>
          <a:prstGeom prst="rect">
            <a:avLst/>
          </a:prstGeom>
          <a:solidFill>
            <a:srgbClr val="F5F5F0">
              <a:alpha val="50000"/>
            </a:srgbClr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000" b="1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28" name="Google Shape;628;p52"/>
          <p:cNvSpPr txBox="1"/>
          <p:nvPr/>
        </p:nvSpPr>
        <p:spPr>
          <a:xfrm>
            <a:off x="11241974" y="3390400"/>
            <a:ext cx="1027800" cy="492600"/>
          </a:xfrm>
          <a:prstGeom prst="rect">
            <a:avLst/>
          </a:prstGeom>
          <a:solidFill>
            <a:srgbClr val="F5F5F0">
              <a:alpha val="50000"/>
            </a:srgbClr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000" b="1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29" name="Google Shape;629;p52"/>
          <p:cNvSpPr txBox="1"/>
          <p:nvPr/>
        </p:nvSpPr>
        <p:spPr>
          <a:xfrm>
            <a:off x="9559449" y="2842000"/>
            <a:ext cx="2710200" cy="492600"/>
          </a:xfrm>
          <a:prstGeom prst="rect">
            <a:avLst/>
          </a:prstGeom>
          <a:solidFill>
            <a:schemeClr val="lt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000" b="1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30" name="Google Shape;630;p52"/>
          <p:cNvSpPr txBox="1"/>
          <p:nvPr/>
        </p:nvSpPr>
        <p:spPr>
          <a:xfrm>
            <a:off x="9559449" y="1744775"/>
            <a:ext cx="2710200" cy="492600"/>
          </a:xfrm>
          <a:prstGeom prst="rect">
            <a:avLst/>
          </a:prstGeom>
          <a:solidFill>
            <a:srgbClr val="F5F5F0">
              <a:alpha val="50000"/>
            </a:srgbClr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000" b="1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31" name="Google Shape;631;p52"/>
          <p:cNvSpPr txBox="1"/>
          <p:nvPr/>
        </p:nvSpPr>
        <p:spPr>
          <a:xfrm>
            <a:off x="11241974" y="2293175"/>
            <a:ext cx="1027800" cy="492600"/>
          </a:xfrm>
          <a:prstGeom prst="rect">
            <a:avLst/>
          </a:prstGeom>
          <a:solidFill>
            <a:srgbClr val="F5F5F0">
              <a:alpha val="50000"/>
            </a:srgbClr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000" b="1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32" name="Google Shape;632;p52"/>
          <p:cNvSpPr txBox="1"/>
          <p:nvPr/>
        </p:nvSpPr>
        <p:spPr>
          <a:xfrm>
            <a:off x="9559442" y="2293381"/>
            <a:ext cx="1622400" cy="492600"/>
          </a:xfrm>
          <a:prstGeom prst="rect">
            <a:avLst/>
          </a:prstGeom>
          <a:solidFill>
            <a:srgbClr val="F5F5F0">
              <a:alpha val="50000"/>
            </a:srgbClr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000" b="1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33" name="Google Shape;633;p52"/>
          <p:cNvSpPr txBox="1"/>
          <p:nvPr/>
        </p:nvSpPr>
        <p:spPr>
          <a:xfrm>
            <a:off x="9559442" y="1196155"/>
            <a:ext cx="1617600" cy="492600"/>
          </a:xfrm>
          <a:prstGeom prst="rect">
            <a:avLst/>
          </a:prstGeom>
          <a:solidFill>
            <a:srgbClr val="F5F5F0">
              <a:alpha val="50000"/>
            </a:srgbClr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000" b="1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34" name="Google Shape;634;p52"/>
          <p:cNvSpPr txBox="1"/>
          <p:nvPr/>
        </p:nvSpPr>
        <p:spPr>
          <a:xfrm>
            <a:off x="9559442" y="4487834"/>
            <a:ext cx="1622400" cy="538800"/>
          </a:xfrm>
          <a:prstGeom prst="rect">
            <a:avLst/>
          </a:prstGeom>
          <a:solidFill>
            <a:srgbClr val="F5F5F0">
              <a:alpha val="50000"/>
            </a:srgbClr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300" b="1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35" name="Google Shape;635;p52"/>
          <p:cNvSpPr txBox="1"/>
          <p:nvPr/>
        </p:nvSpPr>
        <p:spPr>
          <a:xfrm>
            <a:off x="11241974" y="4487600"/>
            <a:ext cx="1072200" cy="538800"/>
          </a:xfrm>
          <a:prstGeom prst="rect">
            <a:avLst/>
          </a:prstGeom>
          <a:solidFill>
            <a:srgbClr val="F5F5F0">
              <a:alpha val="50000"/>
            </a:srgbClr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300" b="1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36" name="Google Shape;636;p52"/>
          <p:cNvSpPr txBox="1"/>
          <p:nvPr/>
        </p:nvSpPr>
        <p:spPr>
          <a:xfrm>
            <a:off x="9559449" y="5085825"/>
            <a:ext cx="2710200" cy="538800"/>
          </a:xfrm>
          <a:prstGeom prst="rect">
            <a:avLst/>
          </a:prstGeom>
          <a:solidFill>
            <a:srgbClr val="F5F5F0">
              <a:alpha val="50000"/>
            </a:srgbClr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300" b="1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37" name="Google Shape;637;p52"/>
          <p:cNvSpPr txBox="1"/>
          <p:nvPr/>
        </p:nvSpPr>
        <p:spPr>
          <a:xfrm>
            <a:off x="9559455" y="171"/>
            <a:ext cx="1622400" cy="538800"/>
          </a:xfrm>
          <a:prstGeom prst="rect">
            <a:avLst/>
          </a:prstGeom>
          <a:solidFill>
            <a:schemeClr val="lt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300" b="1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38" name="Google Shape;638;p52"/>
          <p:cNvSpPr txBox="1"/>
          <p:nvPr/>
        </p:nvSpPr>
        <p:spPr>
          <a:xfrm>
            <a:off x="11241982" y="0"/>
            <a:ext cx="1027800" cy="538800"/>
          </a:xfrm>
          <a:prstGeom prst="rect">
            <a:avLst/>
          </a:prstGeom>
          <a:solidFill>
            <a:srgbClr val="F5F5F0">
              <a:alpha val="50000"/>
            </a:srgbClr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300" b="1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39" name="Google Shape;639;p52"/>
          <p:cNvSpPr txBox="1"/>
          <p:nvPr/>
        </p:nvSpPr>
        <p:spPr>
          <a:xfrm>
            <a:off x="9559449" y="598175"/>
            <a:ext cx="2710200" cy="538800"/>
          </a:xfrm>
          <a:prstGeom prst="rect">
            <a:avLst/>
          </a:prstGeom>
          <a:solidFill>
            <a:srgbClr val="F5F5F0">
              <a:alpha val="50000"/>
            </a:srgbClr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300" b="1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40" name="Google Shape;640;p52"/>
          <p:cNvSpPr txBox="1"/>
          <p:nvPr/>
        </p:nvSpPr>
        <p:spPr>
          <a:xfrm>
            <a:off x="9559442" y="5683818"/>
            <a:ext cx="1622400" cy="538800"/>
          </a:xfrm>
          <a:prstGeom prst="rect">
            <a:avLst/>
          </a:prstGeom>
          <a:solidFill>
            <a:srgbClr val="F5F5F0">
              <a:alpha val="50000"/>
            </a:srgbClr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300" b="1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41" name="Google Shape;641;p52"/>
          <p:cNvSpPr txBox="1"/>
          <p:nvPr/>
        </p:nvSpPr>
        <p:spPr>
          <a:xfrm>
            <a:off x="11241974" y="5683575"/>
            <a:ext cx="1072200" cy="538800"/>
          </a:xfrm>
          <a:prstGeom prst="rect">
            <a:avLst/>
          </a:prstGeom>
          <a:solidFill>
            <a:srgbClr val="F5F5F0">
              <a:alpha val="50000"/>
            </a:srgbClr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300" b="1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42" name="Google Shape;642;p52"/>
          <p:cNvSpPr txBox="1"/>
          <p:nvPr/>
        </p:nvSpPr>
        <p:spPr>
          <a:xfrm>
            <a:off x="9559450" y="6282050"/>
            <a:ext cx="2754600" cy="538800"/>
          </a:xfrm>
          <a:prstGeom prst="rect">
            <a:avLst/>
          </a:prstGeom>
          <a:solidFill>
            <a:schemeClr val="lt2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300" b="1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43" name="Google Shape;643;p52"/>
          <p:cNvSpPr/>
          <p:nvPr/>
        </p:nvSpPr>
        <p:spPr>
          <a:xfrm flipH="1">
            <a:off x="1059" y="0"/>
            <a:ext cx="48759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900"/>
          </a:p>
        </p:txBody>
      </p:sp>
      <p:sp>
        <p:nvSpPr>
          <p:cNvPr id="644" name="Google Shape;644;p52"/>
          <p:cNvSpPr txBox="1">
            <a:spLocks noGrp="1"/>
          </p:cNvSpPr>
          <p:nvPr>
            <p:ph type="title"/>
          </p:nvPr>
        </p:nvSpPr>
        <p:spPr>
          <a:xfrm>
            <a:off x="576075" y="225"/>
            <a:ext cx="4124700" cy="685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600"/>
              <a:buFont typeface="Lato"/>
              <a:buNone/>
              <a:defRPr sz="3600">
                <a:solidFill>
                  <a:schemeClr val="lt2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2pPr>
            <a:lvl3pPr lvl="2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3pPr>
            <a:lvl4pPr lvl="3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4pPr>
            <a:lvl5pPr lvl="4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5pPr>
            <a:lvl6pPr lvl="5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6pPr>
            <a:lvl7pPr lvl="6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7pPr>
            <a:lvl8pPr lvl="7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8pPr>
            <a:lvl9pPr lvl="8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645" name="Google Shape;645;p52"/>
          <p:cNvSpPr txBox="1">
            <a:spLocks noGrp="1"/>
          </p:cNvSpPr>
          <p:nvPr>
            <p:ph type="sldNum" idx="12"/>
          </p:nvPr>
        </p:nvSpPr>
        <p:spPr>
          <a:xfrm>
            <a:off x="11044810" y="6091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646" name="Google Shape;646;p52"/>
          <p:cNvSpPr/>
          <p:nvPr/>
        </p:nvSpPr>
        <p:spPr>
          <a:xfrm>
            <a:off x="576072" y="965115"/>
            <a:ext cx="629955" cy="524923"/>
          </a:xfrm>
          <a:custGeom>
            <a:avLst/>
            <a:gdLst/>
            <a:ahLst/>
            <a:cxnLst/>
            <a:rect l="l" t="t" r="r" b="b"/>
            <a:pathLst>
              <a:path w="251479" h="209550" extrusionOk="0">
                <a:moveTo>
                  <a:pt x="62932" y="0"/>
                </a:moveTo>
                <a:lnTo>
                  <a:pt x="59858" y="78"/>
                </a:lnTo>
                <a:lnTo>
                  <a:pt x="56847" y="326"/>
                </a:lnTo>
                <a:lnTo>
                  <a:pt x="53851" y="714"/>
                </a:lnTo>
                <a:lnTo>
                  <a:pt x="50901" y="1257"/>
                </a:lnTo>
                <a:lnTo>
                  <a:pt x="47998" y="1925"/>
                </a:lnTo>
                <a:lnTo>
                  <a:pt x="45142" y="2748"/>
                </a:lnTo>
                <a:lnTo>
                  <a:pt x="42348" y="3695"/>
                </a:lnTo>
                <a:lnTo>
                  <a:pt x="39600" y="4781"/>
                </a:lnTo>
                <a:lnTo>
                  <a:pt x="36915" y="5992"/>
                </a:lnTo>
                <a:lnTo>
                  <a:pt x="34291" y="7327"/>
                </a:lnTo>
                <a:lnTo>
                  <a:pt x="31730" y="8786"/>
                </a:lnTo>
                <a:lnTo>
                  <a:pt x="29246" y="10354"/>
                </a:lnTo>
                <a:lnTo>
                  <a:pt x="26840" y="12031"/>
                </a:lnTo>
                <a:lnTo>
                  <a:pt x="24511" y="13831"/>
                </a:lnTo>
                <a:lnTo>
                  <a:pt x="22261" y="15741"/>
                </a:lnTo>
                <a:lnTo>
                  <a:pt x="20087" y="17743"/>
                </a:lnTo>
                <a:lnTo>
                  <a:pt x="18023" y="19839"/>
                </a:lnTo>
                <a:lnTo>
                  <a:pt x="16036" y="22043"/>
                </a:lnTo>
                <a:lnTo>
                  <a:pt x="14157" y="24325"/>
                </a:lnTo>
                <a:lnTo>
                  <a:pt x="12372" y="26716"/>
                </a:lnTo>
                <a:lnTo>
                  <a:pt x="10696" y="29168"/>
                </a:lnTo>
                <a:lnTo>
                  <a:pt x="9112" y="31714"/>
                </a:lnTo>
                <a:lnTo>
                  <a:pt x="7653" y="34338"/>
                </a:lnTo>
                <a:lnTo>
                  <a:pt x="6318" y="37039"/>
                </a:lnTo>
                <a:lnTo>
                  <a:pt x="5092" y="39802"/>
                </a:lnTo>
                <a:lnTo>
                  <a:pt x="3990" y="42643"/>
                </a:lnTo>
                <a:lnTo>
                  <a:pt x="3012" y="45546"/>
                </a:lnTo>
                <a:lnTo>
                  <a:pt x="2173" y="48495"/>
                </a:lnTo>
                <a:lnTo>
                  <a:pt x="1459" y="51507"/>
                </a:lnTo>
                <a:lnTo>
                  <a:pt x="885" y="54580"/>
                </a:lnTo>
                <a:lnTo>
                  <a:pt x="450" y="57700"/>
                </a:lnTo>
                <a:lnTo>
                  <a:pt x="310" y="59268"/>
                </a:lnTo>
                <a:lnTo>
                  <a:pt x="186" y="60665"/>
                </a:lnTo>
                <a:lnTo>
                  <a:pt x="31" y="63475"/>
                </a:lnTo>
                <a:lnTo>
                  <a:pt x="0" y="66269"/>
                </a:lnTo>
                <a:lnTo>
                  <a:pt x="62" y="69063"/>
                </a:lnTo>
                <a:lnTo>
                  <a:pt x="217" y="71842"/>
                </a:lnTo>
                <a:lnTo>
                  <a:pt x="466" y="74605"/>
                </a:lnTo>
                <a:lnTo>
                  <a:pt x="823" y="77368"/>
                </a:lnTo>
                <a:lnTo>
                  <a:pt x="1257" y="80132"/>
                </a:lnTo>
                <a:lnTo>
                  <a:pt x="1801" y="82864"/>
                </a:lnTo>
                <a:lnTo>
                  <a:pt x="2422" y="85611"/>
                </a:lnTo>
                <a:lnTo>
                  <a:pt x="3120" y="88328"/>
                </a:lnTo>
                <a:lnTo>
                  <a:pt x="3912" y="91045"/>
                </a:lnTo>
                <a:lnTo>
                  <a:pt x="4781" y="93730"/>
                </a:lnTo>
                <a:lnTo>
                  <a:pt x="5728" y="96416"/>
                </a:lnTo>
                <a:lnTo>
                  <a:pt x="7280" y="100436"/>
                </a:lnTo>
                <a:lnTo>
                  <a:pt x="9609" y="105714"/>
                </a:lnTo>
                <a:lnTo>
                  <a:pt x="12201" y="110946"/>
                </a:lnTo>
                <a:lnTo>
                  <a:pt x="15058" y="116099"/>
                </a:lnTo>
                <a:lnTo>
                  <a:pt x="18147" y="121191"/>
                </a:lnTo>
                <a:lnTo>
                  <a:pt x="21438" y="126205"/>
                </a:lnTo>
                <a:lnTo>
                  <a:pt x="24931" y="131126"/>
                </a:lnTo>
                <a:lnTo>
                  <a:pt x="28594" y="135969"/>
                </a:lnTo>
                <a:lnTo>
                  <a:pt x="32413" y="140719"/>
                </a:lnTo>
                <a:lnTo>
                  <a:pt x="36371" y="145392"/>
                </a:lnTo>
                <a:lnTo>
                  <a:pt x="40454" y="149940"/>
                </a:lnTo>
                <a:lnTo>
                  <a:pt x="44630" y="154395"/>
                </a:lnTo>
                <a:lnTo>
                  <a:pt x="48883" y="158742"/>
                </a:lnTo>
                <a:lnTo>
                  <a:pt x="53199" y="162964"/>
                </a:lnTo>
                <a:lnTo>
                  <a:pt x="57545" y="167078"/>
                </a:lnTo>
                <a:lnTo>
                  <a:pt x="61938" y="171068"/>
                </a:lnTo>
                <a:lnTo>
                  <a:pt x="66316" y="174917"/>
                </a:lnTo>
                <a:lnTo>
                  <a:pt x="70678" y="178643"/>
                </a:lnTo>
                <a:lnTo>
                  <a:pt x="75024" y="182229"/>
                </a:lnTo>
                <a:lnTo>
                  <a:pt x="81420" y="187352"/>
                </a:lnTo>
                <a:lnTo>
                  <a:pt x="89663" y="193639"/>
                </a:lnTo>
                <a:lnTo>
                  <a:pt x="97425" y="199274"/>
                </a:lnTo>
                <a:lnTo>
                  <a:pt x="101057" y="201819"/>
                </a:lnTo>
                <a:lnTo>
                  <a:pt x="102454" y="202766"/>
                </a:lnTo>
                <a:lnTo>
                  <a:pt x="105342" y="204458"/>
                </a:lnTo>
                <a:lnTo>
                  <a:pt x="108338" y="205918"/>
                </a:lnTo>
                <a:lnTo>
                  <a:pt x="111396" y="207128"/>
                </a:lnTo>
                <a:lnTo>
                  <a:pt x="114516" y="208091"/>
                </a:lnTo>
                <a:lnTo>
                  <a:pt x="117683" y="208820"/>
                </a:lnTo>
                <a:lnTo>
                  <a:pt x="120896" y="209302"/>
                </a:lnTo>
                <a:lnTo>
                  <a:pt x="124125" y="209550"/>
                </a:lnTo>
                <a:lnTo>
                  <a:pt x="127354" y="209550"/>
                </a:lnTo>
                <a:lnTo>
                  <a:pt x="130583" y="209302"/>
                </a:lnTo>
                <a:lnTo>
                  <a:pt x="133796" y="208820"/>
                </a:lnTo>
                <a:lnTo>
                  <a:pt x="136963" y="208091"/>
                </a:lnTo>
                <a:lnTo>
                  <a:pt x="140098" y="207128"/>
                </a:lnTo>
                <a:lnTo>
                  <a:pt x="143156" y="205918"/>
                </a:lnTo>
                <a:lnTo>
                  <a:pt x="146137" y="204458"/>
                </a:lnTo>
                <a:lnTo>
                  <a:pt x="149024" y="202766"/>
                </a:lnTo>
                <a:lnTo>
                  <a:pt x="150421" y="201819"/>
                </a:lnTo>
                <a:lnTo>
                  <a:pt x="154038" y="199289"/>
                </a:lnTo>
                <a:lnTo>
                  <a:pt x="161769" y="193670"/>
                </a:lnTo>
                <a:lnTo>
                  <a:pt x="169981" y="187414"/>
                </a:lnTo>
                <a:lnTo>
                  <a:pt x="176361" y="182306"/>
                </a:lnTo>
                <a:lnTo>
                  <a:pt x="180676" y="178736"/>
                </a:lnTo>
                <a:lnTo>
                  <a:pt x="185023" y="175042"/>
                </a:lnTo>
                <a:lnTo>
                  <a:pt x="189385" y="171192"/>
                </a:lnTo>
                <a:lnTo>
                  <a:pt x="193763" y="167233"/>
                </a:lnTo>
                <a:lnTo>
                  <a:pt x="198094" y="163151"/>
                </a:lnTo>
                <a:lnTo>
                  <a:pt x="202394" y="158944"/>
                </a:lnTo>
                <a:lnTo>
                  <a:pt x="206647" y="154613"/>
                </a:lnTo>
                <a:lnTo>
                  <a:pt x="210807" y="150189"/>
                </a:lnTo>
                <a:lnTo>
                  <a:pt x="214874" y="145656"/>
                </a:lnTo>
                <a:lnTo>
                  <a:pt x="218817" y="141014"/>
                </a:lnTo>
                <a:lnTo>
                  <a:pt x="222636" y="136280"/>
                </a:lnTo>
                <a:lnTo>
                  <a:pt x="226300" y="131467"/>
                </a:lnTo>
                <a:lnTo>
                  <a:pt x="229792" y="126562"/>
                </a:lnTo>
                <a:lnTo>
                  <a:pt x="233083" y="121579"/>
                </a:lnTo>
                <a:lnTo>
                  <a:pt x="236173" y="116518"/>
                </a:lnTo>
                <a:lnTo>
                  <a:pt x="239044" y="111380"/>
                </a:lnTo>
                <a:lnTo>
                  <a:pt x="241652" y="106180"/>
                </a:lnTo>
                <a:lnTo>
                  <a:pt x="243996" y="100917"/>
                </a:lnTo>
                <a:lnTo>
                  <a:pt x="245564" y="96928"/>
                </a:lnTo>
                <a:lnTo>
                  <a:pt x="246527" y="94258"/>
                </a:lnTo>
                <a:lnTo>
                  <a:pt x="247396" y="91572"/>
                </a:lnTo>
                <a:lnTo>
                  <a:pt x="248203" y="88871"/>
                </a:lnTo>
                <a:lnTo>
                  <a:pt x="248917" y="86155"/>
                </a:lnTo>
                <a:lnTo>
                  <a:pt x="249554" y="83438"/>
                </a:lnTo>
                <a:lnTo>
                  <a:pt x="250112" y="80706"/>
                </a:lnTo>
                <a:lnTo>
                  <a:pt x="250563" y="77958"/>
                </a:lnTo>
                <a:lnTo>
                  <a:pt x="250935" y="75211"/>
                </a:lnTo>
                <a:lnTo>
                  <a:pt x="251215" y="72448"/>
                </a:lnTo>
                <a:lnTo>
                  <a:pt x="251385" y="69684"/>
                </a:lnTo>
                <a:lnTo>
                  <a:pt x="251479" y="66906"/>
                </a:lnTo>
                <a:lnTo>
                  <a:pt x="251463" y="64127"/>
                </a:lnTo>
                <a:lnTo>
                  <a:pt x="251339" y="61333"/>
                </a:lnTo>
                <a:lnTo>
                  <a:pt x="251230" y="59936"/>
                </a:lnTo>
                <a:lnTo>
                  <a:pt x="251199" y="59610"/>
                </a:lnTo>
                <a:lnTo>
                  <a:pt x="251184" y="59268"/>
                </a:lnTo>
                <a:lnTo>
                  <a:pt x="250966" y="57235"/>
                </a:lnTo>
                <a:lnTo>
                  <a:pt x="250361" y="53199"/>
                </a:lnTo>
                <a:lnTo>
                  <a:pt x="249507" y="49256"/>
                </a:lnTo>
                <a:lnTo>
                  <a:pt x="248436" y="45421"/>
                </a:lnTo>
                <a:lnTo>
                  <a:pt x="247132" y="41665"/>
                </a:lnTo>
                <a:lnTo>
                  <a:pt x="245626" y="38032"/>
                </a:lnTo>
                <a:lnTo>
                  <a:pt x="243919" y="34508"/>
                </a:lnTo>
                <a:lnTo>
                  <a:pt x="242009" y="31124"/>
                </a:lnTo>
                <a:lnTo>
                  <a:pt x="240969" y="29479"/>
                </a:lnTo>
                <a:lnTo>
                  <a:pt x="240209" y="28299"/>
                </a:lnTo>
                <a:lnTo>
                  <a:pt x="239401" y="27135"/>
                </a:lnTo>
                <a:lnTo>
                  <a:pt x="238594" y="26110"/>
                </a:lnTo>
                <a:lnTo>
                  <a:pt x="237244" y="24667"/>
                </a:lnTo>
                <a:lnTo>
                  <a:pt x="236281" y="23766"/>
                </a:lnTo>
                <a:lnTo>
                  <a:pt x="235784" y="23332"/>
                </a:lnTo>
                <a:lnTo>
                  <a:pt x="234837" y="22571"/>
                </a:lnTo>
                <a:lnTo>
                  <a:pt x="232882" y="21236"/>
                </a:lnTo>
                <a:lnTo>
                  <a:pt x="230832" y="20134"/>
                </a:lnTo>
                <a:lnTo>
                  <a:pt x="228690" y="19233"/>
                </a:lnTo>
                <a:lnTo>
                  <a:pt x="226517" y="18566"/>
                </a:lnTo>
                <a:lnTo>
                  <a:pt x="224297" y="18116"/>
                </a:lnTo>
                <a:lnTo>
                  <a:pt x="222046" y="17883"/>
                </a:lnTo>
                <a:lnTo>
                  <a:pt x="219795" y="17867"/>
                </a:lnTo>
                <a:lnTo>
                  <a:pt x="217544" y="18069"/>
                </a:lnTo>
                <a:lnTo>
                  <a:pt x="215325" y="18473"/>
                </a:lnTo>
                <a:lnTo>
                  <a:pt x="213167" y="19094"/>
                </a:lnTo>
                <a:lnTo>
                  <a:pt x="211056" y="19916"/>
                </a:lnTo>
                <a:lnTo>
                  <a:pt x="209007" y="20957"/>
                </a:lnTo>
                <a:lnTo>
                  <a:pt x="207082" y="22214"/>
                </a:lnTo>
                <a:lnTo>
                  <a:pt x="205250" y="23658"/>
                </a:lnTo>
                <a:lnTo>
                  <a:pt x="203542" y="25319"/>
                </a:lnTo>
                <a:lnTo>
                  <a:pt x="202751" y="26219"/>
                </a:lnTo>
                <a:lnTo>
                  <a:pt x="185504" y="46787"/>
                </a:lnTo>
                <a:lnTo>
                  <a:pt x="141775" y="98899"/>
                </a:lnTo>
                <a:lnTo>
                  <a:pt x="141232" y="99567"/>
                </a:lnTo>
                <a:lnTo>
                  <a:pt x="140285" y="100964"/>
                </a:lnTo>
                <a:lnTo>
                  <a:pt x="139508" y="102439"/>
                </a:lnTo>
                <a:lnTo>
                  <a:pt x="138903" y="103976"/>
                </a:lnTo>
                <a:lnTo>
                  <a:pt x="138468" y="105543"/>
                </a:lnTo>
                <a:lnTo>
                  <a:pt x="138189" y="107142"/>
                </a:lnTo>
                <a:lnTo>
                  <a:pt x="138065" y="108741"/>
                </a:lnTo>
                <a:lnTo>
                  <a:pt x="138111" y="110356"/>
                </a:lnTo>
                <a:lnTo>
                  <a:pt x="138329" y="111955"/>
                </a:lnTo>
                <a:lnTo>
                  <a:pt x="138701" y="113522"/>
                </a:lnTo>
                <a:lnTo>
                  <a:pt x="139229" y="115044"/>
                </a:lnTo>
                <a:lnTo>
                  <a:pt x="139912" y="116518"/>
                </a:lnTo>
                <a:lnTo>
                  <a:pt x="140750" y="117931"/>
                </a:lnTo>
                <a:lnTo>
                  <a:pt x="141759" y="119266"/>
                </a:lnTo>
                <a:lnTo>
                  <a:pt x="142908" y="120492"/>
                </a:lnTo>
                <a:lnTo>
                  <a:pt x="144212" y="121626"/>
                </a:lnTo>
                <a:lnTo>
                  <a:pt x="144926" y="122138"/>
                </a:lnTo>
                <a:lnTo>
                  <a:pt x="145438" y="122479"/>
                </a:lnTo>
                <a:lnTo>
                  <a:pt x="146494" y="123085"/>
                </a:lnTo>
                <a:lnTo>
                  <a:pt x="147581" y="123613"/>
                </a:lnTo>
                <a:lnTo>
                  <a:pt x="148698" y="124063"/>
                </a:lnTo>
                <a:lnTo>
                  <a:pt x="149863" y="124420"/>
                </a:lnTo>
                <a:lnTo>
                  <a:pt x="151042" y="124684"/>
                </a:lnTo>
                <a:lnTo>
                  <a:pt x="152238" y="124854"/>
                </a:lnTo>
                <a:lnTo>
                  <a:pt x="153448" y="124932"/>
                </a:lnTo>
                <a:lnTo>
                  <a:pt x="154069" y="124932"/>
                </a:lnTo>
                <a:lnTo>
                  <a:pt x="154939" y="124901"/>
                </a:lnTo>
                <a:lnTo>
                  <a:pt x="156662" y="124699"/>
                </a:lnTo>
                <a:lnTo>
                  <a:pt x="158338" y="124311"/>
                </a:lnTo>
                <a:lnTo>
                  <a:pt x="159937" y="123752"/>
                </a:lnTo>
                <a:lnTo>
                  <a:pt x="161459" y="123038"/>
                </a:lnTo>
                <a:lnTo>
                  <a:pt x="162902" y="122153"/>
                </a:lnTo>
                <a:lnTo>
                  <a:pt x="164253" y="121113"/>
                </a:lnTo>
                <a:lnTo>
                  <a:pt x="165495" y="119918"/>
                </a:lnTo>
                <a:lnTo>
                  <a:pt x="166053" y="119266"/>
                </a:lnTo>
                <a:lnTo>
                  <a:pt x="210357" y="66471"/>
                </a:lnTo>
                <a:lnTo>
                  <a:pt x="210668" y="66130"/>
                </a:lnTo>
                <a:lnTo>
                  <a:pt x="211366" y="65586"/>
                </a:lnTo>
                <a:lnTo>
                  <a:pt x="212142" y="65183"/>
                </a:lnTo>
                <a:lnTo>
                  <a:pt x="212965" y="64950"/>
                </a:lnTo>
                <a:lnTo>
                  <a:pt x="213819" y="64872"/>
                </a:lnTo>
                <a:lnTo>
                  <a:pt x="214673" y="64965"/>
                </a:lnTo>
                <a:lnTo>
                  <a:pt x="215495" y="65214"/>
                </a:lnTo>
                <a:lnTo>
                  <a:pt x="216272" y="65633"/>
                </a:lnTo>
                <a:lnTo>
                  <a:pt x="216644" y="65928"/>
                </a:lnTo>
                <a:lnTo>
                  <a:pt x="219252" y="68117"/>
                </a:lnTo>
                <a:lnTo>
                  <a:pt x="219578" y="68412"/>
                </a:lnTo>
                <a:lnTo>
                  <a:pt x="220137" y="69110"/>
                </a:lnTo>
                <a:lnTo>
                  <a:pt x="220525" y="69886"/>
                </a:lnTo>
                <a:lnTo>
                  <a:pt x="220773" y="70709"/>
                </a:lnTo>
                <a:lnTo>
                  <a:pt x="220835" y="71563"/>
                </a:lnTo>
                <a:lnTo>
                  <a:pt x="220758" y="72417"/>
                </a:lnTo>
                <a:lnTo>
                  <a:pt x="220494" y="73239"/>
                </a:lnTo>
                <a:lnTo>
                  <a:pt x="220075" y="74031"/>
                </a:lnTo>
                <a:lnTo>
                  <a:pt x="219795" y="74388"/>
                </a:lnTo>
                <a:lnTo>
                  <a:pt x="175492" y="127183"/>
                </a:lnTo>
                <a:lnTo>
                  <a:pt x="174560" y="128239"/>
                </a:lnTo>
                <a:lnTo>
                  <a:pt x="172573" y="130195"/>
                </a:lnTo>
                <a:lnTo>
                  <a:pt x="170431" y="131918"/>
                </a:lnTo>
                <a:lnTo>
                  <a:pt x="168134" y="133423"/>
                </a:lnTo>
                <a:lnTo>
                  <a:pt x="165696" y="134681"/>
                </a:lnTo>
                <a:lnTo>
                  <a:pt x="163151" y="135705"/>
                </a:lnTo>
                <a:lnTo>
                  <a:pt x="160512" y="136481"/>
                </a:lnTo>
                <a:lnTo>
                  <a:pt x="157764" y="136994"/>
                </a:lnTo>
                <a:lnTo>
                  <a:pt x="156367" y="137133"/>
                </a:lnTo>
                <a:lnTo>
                  <a:pt x="155109" y="137227"/>
                </a:lnTo>
                <a:lnTo>
                  <a:pt x="153868" y="137242"/>
                </a:lnTo>
                <a:lnTo>
                  <a:pt x="152626" y="137227"/>
                </a:lnTo>
                <a:lnTo>
                  <a:pt x="150189" y="137009"/>
                </a:lnTo>
                <a:lnTo>
                  <a:pt x="147782" y="136590"/>
                </a:lnTo>
                <a:lnTo>
                  <a:pt x="145438" y="135954"/>
                </a:lnTo>
                <a:lnTo>
                  <a:pt x="143141" y="135131"/>
                </a:lnTo>
                <a:lnTo>
                  <a:pt x="140937" y="134091"/>
                </a:lnTo>
                <a:lnTo>
                  <a:pt x="138810" y="132865"/>
                </a:lnTo>
                <a:lnTo>
                  <a:pt x="136776" y="131436"/>
                </a:lnTo>
                <a:lnTo>
                  <a:pt x="135814" y="130645"/>
                </a:lnTo>
                <a:lnTo>
                  <a:pt x="135255" y="130179"/>
                </a:lnTo>
                <a:lnTo>
                  <a:pt x="134200" y="129201"/>
                </a:lnTo>
                <a:lnTo>
                  <a:pt x="132725" y="127649"/>
                </a:lnTo>
                <a:lnTo>
                  <a:pt x="130986" y="125460"/>
                </a:lnTo>
                <a:lnTo>
                  <a:pt x="129496" y="123131"/>
                </a:lnTo>
                <a:lnTo>
                  <a:pt x="128254" y="120679"/>
                </a:lnTo>
                <a:lnTo>
                  <a:pt x="127245" y="118148"/>
                </a:lnTo>
                <a:lnTo>
                  <a:pt x="126500" y="115540"/>
                </a:lnTo>
                <a:lnTo>
                  <a:pt x="126019" y="112870"/>
                </a:lnTo>
                <a:lnTo>
                  <a:pt x="125786" y="110185"/>
                </a:lnTo>
                <a:lnTo>
                  <a:pt x="125801" y="107468"/>
                </a:lnTo>
                <a:lnTo>
                  <a:pt x="126081" y="104783"/>
                </a:lnTo>
                <a:lnTo>
                  <a:pt x="126624" y="102113"/>
                </a:lnTo>
                <a:lnTo>
                  <a:pt x="127431" y="99489"/>
                </a:lnTo>
                <a:lnTo>
                  <a:pt x="128487" y="96928"/>
                </a:lnTo>
                <a:lnTo>
                  <a:pt x="129822" y="94460"/>
                </a:lnTo>
                <a:lnTo>
                  <a:pt x="131017" y="92690"/>
                </a:lnTo>
                <a:lnTo>
                  <a:pt x="131887" y="91541"/>
                </a:lnTo>
                <a:lnTo>
                  <a:pt x="132337" y="90967"/>
                </a:lnTo>
                <a:lnTo>
                  <a:pt x="157966" y="60432"/>
                </a:lnTo>
                <a:lnTo>
                  <a:pt x="193312" y="18302"/>
                </a:lnTo>
                <a:lnTo>
                  <a:pt x="193856" y="17681"/>
                </a:lnTo>
                <a:lnTo>
                  <a:pt x="194958" y="16470"/>
                </a:lnTo>
                <a:lnTo>
                  <a:pt x="196697" y="14778"/>
                </a:lnTo>
                <a:lnTo>
                  <a:pt x="199149" y="12745"/>
                </a:lnTo>
                <a:lnTo>
                  <a:pt x="201757" y="10960"/>
                </a:lnTo>
                <a:lnTo>
                  <a:pt x="204474" y="9423"/>
                </a:lnTo>
                <a:lnTo>
                  <a:pt x="207299" y="8134"/>
                </a:lnTo>
                <a:lnTo>
                  <a:pt x="210217" y="7110"/>
                </a:lnTo>
                <a:lnTo>
                  <a:pt x="213198" y="6334"/>
                </a:lnTo>
                <a:lnTo>
                  <a:pt x="214704" y="6054"/>
                </a:lnTo>
                <a:lnTo>
                  <a:pt x="213105" y="5309"/>
                </a:lnTo>
                <a:lnTo>
                  <a:pt x="209860" y="3958"/>
                </a:lnTo>
                <a:lnTo>
                  <a:pt x="206523" y="2810"/>
                </a:lnTo>
                <a:lnTo>
                  <a:pt x="203108" y="1832"/>
                </a:lnTo>
                <a:lnTo>
                  <a:pt x="199630" y="1056"/>
                </a:lnTo>
                <a:lnTo>
                  <a:pt x="196091" y="497"/>
                </a:lnTo>
                <a:lnTo>
                  <a:pt x="192505" y="140"/>
                </a:lnTo>
                <a:lnTo>
                  <a:pt x="188857" y="0"/>
                </a:lnTo>
                <a:lnTo>
                  <a:pt x="187010" y="16"/>
                </a:lnTo>
                <a:lnTo>
                  <a:pt x="185737" y="47"/>
                </a:lnTo>
                <a:lnTo>
                  <a:pt x="183222" y="202"/>
                </a:lnTo>
                <a:lnTo>
                  <a:pt x="180723" y="450"/>
                </a:lnTo>
                <a:lnTo>
                  <a:pt x="178255" y="776"/>
                </a:lnTo>
                <a:lnTo>
                  <a:pt x="175802" y="1195"/>
                </a:lnTo>
                <a:lnTo>
                  <a:pt x="173380" y="1708"/>
                </a:lnTo>
                <a:lnTo>
                  <a:pt x="171005" y="2313"/>
                </a:lnTo>
                <a:lnTo>
                  <a:pt x="168646" y="2996"/>
                </a:lnTo>
                <a:lnTo>
                  <a:pt x="166317" y="3757"/>
                </a:lnTo>
                <a:lnTo>
                  <a:pt x="164035" y="4610"/>
                </a:lnTo>
                <a:lnTo>
                  <a:pt x="161800" y="5542"/>
                </a:lnTo>
                <a:lnTo>
                  <a:pt x="159596" y="6551"/>
                </a:lnTo>
                <a:lnTo>
                  <a:pt x="157422" y="7638"/>
                </a:lnTo>
                <a:lnTo>
                  <a:pt x="155311" y="8786"/>
                </a:lnTo>
                <a:lnTo>
                  <a:pt x="153247" y="10028"/>
                </a:lnTo>
                <a:lnTo>
                  <a:pt x="151213" y="11332"/>
                </a:lnTo>
                <a:lnTo>
                  <a:pt x="149257" y="12714"/>
                </a:lnTo>
                <a:lnTo>
                  <a:pt x="147332" y="14157"/>
                </a:lnTo>
                <a:lnTo>
                  <a:pt x="145469" y="15679"/>
                </a:lnTo>
                <a:lnTo>
                  <a:pt x="143669" y="17262"/>
                </a:lnTo>
                <a:lnTo>
                  <a:pt x="141930" y="18907"/>
                </a:lnTo>
                <a:lnTo>
                  <a:pt x="140254" y="20615"/>
                </a:lnTo>
                <a:lnTo>
                  <a:pt x="138624" y="22385"/>
                </a:lnTo>
                <a:lnTo>
                  <a:pt x="137071" y="24216"/>
                </a:lnTo>
                <a:lnTo>
                  <a:pt x="135597" y="26095"/>
                </a:lnTo>
                <a:lnTo>
                  <a:pt x="134184" y="28035"/>
                </a:lnTo>
                <a:lnTo>
                  <a:pt x="132833" y="30038"/>
                </a:lnTo>
                <a:lnTo>
                  <a:pt x="131561" y="32102"/>
                </a:lnTo>
                <a:lnTo>
                  <a:pt x="130381" y="34198"/>
                </a:lnTo>
                <a:lnTo>
                  <a:pt x="129263" y="36356"/>
                </a:lnTo>
                <a:lnTo>
                  <a:pt x="128223" y="38560"/>
                </a:lnTo>
                <a:lnTo>
                  <a:pt x="127276" y="40826"/>
                </a:lnTo>
                <a:lnTo>
                  <a:pt x="126841" y="41960"/>
                </a:lnTo>
                <a:lnTo>
                  <a:pt x="126717" y="42270"/>
                </a:lnTo>
                <a:lnTo>
                  <a:pt x="126469" y="42720"/>
                </a:lnTo>
                <a:lnTo>
                  <a:pt x="126205" y="42969"/>
                </a:lnTo>
                <a:lnTo>
                  <a:pt x="125910" y="43062"/>
                </a:lnTo>
                <a:lnTo>
                  <a:pt x="125739" y="43077"/>
                </a:lnTo>
                <a:lnTo>
                  <a:pt x="125569" y="43062"/>
                </a:lnTo>
                <a:lnTo>
                  <a:pt x="125274" y="42969"/>
                </a:lnTo>
                <a:lnTo>
                  <a:pt x="125010" y="42720"/>
                </a:lnTo>
                <a:lnTo>
                  <a:pt x="124761" y="42270"/>
                </a:lnTo>
                <a:lnTo>
                  <a:pt x="124637" y="41960"/>
                </a:lnTo>
                <a:lnTo>
                  <a:pt x="124202" y="40826"/>
                </a:lnTo>
                <a:lnTo>
                  <a:pt x="123256" y="38560"/>
                </a:lnTo>
                <a:lnTo>
                  <a:pt x="122215" y="36356"/>
                </a:lnTo>
                <a:lnTo>
                  <a:pt x="121098" y="34198"/>
                </a:lnTo>
                <a:lnTo>
                  <a:pt x="119918" y="32102"/>
                </a:lnTo>
                <a:lnTo>
                  <a:pt x="118645" y="30038"/>
                </a:lnTo>
                <a:lnTo>
                  <a:pt x="117295" y="28035"/>
                </a:lnTo>
                <a:lnTo>
                  <a:pt x="115882" y="26095"/>
                </a:lnTo>
                <a:lnTo>
                  <a:pt x="114407" y="24216"/>
                </a:lnTo>
                <a:lnTo>
                  <a:pt x="112855" y="22385"/>
                </a:lnTo>
                <a:lnTo>
                  <a:pt x="111225" y="20615"/>
                </a:lnTo>
                <a:lnTo>
                  <a:pt x="109548" y="18907"/>
                </a:lnTo>
                <a:lnTo>
                  <a:pt x="107810" y="17262"/>
                </a:lnTo>
                <a:lnTo>
                  <a:pt x="106009" y="15679"/>
                </a:lnTo>
                <a:lnTo>
                  <a:pt x="104146" y="14157"/>
                </a:lnTo>
                <a:lnTo>
                  <a:pt x="102221" y="12714"/>
                </a:lnTo>
                <a:lnTo>
                  <a:pt x="100265" y="11332"/>
                </a:lnTo>
                <a:lnTo>
                  <a:pt x="98232" y="10028"/>
                </a:lnTo>
                <a:lnTo>
                  <a:pt x="96167" y="8786"/>
                </a:lnTo>
                <a:lnTo>
                  <a:pt x="94056" y="7638"/>
                </a:lnTo>
                <a:lnTo>
                  <a:pt x="91883" y="6551"/>
                </a:lnTo>
                <a:lnTo>
                  <a:pt x="89678" y="5542"/>
                </a:lnTo>
                <a:lnTo>
                  <a:pt x="87443" y="4610"/>
                </a:lnTo>
                <a:lnTo>
                  <a:pt x="85161" y="3757"/>
                </a:lnTo>
                <a:lnTo>
                  <a:pt x="82833" y="2996"/>
                </a:lnTo>
                <a:lnTo>
                  <a:pt x="80473" y="2313"/>
                </a:lnTo>
                <a:lnTo>
                  <a:pt x="78098" y="1708"/>
                </a:lnTo>
                <a:lnTo>
                  <a:pt x="75676" y="1195"/>
                </a:lnTo>
                <a:lnTo>
                  <a:pt x="73224" y="776"/>
                </a:lnTo>
                <a:lnTo>
                  <a:pt x="70756" y="450"/>
                </a:lnTo>
                <a:lnTo>
                  <a:pt x="68256" y="202"/>
                </a:lnTo>
                <a:lnTo>
                  <a:pt x="65741" y="47"/>
                </a:lnTo>
                <a:lnTo>
                  <a:pt x="64469" y="16"/>
                </a:lnTo>
                <a:lnTo>
                  <a:pt x="62932" y="0"/>
                </a:lnTo>
                <a:close/>
              </a:path>
            </a:pathLst>
          </a:custGeom>
          <a:solidFill>
            <a:srgbClr val="F7224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47" name="Google Shape;647;p52"/>
          <p:cNvSpPr/>
          <p:nvPr/>
        </p:nvSpPr>
        <p:spPr>
          <a:xfrm>
            <a:off x="11525533" y="364133"/>
            <a:ext cx="365273" cy="304371"/>
          </a:xfrm>
          <a:custGeom>
            <a:avLst/>
            <a:gdLst/>
            <a:ahLst/>
            <a:cxnLst/>
            <a:rect l="l" t="t" r="r" b="b"/>
            <a:pathLst>
              <a:path w="251479" h="209550" extrusionOk="0">
                <a:moveTo>
                  <a:pt x="62932" y="0"/>
                </a:moveTo>
                <a:lnTo>
                  <a:pt x="59858" y="78"/>
                </a:lnTo>
                <a:lnTo>
                  <a:pt x="56847" y="326"/>
                </a:lnTo>
                <a:lnTo>
                  <a:pt x="53851" y="714"/>
                </a:lnTo>
                <a:lnTo>
                  <a:pt x="50901" y="1257"/>
                </a:lnTo>
                <a:lnTo>
                  <a:pt x="47998" y="1925"/>
                </a:lnTo>
                <a:lnTo>
                  <a:pt x="45142" y="2748"/>
                </a:lnTo>
                <a:lnTo>
                  <a:pt x="42348" y="3695"/>
                </a:lnTo>
                <a:lnTo>
                  <a:pt x="39600" y="4781"/>
                </a:lnTo>
                <a:lnTo>
                  <a:pt x="36915" y="5992"/>
                </a:lnTo>
                <a:lnTo>
                  <a:pt x="34291" y="7327"/>
                </a:lnTo>
                <a:lnTo>
                  <a:pt x="31730" y="8786"/>
                </a:lnTo>
                <a:lnTo>
                  <a:pt x="29246" y="10354"/>
                </a:lnTo>
                <a:lnTo>
                  <a:pt x="26840" y="12031"/>
                </a:lnTo>
                <a:lnTo>
                  <a:pt x="24511" y="13831"/>
                </a:lnTo>
                <a:lnTo>
                  <a:pt x="22261" y="15741"/>
                </a:lnTo>
                <a:lnTo>
                  <a:pt x="20087" y="17743"/>
                </a:lnTo>
                <a:lnTo>
                  <a:pt x="18023" y="19839"/>
                </a:lnTo>
                <a:lnTo>
                  <a:pt x="16036" y="22043"/>
                </a:lnTo>
                <a:lnTo>
                  <a:pt x="14157" y="24325"/>
                </a:lnTo>
                <a:lnTo>
                  <a:pt x="12372" y="26716"/>
                </a:lnTo>
                <a:lnTo>
                  <a:pt x="10696" y="29168"/>
                </a:lnTo>
                <a:lnTo>
                  <a:pt x="9112" y="31714"/>
                </a:lnTo>
                <a:lnTo>
                  <a:pt x="7653" y="34338"/>
                </a:lnTo>
                <a:lnTo>
                  <a:pt x="6318" y="37039"/>
                </a:lnTo>
                <a:lnTo>
                  <a:pt x="5092" y="39802"/>
                </a:lnTo>
                <a:lnTo>
                  <a:pt x="3990" y="42643"/>
                </a:lnTo>
                <a:lnTo>
                  <a:pt x="3012" y="45546"/>
                </a:lnTo>
                <a:lnTo>
                  <a:pt x="2173" y="48495"/>
                </a:lnTo>
                <a:lnTo>
                  <a:pt x="1459" y="51507"/>
                </a:lnTo>
                <a:lnTo>
                  <a:pt x="885" y="54580"/>
                </a:lnTo>
                <a:lnTo>
                  <a:pt x="450" y="57700"/>
                </a:lnTo>
                <a:lnTo>
                  <a:pt x="310" y="59268"/>
                </a:lnTo>
                <a:lnTo>
                  <a:pt x="186" y="60665"/>
                </a:lnTo>
                <a:lnTo>
                  <a:pt x="31" y="63475"/>
                </a:lnTo>
                <a:lnTo>
                  <a:pt x="0" y="66269"/>
                </a:lnTo>
                <a:lnTo>
                  <a:pt x="62" y="69063"/>
                </a:lnTo>
                <a:lnTo>
                  <a:pt x="217" y="71842"/>
                </a:lnTo>
                <a:lnTo>
                  <a:pt x="466" y="74605"/>
                </a:lnTo>
                <a:lnTo>
                  <a:pt x="823" y="77368"/>
                </a:lnTo>
                <a:lnTo>
                  <a:pt x="1257" y="80132"/>
                </a:lnTo>
                <a:lnTo>
                  <a:pt x="1801" y="82864"/>
                </a:lnTo>
                <a:lnTo>
                  <a:pt x="2422" y="85611"/>
                </a:lnTo>
                <a:lnTo>
                  <a:pt x="3120" y="88328"/>
                </a:lnTo>
                <a:lnTo>
                  <a:pt x="3912" y="91045"/>
                </a:lnTo>
                <a:lnTo>
                  <a:pt x="4781" y="93730"/>
                </a:lnTo>
                <a:lnTo>
                  <a:pt x="5728" y="96416"/>
                </a:lnTo>
                <a:lnTo>
                  <a:pt x="7280" y="100436"/>
                </a:lnTo>
                <a:lnTo>
                  <a:pt x="9609" y="105714"/>
                </a:lnTo>
                <a:lnTo>
                  <a:pt x="12201" y="110946"/>
                </a:lnTo>
                <a:lnTo>
                  <a:pt x="15058" y="116099"/>
                </a:lnTo>
                <a:lnTo>
                  <a:pt x="18147" y="121191"/>
                </a:lnTo>
                <a:lnTo>
                  <a:pt x="21438" y="126205"/>
                </a:lnTo>
                <a:lnTo>
                  <a:pt x="24931" y="131126"/>
                </a:lnTo>
                <a:lnTo>
                  <a:pt x="28594" y="135969"/>
                </a:lnTo>
                <a:lnTo>
                  <a:pt x="32413" y="140719"/>
                </a:lnTo>
                <a:lnTo>
                  <a:pt x="36371" y="145392"/>
                </a:lnTo>
                <a:lnTo>
                  <a:pt x="40454" y="149940"/>
                </a:lnTo>
                <a:lnTo>
                  <a:pt x="44630" y="154395"/>
                </a:lnTo>
                <a:lnTo>
                  <a:pt x="48883" y="158742"/>
                </a:lnTo>
                <a:lnTo>
                  <a:pt x="53199" y="162964"/>
                </a:lnTo>
                <a:lnTo>
                  <a:pt x="57545" y="167078"/>
                </a:lnTo>
                <a:lnTo>
                  <a:pt x="61938" y="171068"/>
                </a:lnTo>
                <a:lnTo>
                  <a:pt x="66316" y="174917"/>
                </a:lnTo>
                <a:lnTo>
                  <a:pt x="70678" y="178643"/>
                </a:lnTo>
                <a:lnTo>
                  <a:pt x="75024" y="182229"/>
                </a:lnTo>
                <a:lnTo>
                  <a:pt x="81420" y="187352"/>
                </a:lnTo>
                <a:lnTo>
                  <a:pt x="89663" y="193639"/>
                </a:lnTo>
                <a:lnTo>
                  <a:pt x="97425" y="199274"/>
                </a:lnTo>
                <a:lnTo>
                  <a:pt x="101057" y="201819"/>
                </a:lnTo>
                <a:lnTo>
                  <a:pt x="102454" y="202766"/>
                </a:lnTo>
                <a:lnTo>
                  <a:pt x="105342" y="204458"/>
                </a:lnTo>
                <a:lnTo>
                  <a:pt x="108338" y="205918"/>
                </a:lnTo>
                <a:lnTo>
                  <a:pt x="111396" y="207128"/>
                </a:lnTo>
                <a:lnTo>
                  <a:pt x="114516" y="208091"/>
                </a:lnTo>
                <a:lnTo>
                  <a:pt x="117683" y="208820"/>
                </a:lnTo>
                <a:lnTo>
                  <a:pt x="120896" y="209302"/>
                </a:lnTo>
                <a:lnTo>
                  <a:pt x="124125" y="209550"/>
                </a:lnTo>
                <a:lnTo>
                  <a:pt x="127354" y="209550"/>
                </a:lnTo>
                <a:lnTo>
                  <a:pt x="130583" y="209302"/>
                </a:lnTo>
                <a:lnTo>
                  <a:pt x="133796" y="208820"/>
                </a:lnTo>
                <a:lnTo>
                  <a:pt x="136963" y="208091"/>
                </a:lnTo>
                <a:lnTo>
                  <a:pt x="140098" y="207128"/>
                </a:lnTo>
                <a:lnTo>
                  <a:pt x="143156" y="205918"/>
                </a:lnTo>
                <a:lnTo>
                  <a:pt x="146137" y="204458"/>
                </a:lnTo>
                <a:lnTo>
                  <a:pt x="149024" y="202766"/>
                </a:lnTo>
                <a:lnTo>
                  <a:pt x="150421" y="201819"/>
                </a:lnTo>
                <a:lnTo>
                  <a:pt x="154038" y="199289"/>
                </a:lnTo>
                <a:lnTo>
                  <a:pt x="161769" y="193670"/>
                </a:lnTo>
                <a:lnTo>
                  <a:pt x="169981" y="187414"/>
                </a:lnTo>
                <a:lnTo>
                  <a:pt x="176361" y="182306"/>
                </a:lnTo>
                <a:lnTo>
                  <a:pt x="180676" y="178736"/>
                </a:lnTo>
                <a:lnTo>
                  <a:pt x="185023" y="175042"/>
                </a:lnTo>
                <a:lnTo>
                  <a:pt x="189385" y="171192"/>
                </a:lnTo>
                <a:lnTo>
                  <a:pt x="193763" y="167233"/>
                </a:lnTo>
                <a:lnTo>
                  <a:pt x="198094" y="163151"/>
                </a:lnTo>
                <a:lnTo>
                  <a:pt x="202394" y="158944"/>
                </a:lnTo>
                <a:lnTo>
                  <a:pt x="206647" y="154613"/>
                </a:lnTo>
                <a:lnTo>
                  <a:pt x="210807" y="150189"/>
                </a:lnTo>
                <a:lnTo>
                  <a:pt x="214874" y="145656"/>
                </a:lnTo>
                <a:lnTo>
                  <a:pt x="218817" y="141014"/>
                </a:lnTo>
                <a:lnTo>
                  <a:pt x="222636" y="136280"/>
                </a:lnTo>
                <a:lnTo>
                  <a:pt x="226300" y="131467"/>
                </a:lnTo>
                <a:lnTo>
                  <a:pt x="229792" y="126562"/>
                </a:lnTo>
                <a:lnTo>
                  <a:pt x="233083" y="121579"/>
                </a:lnTo>
                <a:lnTo>
                  <a:pt x="236173" y="116518"/>
                </a:lnTo>
                <a:lnTo>
                  <a:pt x="239044" y="111380"/>
                </a:lnTo>
                <a:lnTo>
                  <a:pt x="241652" y="106180"/>
                </a:lnTo>
                <a:lnTo>
                  <a:pt x="243996" y="100917"/>
                </a:lnTo>
                <a:lnTo>
                  <a:pt x="245564" y="96928"/>
                </a:lnTo>
                <a:lnTo>
                  <a:pt x="246527" y="94258"/>
                </a:lnTo>
                <a:lnTo>
                  <a:pt x="247396" y="91572"/>
                </a:lnTo>
                <a:lnTo>
                  <a:pt x="248203" y="88871"/>
                </a:lnTo>
                <a:lnTo>
                  <a:pt x="248917" y="86155"/>
                </a:lnTo>
                <a:lnTo>
                  <a:pt x="249554" y="83438"/>
                </a:lnTo>
                <a:lnTo>
                  <a:pt x="250112" y="80706"/>
                </a:lnTo>
                <a:lnTo>
                  <a:pt x="250563" y="77958"/>
                </a:lnTo>
                <a:lnTo>
                  <a:pt x="250935" y="75211"/>
                </a:lnTo>
                <a:lnTo>
                  <a:pt x="251215" y="72448"/>
                </a:lnTo>
                <a:lnTo>
                  <a:pt x="251385" y="69684"/>
                </a:lnTo>
                <a:lnTo>
                  <a:pt x="251479" y="66906"/>
                </a:lnTo>
                <a:lnTo>
                  <a:pt x="251463" y="64127"/>
                </a:lnTo>
                <a:lnTo>
                  <a:pt x="251339" y="61333"/>
                </a:lnTo>
                <a:lnTo>
                  <a:pt x="251230" y="59936"/>
                </a:lnTo>
                <a:lnTo>
                  <a:pt x="251199" y="59610"/>
                </a:lnTo>
                <a:lnTo>
                  <a:pt x="251184" y="59268"/>
                </a:lnTo>
                <a:lnTo>
                  <a:pt x="250966" y="57235"/>
                </a:lnTo>
                <a:lnTo>
                  <a:pt x="250361" y="53199"/>
                </a:lnTo>
                <a:lnTo>
                  <a:pt x="249507" y="49256"/>
                </a:lnTo>
                <a:lnTo>
                  <a:pt x="248436" y="45421"/>
                </a:lnTo>
                <a:lnTo>
                  <a:pt x="247132" y="41665"/>
                </a:lnTo>
                <a:lnTo>
                  <a:pt x="245626" y="38032"/>
                </a:lnTo>
                <a:lnTo>
                  <a:pt x="243919" y="34508"/>
                </a:lnTo>
                <a:lnTo>
                  <a:pt x="242009" y="31124"/>
                </a:lnTo>
                <a:lnTo>
                  <a:pt x="240969" y="29479"/>
                </a:lnTo>
                <a:lnTo>
                  <a:pt x="240209" y="28299"/>
                </a:lnTo>
                <a:lnTo>
                  <a:pt x="239401" y="27135"/>
                </a:lnTo>
                <a:lnTo>
                  <a:pt x="238594" y="26110"/>
                </a:lnTo>
                <a:lnTo>
                  <a:pt x="237244" y="24667"/>
                </a:lnTo>
                <a:lnTo>
                  <a:pt x="236281" y="23766"/>
                </a:lnTo>
                <a:lnTo>
                  <a:pt x="235784" y="23332"/>
                </a:lnTo>
                <a:lnTo>
                  <a:pt x="234837" y="22571"/>
                </a:lnTo>
                <a:lnTo>
                  <a:pt x="232882" y="21236"/>
                </a:lnTo>
                <a:lnTo>
                  <a:pt x="230832" y="20134"/>
                </a:lnTo>
                <a:lnTo>
                  <a:pt x="228690" y="19233"/>
                </a:lnTo>
                <a:lnTo>
                  <a:pt x="226517" y="18566"/>
                </a:lnTo>
                <a:lnTo>
                  <a:pt x="224297" y="18116"/>
                </a:lnTo>
                <a:lnTo>
                  <a:pt x="222046" y="17883"/>
                </a:lnTo>
                <a:lnTo>
                  <a:pt x="219795" y="17867"/>
                </a:lnTo>
                <a:lnTo>
                  <a:pt x="217544" y="18069"/>
                </a:lnTo>
                <a:lnTo>
                  <a:pt x="215325" y="18473"/>
                </a:lnTo>
                <a:lnTo>
                  <a:pt x="213167" y="19094"/>
                </a:lnTo>
                <a:lnTo>
                  <a:pt x="211056" y="19916"/>
                </a:lnTo>
                <a:lnTo>
                  <a:pt x="209007" y="20957"/>
                </a:lnTo>
                <a:lnTo>
                  <a:pt x="207082" y="22214"/>
                </a:lnTo>
                <a:lnTo>
                  <a:pt x="205250" y="23658"/>
                </a:lnTo>
                <a:lnTo>
                  <a:pt x="203542" y="25319"/>
                </a:lnTo>
                <a:lnTo>
                  <a:pt x="202751" y="26219"/>
                </a:lnTo>
                <a:lnTo>
                  <a:pt x="185504" y="46787"/>
                </a:lnTo>
                <a:lnTo>
                  <a:pt x="141775" y="98899"/>
                </a:lnTo>
                <a:lnTo>
                  <a:pt x="141232" y="99567"/>
                </a:lnTo>
                <a:lnTo>
                  <a:pt x="140285" y="100964"/>
                </a:lnTo>
                <a:lnTo>
                  <a:pt x="139508" y="102439"/>
                </a:lnTo>
                <a:lnTo>
                  <a:pt x="138903" y="103976"/>
                </a:lnTo>
                <a:lnTo>
                  <a:pt x="138468" y="105543"/>
                </a:lnTo>
                <a:lnTo>
                  <a:pt x="138189" y="107142"/>
                </a:lnTo>
                <a:lnTo>
                  <a:pt x="138065" y="108741"/>
                </a:lnTo>
                <a:lnTo>
                  <a:pt x="138111" y="110356"/>
                </a:lnTo>
                <a:lnTo>
                  <a:pt x="138329" y="111955"/>
                </a:lnTo>
                <a:lnTo>
                  <a:pt x="138701" y="113522"/>
                </a:lnTo>
                <a:lnTo>
                  <a:pt x="139229" y="115044"/>
                </a:lnTo>
                <a:lnTo>
                  <a:pt x="139912" y="116518"/>
                </a:lnTo>
                <a:lnTo>
                  <a:pt x="140750" y="117931"/>
                </a:lnTo>
                <a:lnTo>
                  <a:pt x="141759" y="119266"/>
                </a:lnTo>
                <a:lnTo>
                  <a:pt x="142908" y="120492"/>
                </a:lnTo>
                <a:lnTo>
                  <a:pt x="144212" y="121626"/>
                </a:lnTo>
                <a:lnTo>
                  <a:pt x="144926" y="122138"/>
                </a:lnTo>
                <a:lnTo>
                  <a:pt x="145438" y="122479"/>
                </a:lnTo>
                <a:lnTo>
                  <a:pt x="146494" y="123085"/>
                </a:lnTo>
                <a:lnTo>
                  <a:pt x="147581" y="123613"/>
                </a:lnTo>
                <a:lnTo>
                  <a:pt x="148698" y="124063"/>
                </a:lnTo>
                <a:lnTo>
                  <a:pt x="149863" y="124420"/>
                </a:lnTo>
                <a:lnTo>
                  <a:pt x="151042" y="124684"/>
                </a:lnTo>
                <a:lnTo>
                  <a:pt x="152238" y="124854"/>
                </a:lnTo>
                <a:lnTo>
                  <a:pt x="153448" y="124932"/>
                </a:lnTo>
                <a:lnTo>
                  <a:pt x="154069" y="124932"/>
                </a:lnTo>
                <a:lnTo>
                  <a:pt x="154939" y="124901"/>
                </a:lnTo>
                <a:lnTo>
                  <a:pt x="156662" y="124699"/>
                </a:lnTo>
                <a:lnTo>
                  <a:pt x="158338" y="124311"/>
                </a:lnTo>
                <a:lnTo>
                  <a:pt x="159937" y="123752"/>
                </a:lnTo>
                <a:lnTo>
                  <a:pt x="161459" y="123038"/>
                </a:lnTo>
                <a:lnTo>
                  <a:pt x="162902" y="122153"/>
                </a:lnTo>
                <a:lnTo>
                  <a:pt x="164253" y="121113"/>
                </a:lnTo>
                <a:lnTo>
                  <a:pt x="165495" y="119918"/>
                </a:lnTo>
                <a:lnTo>
                  <a:pt x="166053" y="119266"/>
                </a:lnTo>
                <a:lnTo>
                  <a:pt x="210357" y="66471"/>
                </a:lnTo>
                <a:lnTo>
                  <a:pt x="210668" y="66130"/>
                </a:lnTo>
                <a:lnTo>
                  <a:pt x="211366" y="65586"/>
                </a:lnTo>
                <a:lnTo>
                  <a:pt x="212142" y="65183"/>
                </a:lnTo>
                <a:lnTo>
                  <a:pt x="212965" y="64950"/>
                </a:lnTo>
                <a:lnTo>
                  <a:pt x="213819" y="64872"/>
                </a:lnTo>
                <a:lnTo>
                  <a:pt x="214673" y="64965"/>
                </a:lnTo>
                <a:lnTo>
                  <a:pt x="215495" y="65214"/>
                </a:lnTo>
                <a:lnTo>
                  <a:pt x="216272" y="65633"/>
                </a:lnTo>
                <a:lnTo>
                  <a:pt x="216644" y="65928"/>
                </a:lnTo>
                <a:lnTo>
                  <a:pt x="219252" y="68117"/>
                </a:lnTo>
                <a:lnTo>
                  <a:pt x="219578" y="68412"/>
                </a:lnTo>
                <a:lnTo>
                  <a:pt x="220137" y="69110"/>
                </a:lnTo>
                <a:lnTo>
                  <a:pt x="220525" y="69886"/>
                </a:lnTo>
                <a:lnTo>
                  <a:pt x="220773" y="70709"/>
                </a:lnTo>
                <a:lnTo>
                  <a:pt x="220835" y="71563"/>
                </a:lnTo>
                <a:lnTo>
                  <a:pt x="220758" y="72417"/>
                </a:lnTo>
                <a:lnTo>
                  <a:pt x="220494" y="73239"/>
                </a:lnTo>
                <a:lnTo>
                  <a:pt x="220075" y="74031"/>
                </a:lnTo>
                <a:lnTo>
                  <a:pt x="219795" y="74388"/>
                </a:lnTo>
                <a:lnTo>
                  <a:pt x="175492" y="127183"/>
                </a:lnTo>
                <a:lnTo>
                  <a:pt x="174560" y="128239"/>
                </a:lnTo>
                <a:lnTo>
                  <a:pt x="172573" y="130195"/>
                </a:lnTo>
                <a:lnTo>
                  <a:pt x="170431" y="131918"/>
                </a:lnTo>
                <a:lnTo>
                  <a:pt x="168134" y="133423"/>
                </a:lnTo>
                <a:lnTo>
                  <a:pt x="165696" y="134681"/>
                </a:lnTo>
                <a:lnTo>
                  <a:pt x="163151" y="135705"/>
                </a:lnTo>
                <a:lnTo>
                  <a:pt x="160512" y="136481"/>
                </a:lnTo>
                <a:lnTo>
                  <a:pt x="157764" y="136994"/>
                </a:lnTo>
                <a:lnTo>
                  <a:pt x="156367" y="137133"/>
                </a:lnTo>
                <a:lnTo>
                  <a:pt x="155109" y="137227"/>
                </a:lnTo>
                <a:lnTo>
                  <a:pt x="153868" y="137242"/>
                </a:lnTo>
                <a:lnTo>
                  <a:pt x="152626" y="137227"/>
                </a:lnTo>
                <a:lnTo>
                  <a:pt x="150189" y="137009"/>
                </a:lnTo>
                <a:lnTo>
                  <a:pt x="147782" y="136590"/>
                </a:lnTo>
                <a:lnTo>
                  <a:pt x="145438" y="135954"/>
                </a:lnTo>
                <a:lnTo>
                  <a:pt x="143141" y="135131"/>
                </a:lnTo>
                <a:lnTo>
                  <a:pt x="140937" y="134091"/>
                </a:lnTo>
                <a:lnTo>
                  <a:pt x="138810" y="132865"/>
                </a:lnTo>
                <a:lnTo>
                  <a:pt x="136776" y="131436"/>
                </a:lnTo>
                <a:lnTo>
                  <a:pt x="135814" y="130645"/>
                </a:lnTo>
                <a:lnTo>
                  <a:pt x="135255" y="130179"/>
                </a:lnTo>
                <a:lnTo>
                  <a:pt x="134200" y="129201"/>
                </a:lnTo>
                <a:lnTo>
                  <a:pt x="132725" y="127649"/>
                </a:lnTo>
                <a:lnTo>
                  <a:pt x="130986" y="125460"/>
                </a:lnTo>
                <a:lnTo>
                  <a:pt x="129496" y="123131"/>
                </a:lnTo>
                <a:lnTo>
                  <a:pt x="128254" y="120679"/>
                </a:lnTo>
                <a:lnTo>
                  <a:pt x="127245" y="118148"/>
                </a:lnTo>
                <a:lnTo>
                  <a:pt x="126500" y="115540"/>
                </a:lnTo>
                <a:lnTo>
                  <a:pt x="126019" y="112870"/>
                </a:lnTo>
                <a:lnTo>
                  <a:pt x="125786" y="110185"/>
                </a:lnTo>
                <a:lnTo>
                  <a:pt x="125801" y="107468"/>
                </a:lnTo>
                <a:lnTo>
                  <a:pt x="126081" y="104783"/>
                </a:lnTo>
                <a:lnTo>
                  <a:pt x="126624" y="102113"/>
                </a:lnTo>
                <a:lnTo>
                  <a:pt x="127431" y="99489"/>
                </a:lnTo>
                <a:lnTo>
                  <a:pt x="128487" y="96928"/>
                </a:lnTo>
                <a:lnTo>
                  <a:pt x="129822" y="94460"/>
                </a:lnTo>
                <a:lnTo>
                  <a:pt x="131017" y="92690"/>
                </a:lnTo>
                <a:lnTo>
                  <a:pt x="131887" y="91541"/>
                </a:lnTo>
                <a:lnTo>
                  <a:pt x="132337" y="90967"/>
                </a:lnTo>
                <a:lnTo>
                  <a:pt x="157966" y="60432"/>
                </a:lnTo>
                <a:lnTo>
                  <a:pt x="193312" y="18302"/>
                </a:lnTo>
                <a:lnTo>
                  <a:pt x="193856" y="17681"/>
                </a:lnTo>
                <a:lnTo>
                  <a:pt x="194958" y="16470"/>
                </a:lnTo>
                <a:lnTo>
                  <a:pt x="196697" y="14778"/>
                </a:lnTo>
                <a:lnTo>
                  <a:pt x="199149" y="12745"/>
                </a:lnTo>
                <a:lnTo>
                  <a:pt x="201757" y="10960"/>
                </a:lnTo>
                <a:lnTo>
                  <a:pt x="204474" y="9423"/>
                </a:lnTo>
                <a:lnTo>
                  <a:pt x="207299" y="8134"/>
                </a:lnTo>
                <a:lnTo>
                  <a:pt x="210217" y="7110"/>
                </a:lnTo>
                <a:lnTo>
                  <a:pt x="213198" y="6334"/>
                </a:lnTo>
                <a:lnTo>
                  <a:pt x="214704" y="6054"/>
                </a:lnTo>
                <a:lnTo>
                  <a:pt x="213105" y="5309"/>
                </a:lnTo>
                <a:lnTo>
                  <a:pt x="209860" y="3958"/>
                </a:lnTo>
                <a:lnTo>
                  <a:pt x="206523" y="2810"/>
                </a:lnTo>
                <a:lnTo>
                  <a:pt x="203108" y="1832"/>
                </a:lnTo>
                <a:lnTo>
                  <a:pt x="199630" y="1056"/>
                </a:lnTo>
                <a:lnTo>
                  <a:pt x="196091" y="497"/>
                </a:lnTo>
                <a:lnTo>
                  <a:pt x="192505" y="140"/>
                </a:lnTo>
                <a:lnTo>
                  <a:pt x="188857" y="0"/>
                </a:lnTo>
                <a:lnTo>
                  <a:pt x="187010" y="16"/>
                </a:lnTo>
                <a:lnTo>
                  <a:pt x="185737" y="47"/>
                </a:lnTo>
                <a:lnTo>
                  <a:pt x="183222" y="202"/>
                </a:lnTo>
                <a:lnTo>
                  <a:pt x="180723" y="450"/>
                </a:lnTo>
                <a:lnTo>
                  <a:pt x="178255" y="776"/>
                </a:lnTo>
                <a:lnTo>
                  <a:pt x="175802" y="1195"/>
                </a:lnTo>
                <a:lnTo>
                  <a:pt x="173380" y="1708"/>
                </a:lnTo>
                <a:lnTo>
                  <a:pt x="171005" y="2313"/>
                </a:lnTo>
                <a:lnTo>
                  <a:pt x="168646" y="2996"/>
                </a:lnTo>
                <a:lnTo>
                  <a:pt x="166317" y="3757"/>
                </a:lnTo>
                <a:lnTo>
                  <a:pt x="164035" y="4610"/>
                </a:lnTo>
                <a:lnTo>
                  <a:pt x="161800" y="5542"/>
                </a:lnTo>
                <a:lnTo>
                  <a:pt x="159596" y="6551"/>
                </a:lnTo>
                <a:lnTo>
                  <a:pt x="157422" y="7638"/>
                </a:lnTo>
                <a:lnTo>
                  <a:pt x="155311" y="8786"/>
                </a:lnTo>
                <a:lnTo>
                  <a:pt x="153247" y="10028"/>
                </a:lnTo>
                <a:lnTo>
                  <a:pt x="151213" y="11332"/>
                </a:lnTo>
                <a:lnTo>
                  <a:pt x="149257" y="12714"/>
                </a:lnTo>
                <a:lnTo>
                  <a:pt x="147332" y="14157"/>
                </a:lnTo>
                <a:lnTo>
                  <a:pt x="145469" y="15679"/>
                </a:lnTo>
                <a:lnTo>
                  <a:pt x="143669" y="17262"/>
                </a:lnTo>
                <a:lnTo>
                  <a:pt x="141930" y="18907"/>
                </a:lnTo>
                <a:lnTo>
                  <a:pt x="140254" y="20615"/>
                </a:lnTo>
                <a:lnTo>
                  <a:pt x="138624" y="22385"/>
                </a:lnTo>
                <a:lnTo>
                  <a:pt x="137071" y="24216"/>
                </a:lnTo>
                <a:lnTo>
                  <a:pt x="135597" y="26095"/>
                </a:lnTo>
                <a:lnTo>
                  <a:pt x="134184" y="28035"/>
                </a:lnTo>
                <a:lnTo>
                  <a:pt x="132833" y="30038"/>
                </a:lnTo>
                <a:lnTo>
                  <a:pt x="131561" y="32102"/>
                </a:lnTo>
                <a:lnTo>
                  <a:pt x="130381" y="34198"/>
                </a:lnTo>
                <a:lnTo>
                  <a:pt x="129263" y="36356"/>
                </a:lnTo>
                <a:lnTo>
                  <a:pt x="128223" y="38560"/>
                </a:lnTo>
                <a:lnTo>
                  <a:pt x="127276" y="40826"/>
                </a:lnTo>
                <a:lnTo>
                  <a:pt x="126841" y="41960"/>
                </a:lnTo>
                <a:lnTo>
                  <a:pt x="126717" y="42270"/>
                </a:lnTo>
                <a:lnTo>
                  <a:pt x="126469" y="42720"/>
                </a:lnTo>
                <a:lnTo>
                  <a:pt x="126205" y="42969"/>
                </a:lnTo>
                <a:lnTo>
                  <a:pt x="125910" y="43062"/>
                </a:lnTo>
                <a:lnTo>
                  <a:pt x="125739" y="43077"/>
                </a:lnTo>
                <a:lnTo>
                  <a:pt x="125569" y="43062"/>
                </a:lnTo>
                <a:lnTo>
                  <a:pt x="125274" y="42969"/>
                </a:lnTo>
                <a:lnTo>
                  <a:pt x="125010" y="42720"/>
                </a:lnTo>
                <a:lnTo>
                  <a:pt x="124761" y="42270"/>
                </a:lnTo>
                <a:lnTo>
                  <a:pt x="124637" y="41960"/>
                </a:lnTo>
                <a:lnTo>
                  <a:pt x="124202" y="40826"/>
                </a:lnTo>
                <a:lnTo>
                  <a:pt x="123256" y="38560"/>
                </a:lnTo>
                <a:lnTo>
                  <a:pt x="122215" y="36356"/>
                </a:lnTo>
                <a:lnTo>
                  <a:pt x="121098" y="34198"/>
                </a:lnTo>
                <a:lnTo>
                  <a:pt x="119918" y="32102"/>
                </a:lnTo>
                <a:lnTo>
                  <a:pt x="118645" y="30038"/>
                </a:lnTo>
                <a:lnTo>
                  <a:pt x="117295" y="28035"/>
                </a:lnTo>
                <a:lnTo>
                  <a:pt x="115882" y="26095"/>
                </a:lnTo>
                <a:lnTo>
                  <a:pt x="114407" y="24216"/>
                </a:lnTo>
                <a:lnTo>
                  <a:pt x="112855" y="22385"/>
                </a:lnTo>
                <a:lnTo>
                  <a:pt x="111225" y="20615"/>
                </a:lnTo>
                <a:lnTo>
                  <a:pt x="109548" y="18907"/>
                </a:lnTo>
                <a:lnTo>
                  <a:pt x="107810" y="17262"/>
                </a:lnTo>
                <a:lnTo>
                  <a:pt x="106009" y="15679"/>
                </a:lnTo>
                <a:lnTo>
                  <a:pt x="104146" y="14157"/>
                </a:lnTo>
                <a:lnTo>
                  <a:pt x="102221" y="12714"/>
                </a:lnTo>
                <a:lnTo>
                  <a:pt x="100265" y="11332"/>
                </a:lnTo>
                <a:lnTo>
                  <a:pt x="98232" y="10028"/>
                </a:lnTo>
                <a:lnTo>
                  <a:pt x="96167" y="8786"/>
                </a:lnTo>
                <a:lnTo>
                  <a:pt x="94056" y="7638"/>
                </a:lnTo>
                <a:lnTo>
                  <a:pt x="91883" y="6551"/>
                </a:lnTo>
                <a:lnTo>
                  <a:pt x="89678" y="5542"/>
                </a:lnTo>
                <a:lnTo>
                  <a:pt x="87443" y="4610"/>
                </a:lnTo>
                <a:lnTo>
                  <a:pt x="85161" y="3757"/>
                </a:lnTo>
                <a:lnTo>
                  <a:pt x="82833" y="2996"/>
                </a:lnTo>
                <a:lnTo>
                  <a:pt x="80473" y="2313"/>
                </a:lnTo>
                <a:lnTo>
                  <a:pt x="78098" y="1708"/>
                </a:lnTo>
                <a:lnTo>
                  <a:pt x="75676" y="1195"/>
                </a:lnTo>
                <a:lnTo>
                  <a:pt x="73224" y="776"/>
                </a:lnTo>
                <a:lnTo>
                  <a:pt x="70756" y="450"/>
                </a:lnTo>
                <a:lnTo>
                  <a:pt x="68256" y="202"/>
                </a:lnTo>
                <a:lnTo>
                  <a:pt x="65741" y="47"/>
                </a:lnTo>
                <a:lnTo>
                  <a:pt x="64469" y="16"/>
                </a:lnTo>
                <a:lnTo>
                  <a:pt x="62932" y="0"/>
                </a:lnTo>
                <a:close/>
              </a:path>
            </a:pathLst>
          </a:custGeom>
          <a:solidFill>
            <a:srgbClr val="F7224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3695941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2B Section title and description_third_red_No bricks">
  <p:cSld name="B2B Section title and description_third_red_No bricks">
    <p:bg>
      <p:bgPr>
        <a:solidFill>
          <a:schemeClr val="dk1"/>
        </a:solidFill>
        <a:effectLst/>
      </p:bgPr>
    </p:bg>
    <p:spTree>
      <p:nvGrpSpPr>
        <p:cNvPr id="1" name="Shape 6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9" name="Google Shape;649;p53"/>
          <p:cNvSpPr/>
          <p:nvPr/>
        </p:nvSpPr>
        <p:spPr>
          <a:xfrm>
            <a:off x="4876800" y="225"/>
            <a:ext cx="73152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50" name="Google Shape;650;p53"/>
          <p:cNvSpPr/>
          <p:nvPr/>
        </p:nvSpPr>
        <p:spPr>
          <a:xfrm flipH="1">
            <a:off x="1059" y="0"/>
            <a:ext cx="48759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900"/>
          </a:p>
        </p:txBody>
      </p:sp>
      <p:sp>
        <p:nvSpPr>
          <p:cNvPr id="651" name="Google Shape;651;p53"/>
          <p:cNvSpPr txBox="1">
            <a:spLocks noGrp="1"/>
          </p:cNvSpPr>
          <p:nvPr>
            <p:ph type="title"/>
          </p:nvPr>
        </p:nvSpPr>
        <p:spPr>
          <a:xfrm>
            <a:off x="576075" y="225"/>
            <a:ext cx="4124700" cy="6858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600"/>
              <a:buFont typeface="Lato"/>
              <a:buNone/>
              <a:defRPr sz="3600">
                <a:solidFill>
                  <a:schemeClr val="lt2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2pPr>
            <a:lvl3pPr lvl="2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3pPr>
            <a:lvl4pPr lvl="3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4pPr>
            <a:lvl5pPr lvl="4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5pPr>
            <a:lvl6pPr lvl="5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6pPr>
            <a:lvl7pPr lvl="6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7pPr>
            <a:lvl8pPr lvl="7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8pPr>
            <a:lvl9pPr lvl="8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652" name="Google Shape;652;p53"/>
          <p:cNvSpPr txBox="1">
            <a:spLocks noGrp="1"/>
          </p:cNvSpPr>
          <p:nvPr>
            <p:ph type="sldNum" idx="12"/>
          </p:nvPr>
        </p:nvSpPr>
        <p:spPr>
          <a:xfrm>
            <a:off x="11044810" y="6091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653" name="Google Shape;653;p53"/>
          <p:cNvSpPr/>
          <p:nvPr/>
        </p:nvSpPr>
        <p:spPr>
          <a:xfrm>
            <a:off x="576072" y="965115"/>
            <a:ext cx="629955" cy="524923"/>
          </a:xfrm>
          <a:custGeom>
            <a:avLst/>
            <a:gdLst/>
            <a:ahLst/>
            <a:cxnLst/>
            <a:rect l="l" t="t" r="r" b="b"/>
            <a:pathLst>
              <a:path w="251479" h="209550" extrusionOk="0">
                <a:moveTo>
                  <a:pt x="62932" y="0"/>
                </a:moveTo>
                <a:lnTo>
                  <a:pt x="59858" y="78"/>
                </a:lnTo>
                <a:lnTo>
                  <a:pt x="56847" y="326"/>
                </a:lnTo>
                <a:lnTo>
                  <a:pt x="53851" y="714"/>
                </a:lnTo>
                <a:lnTo>
                  <a:pt x="50901" y="1257"/>
                </a:lnTo>
                <a:lnTo>
                  <a:pt x="47998" y="1925"/>
                </a:lnTo>
                <a:lnTo>
                  <a:pt x="45142" y="2748"/>
                </a:lnTo>
                <a:lnTo>
                  <a:pt x="42348" y="3695"/>
                </a:lnTo>
                <a:lnTo>
                  <a:pt x="39600" y="4781"/>
                </a:lnTo>
                <a:lnTo>
                  <a:pt x="36915" y="5992"/>
                </a:lnTo>
                <a:lnTo>
                  <a:pt x="34291" y="7327"/>
                </a:lnTo>
                <a:lnTo>
                  <a:pt x="31730" y="8786"/>
                </a:lnTo>
                <a:lnTo>
                  <a:pt x="29246" y="10354"/>
                </a:lnTo>
                <a:lnTo>
                  <a:pt x="26840" y="12031"/>
                </a:lnTo>
                <a:lnTo>
                  <a:pt x="24511" y="13831"/>
                </a:lnTo>
                <a:lnTo>
                  <a:pt x="22261" y="15741"/>
                </a:lnTo>
                <a:lnTo>
                  <a:pt x="20087" y="17743"/>
                </a:lnTo>
                <a:lnTo>
                  <a:pt x="18023" y="19839"/>
                </a:lnTo>
                <a:lnTo>
                  <a:pt x="16036" y="22043"/>
                </a:lnTo>
                <a:lnTo>
                  <a:pt x="14157" y="24325"/>
                </a:lnTo>
                <a:lnTo>
                  <a:pt x="12372" y="26716"/>
                </a:lnTo>
                <a:lnTo>
                  <a:pt x="10696" y="29168"/>
                </a:lnTo>
                <a:lnTo>
                  <a:pt x="9112" y="31714"/>
                </a:lnTo>
                <a:lnTo>
                  <a:pt x="7653" y="34338"/>
                </a:lnTo>
                <a:lnTo>
                  <a:pt x="6318" y="37039"/>
                </a:lnTo>
                <a:lnTo>
                  <a:pt x="5092" y="39802"/>
                </a:lnTo>
                <a:lnTo>
                  <a:pt x="3990" y="42643"/>
                </a:lnTo>
                <a:lnTo>
                  <a:pt x="3012" y="45546"/>
                </a:lnTo>
                <a:lnTo>
                  <a:pt x="2173" y="48495"/>
                </a:lnTo>
                <a:lnTo>
                  <a:pt x="1459" y="51507"/>
                </a:lnTo>
                <a:lnTo>
                  <a:pt x="885" y="54580"/>
                </a:lnTo>
                <a:lnTo>
                  <a:pt x="450" y="57700"/>
                </a:lnTo>
                <a:lnTo>
                  <a:pt x="310" y="59268"/>
                </a:lnTo>
                <a:lnTo>
                  <a:pt x="186" y="60665"/>
                </a:lnTo>
                <a:lnTo>
                  <a:pt x="31" y="63475"/>
                </a:lnTo>
                <a:lnTo>
                  <a:pt x="0" y="66269"/>
                </a:lnTo>
                <a:lnTo>
                  <a:pt x="62" y="69063"/>
                </a:lnTo>
                <a:lnTo>
                  <a:pt x="217" y="71842"/>
                </a:lnTo>
                <a:lnTo>
                  <a:pt x="466" y="74605"/>
                </a:lnTo>
                <a:lnTo>
                  <a:pt x="823" y="77368"/>
                </a:lnTo>
                <a:lnTo>
                  <a:pt x="1257" y="80132"/>
                </a:lnTo>
                <a:lnTo>
                  <a:pt x="1801" y="82864"/>
                </a:lnTo>
                <a:lnTo>
                  <a:pt x="2422" y="85611"/>
                </a:lnTo>
                <a:lnTo>
                  <a:pt x="3120" y="88328"/>
                </a:lnTo>
                <a:lnTo>
                  <a:pt x="3912" y="91045"/>
                </a:lnTo>
                <a:lnTo>
                  <a:pt x="4781" y="93730"/>
                </a:lnTo>
                <a:lnTo>
                  <a:pt x="5728" y="96416"/>
                </a:lnTo>
                <a:lnTo>
                  <a:pt x="7280" y="100436"/>
                </a:lnTo>
                <a:lnTo>
                  <a:pt x="9609" y="105714"/>
                </a:lnTo>
                <a:lnTo>
                  <a:pt x="12201" y="110946"/>
                </a:lnTo>
                <a:lnTo>
                  <a:pt x="15058" y="116099"/>
                </a:lnTo>
                <a:lnTo>
                  <a:pt x="18147" y="121191"/>
                </a:lnTo>
                <a:lnTo>
                  <a:pt x="21438" y="126205"/>
                </a:lnTo>
                <a:lnTo>
                  <a:pt x="24931" y="131126"/>
                </a:lnTo>
                <a:lnTo>
                  <a:pt x="28594" y="135969"/>
                </a:lnTo>
                <a:lnTo>
                  <a:pt x="32413" y="140719"/>
                </a:lnTo>
                <a:lnTo>
                  <a:pt x="36371" y="145392"/>
                </a:lnTo>
                <a:lnTo>
                  <a:pt x="40454" y="149940"/>
                </a:lnTo>
                <a:lnTo>
                  <a:pt x="44630" y="154395"/>
                </a:lnTo>
                <a:lnTo>
                  <a:pt x="48883" y="158742"/>
                </a:lnTo>
                <a:lnTo>
                  <a:pt x="53199" y="162964"/>
                </a:lnTo>
                <a:lnTo>
                  <a:pt x="57545" y="167078"/>
                </a:lnTo>
                <a:lnTo>
                  <a:pt x="61938" y="171068"/>
                </a:lnTo>
                <a:lnTo>
                  <a:pt x="66316" y="174917"/>
                </a:lnTo>
                <a:lnTo>
                  <a:pt x="70678" y="178643"/>
                </a:lnTo>
                <a:lnTo>
                  <a:pt x="75024" y="182229"/>
                </a:lnTo>
                <a:lnTo>
                  <a:pt x="81420" y="187352"/>
                </a:lnTo>
                <a:lnTo>
                  <a:pt x="89663" y="193639"/>
                </a:lnTo>
                <a:lnTo>
                  <a:pt x="97425" y="199274"/>
                </a:lnTo>
                <a:lnTo>
                  <a:pt x="101057" y="201819"/>
                </a:lnTo>
                <a:lnTo>
                  <a:pt x="102454" y="202766"/>
                </a:lnTo>
                <a:lnTo>
                  <a:pt x="105342" y="204458"/>
                </a:lnTo>
                <a:lnTo>
                  <a:pt x="108338" y="205918"/>
                </a:lnTo>
                <a:lnTo>
                  <a:pt x="111396" y="207128"/>
                </a:lnTo>
                <a:lnTo>
                  <a:pt x="114516" y="208091"/>
                </a:lnTo>
                <a:lnTo>
                  <a:pt x="117683" y="208820"/>
                </a:lnTo>
                <a:lnTo>
                  <a:pt x="120896" y="209302"/>
                </a:lnTo>
                <a:lnTo>
                  <a:pt x="124125" y="209550"/>
                </a:lnTo>
                <a:lnTo>
                  <a:pt x="127354" y="209550"/>
                </a:lnTo>
                <a:lnTo>
                  <a:pt x="130583" y="209302"/>
                </a:lnTo>
                <a:lnTo>
                  <a:pt x="133796" y="208820"/>
                </a:lnTo>
                <a:lnTo>
                  <a:pt x="136963" y="208091"/>
                </a:lnTo>
                <a:lnTo>
                  <a:pt x="140098" y="207128"/>
                </a:lnTo>
                <a:lnTo>
                  <a:pt x="143156" y="205918"/>
                </a:lnTo>
                <a:lnTo>
                  <a:pt x="146137" y="204458"/>
                </a:lnTo>
                <a:lnTo>
                  <a:pt x="149024" y="202766"/>
                </a:lnTo>
                <a:lnTo>
                  <a:pt x="150421" y="201819"/>
                </a:lnTo>
                <a:lnTo>
                  <a:pt x="154038" y="199289"/>
                </a:lnTo>
                <a:lnTo>
                  <a:pt x="161769" y="193670"/>
                </a:lnTo>
                <a:lnTo>
                  <a:pt x="169981" y="187414"/>
                </a:lnTo>
                <a:lnTo>
                  <a:pt x="176361" y="182306"/>
                </a:lnTo>
                <a:lnTo>
                  <a:pt x="180676" y="178736"/>
                </a:lnTo>
                <a:lnTo>
                  <a:pt x="185023" y="175042"/>
                </a:lnTo>
                <a:lnTo>
                  <a:pt x="189385" y="171192"/>
                </a:lnTo>
                <a:lnTo>
                  <a:pt x="193763" y="167233"/>
                </a:lnTo>
                <a:lnTo>
                  <a:pt x="198094" y="163151"/>
                </a:lnTo>
                <a:lnTo>
                  <a:pt x="202394" y="158944"/>
                </a:lnTo>
                <a:lnTo>
                  <a:pt x="206647" y="154613"/>
                </a:lnTo>
                <a:lnTo>
                  <a:pt x="210807" y="150189"/>
                </a:lnTo>
                <a:lnTo>
                  <a:pt x="214874" y="145656"/>
                </a:lnTo>
                <a:lnTo>
                  <a:pt x="218817" y="141014"/>
                </a:lnTo>
                <a:lnTo>
                  <a:pt x="222636" y="136280"/>
                </a:lnTo>
                <a:lnTo>
                  <a:pt x="226300" y="131467"/>
                </a:lnTo>
                <a:lnTo>
                  <a:pt x="229792" y="126562"/>
                </a:lnTo>
                <a:lnTo>
                  <a:pt x="233083" y="121579"/>
                </a:lnTo>
                <a:lnTo>
                  <a:pt x="236173" y="116518"/>
                </a:lnTo>
                <a:lnTo>
                  <a:pt x="239044" y="111380"/>
                </a:lnTo>
                <a:lnTo>
                  <a:pt x="241652" y="106180"/>
                </a:lnTo>
                <a:lnTo>
                  <a:pt x="243996" y="100917"/>
                </a:lnTo>
                <a:lnTo>
                  <a:pt x="245564" y="96928"/>
                </a:lnTo>
                <a:lnTo>
                  <a:pt x="246527" y="94258"/>
                </a:lnTo>
                <a:lnTo>
                  <a:pt x="247396" y="91572"/>
                </a:lnTo>
                <a:lnTo>
                  <a:pt x="248203" y="88871"/>
                </a:lnTo>
                <a:lnTo>
                  <a:pt x="248917" y="86155"/>
                </a:lnTo>
                <a:lnTo>
                  <a:pt x="249554" y="83438"/>
                </a:lnTo>
                <a:lnTo>
                  <a:pt x="250112" y="80706"/>
                </a:lnTo>
                <a:lnTo>
                  <a:pt x="250563" y="77958"/>
                </a:lnTo>
                <a:lnTo>
                  <a:pt x="250935" y="75211"/>
                </a:lnTo>
                <a:lnTo>
                  <a:pt x="251215" y="72448"/>
                </a:lnTo>
                <a:lnTo>
                  <a:pt x="251385" y="69684"/>
                </a:lnTo>
                <a:lnTo>
                  <a:pt x="251479" y="66906"/>
                </a:lnTo>
                <a:lnTo>
                  <a:pt x="251463" y="64127"/>
                </a:lnTo>
                <a:lnTo>
                  <a:pt x="251339" y="61333"/>
                </a:lnTo>
                <a:lnTo>
                  <a:pt x="251230" y="59936"/>
                </a:lnTo>
                <a:lnTo>
                  <a:pt x="251199" y="59610"/>
                </a:lnTo>
                <a:lnTo>
                  <a:pt x="251184" y="59268"/>
                </a:lnTo>
                <a:lnTo>
                  <a:pt x="250966" y="57235"/>
                </a:lnTo>
                <a:lnTo>
                  <a:pt x="250361" y="53199"/>
                </a:lnTo>
                <a:lnTo>
                  <a:pt x="249507" y="49256"/>
                </a:lnTo>
                <a:lnTo>
                  <a:pt x="248436" y="45421"/>
                </a:lnTo>
                <a:lnTo>
                  <a:pt x="247132" y="41665"/>
                </a:lnTo>
                <a:lnTo>
                  <a:pt x="245626" y="38032"/>
                </a:lnTo>
                <a:lnTo>
                  <a:pt x="243919" y="34508"/>
                </a:lnTo>
                <a:lnTo>
                  <a:pt x="242009" y="31124"/>
                </a:lnTo>
                <a:lnTo>
                  <a:pt x="240969" y="29479"/>
                </a:lnTo>
                <a:lnTo>
                  <a:pt x="240209" y="28299"/>
                </a:lnTo>
                <a:lnTo>
                  <a:pt x="239401" y="27135"/>
                </a:lnTo>
                <a:lnTo>
                  <a:pt x="238594" y="26110"/>
                </a:lnTo>
                <a:lnTo>
                  <a:pt x="237244" y="24667"/>
                </a:lnTo>
                <a:lnTo>
                  <a:pt x="236281" y="23766"/>
                </a:lnTo>
                <a:lnTo>
                  <a:pt x="235784" y="23332"/>
                </a:lnTo>
                <a:lnTo>
                  <a:pt x="234837" y="22571"/>
                </a:lnTo>
                <a:lnTo>
                  <a:pt x="232882" y="21236"/>
                </a:lnTo>
                <a:lnTo>
                  <a:pt x="230832" y="20134"/>
                </a:lnTo>
                <a:lnTo>
                  <a:pt x="228690" y="19233"/>
                </a:lnTo>
                <a:lnTo>
                  <a:pt x="226517" y="18566"/>
                </a:lnTo>
                <a:lnTo>
                  <a:pt x="224297" y="18116"/>
                </a:lnTo>
                <a:lnTo>
                  <a:pt x="222046" y="17883"/>
                </a:lnTo>
                <a:lnTo>
                  <a:pt x="219795" y="17867"/>
                </a:lnTo>
                <a:lnTo>
                  <a:pt x="217544" y="18069"/>
                </a:lnTo>
                <a:lnTo>
                  <a:pt x="215325" y="18473"/>
                </a:lnTo>
                <a:lnTo>
                  <a:pt x="213167" y="19094"/>
                </a:lnTo>
                <a:lnTo>
                  <a:pt x="211056" y="19916"/>
                </a:lnTo>
                <a:lnTo>
                  <a:pt x="209007" y="20957"/>
                </a:lnTo>
                <a:lnTo>
                  <a:pt x="207082" y="22214"/>
                </a:lnTo>
                <a:lnTo>
                  <a:pt x="205250" y="23658"/>
                </a:lnTo>
                <a:lnTo>
                  <a:pt x="203542" y="25319"/>
                </a:lnTo>
                <a:lnTo>
                  <a:pt x="202751" y="26219"/>
                </a:lnTo>
                <a:lnTo>
                  <a:pt x="185504" y="46787"/>
                </a:lnTo>
                <a:lnTo>
                  <a:pt x="141775" y="98899"/>
                </a:lnTo>
                <a:lnTo>
                  <a:pt x="141232" y="99567"/>
                </a:lnTo>
                <a:lnTo>
                  <a:pt x="140285" y="100964"/>
                </a:lnTo>
                <a:lnTo>
                  <a:pt x="139508" y="102439"/>
                </a:lnTo>
                <a:lnTo>
                  <a:pt x="138903" y="103976"/>
                </a:lnTo>
                <a:lnTo>
                  <a:pt x="138468" y="105543"/>
                </a:lnTo>
                <a:lnTo>
                  <a:pt x="138189" y="107142"/>
                </a:lnTo>
                <a:lnTo>
                  <a:pt x="138065" y="108741"/>
                </a:lnTo>
                <a:lnTo>
                  <a:pt x="138111" y="110356"/>
                </a:lnTo>
                <a:lnTo>
                  <a:pt x="138329" y="111955"/>
                </a:lnTo>
                <a:lnTo>
                  <a:pt x="138701" y="113522"/>
                </a:lnTo>
                <a:lnTo>
                  <a:pt x="139229" y="115044"/>
                </a:lnTo>
                <a:lnTo>
                  <a:pt x="139912" y="116518"/>
                </a:lnTo>
                <a:lnTo>
                  <a:pt x="140750" y="117931"/>
                </a:lnTo>
                <a:lnTo>
                  <a:pt x="141759" y="119266"/>
                </a:lnTo>
                <a:lnTo>
                  <a:pt x="142908" y="120492"/>
                </a:lnTo>
                <a:lnTo>
                  <a:pt x="144212" y="121626"/>
                </a:lnTo>
                <a:lnTo>
                  <a:pt x="144926" y="122138"/>
                </a:lnTo>
                <a:lnTo>
                  <a:pt x="145438" y="122479"/>
                </a:lnTo>
                <a:lnTo>
                  <a:pt x="146494" y="123085"/>
                </a:lnTo>
                <a:lnTo>
                  <a:pt x="147581" y="123613"/>
                </a:lnTo>
                <a:lnTo>
                  <a:pt x="148698" y="124063"/>
                </a:lnTo>
                <a:lnTo>
                  <a:pt x="149863" y="124420"/>
                </a:lnTo>
                <a:lnTo>
                  <a:pt x="151042" y="124684"/>
                </a:lnTo>
                <a:lnTo>
                  <a:pt x="152238" y="124854"/>
                </a:lnTo>
                <a:lnTo>
                  <a:pt x="153448" y="124932"/>
                </a:lnTo>
                <a:lnTo>
                  <a:pt x="154069" y="124932"/>
                </a:lnTo>
                <a:lnTo>
                  <a:pt x="154939" y="124901"/>
                </a:lnTo>
                <a:lnTo>
                  <a:pt x="156662" y="124699"/>
                </a:lnTo>
                <a:lnTo>
                  <a:pt x="158338" y="124311"/>
                </a:lnTo>
                <a:lnTo>
                  <a:pt x="159937" y="123752"/>
                </a:lnTo>
                <a:lnTo>
                  <a:pt x="161459" y="123038"/>
                </a:lnTo>
                <a:lnTo>
                  <a:pt x="162902" y="122153"/>
                </a:lnTo>
                <a:lnTo>
                  <a:pt x="164253" y="121113"/>
                </a:lnTo>
                <a:lnTo>
                  <a:pt x="165495" y="119918"/>
                </a:lnTo>
                <a:lnTo>
                  <a:pt x="166053" y="119266"/>
                </a:lnTo>
                <a:lnTo>
                  <a:pt x="210357" y="66471"/>
                </a:lnTo>
                <a:lnTo>
                  <a:pt x="210668" y="66130"/>
                </a:lnTo>
                <a:lnTo>
                  <a:pt x="211366" y="65586"/>
                </a:lnTo>
                <a:lnTo>
                  <a:pt x="212142" y="65183"/>
                </a:lnTo>
                <a:lnTo>
                  <a:pt x="212965" y="64950"/>
                </a:lnTo>
                <a:lnTo>
                  <a:pt x="213819" y="64872"/>
                </a:lnTo>
                <a:lnTo>
                  <a:pt x="214673" y="64965"/>
                </a:lnTo>
                <a:lnTo>
                  <a:pt x="215495" y="65214"/>
                </a:lnTo>
                <a:lnTo>
                  <a:pt x="216272" y="65633"/>
                </a:lnTo>
                <a:lnTo>
                  <a:pt x="216644" y="65928"/>
                </a:lnTo>
                <a:lnTo>
                  <a:pt x="219252" y="68117"/>
                </a:lnTo>
                <a:lnTo>
                  <a:pt x="219578" y="68412"/>
                </a:lnTo>
                <a:lnTo>
                  <a:pt x="220137" y="69110"/>
                </a:lnTo>
                <a:lnTo>
                  <a:pt x="220525" y="69886"/>
                </a:lnTo>
                <a:lnTo>
                  <a:pt x="220773" y="70709"/>
                </a:lnTo>
                <a:lnTo>
                  <a:pt x="220835" y="71563"/>
                </a:lnTo>
                <a:lnTo>
                  <a:pt x="220758" y="72417"/>
                </a:lnTo>
                <a:lnTo>
                  <a:pt x="220494" y="73239"/>
                </a:lnTo>
                <a:lnTo>
                  <a:pt x="220075" y="74031"/>
                </a:lnTo>
                <a:lnTo>
                  <a:pt x="219795" y="74388"/>
                </a:lnTo>
                <a:lnTo>
                  <a:pt x="175492" y="127183"/>
                </a:lnTo>
                <a:lnTo>
                  <a:pt x="174560" y="128239"/>
                </a:lnTo>
                <a:lnTo>
                  <a:pt x="172573" y="130195"/>
                </a:lnTo>
                <a:lnTo>
                  <a:pt x="170431" y="131918"/>
                </a:lnTo>
                <a:lnTo>
                  <a:pt x="168134" y="133423"/>
                </a:lnTo>
                <a:lnTo>
                  <a:pt x="165696" y="134681"/>
                </a:lnTo>
                <a:lnTo>
                  <a:pt x="163151" y="135705"/>
                </a:lnTo>
                <a:lnTo>
                  <a:pt x="160512" y="136481"/>
                </a:lnTo>
                <a:lnTo>
                  <a:pt x="157764" y="136994"/>
                </a:lnTo>
                <a:lnTo>
                  <a:pt x="156367" y="137133"/>
                </a:lnTo>
                <a:lnTo>
                  <a:pt x="155109" y="137227"/>
                </a:lnTo>
                <a:lnTo>
                  <a:pt x="153868" y="137242"/>
                </a:lnTo>
                <a:lnTo>
                  <a:pt x="152626" y="137227"/>
                </a:lnTo>
                <a:lnTo>
                  <a:pt x="150189" y="137009"/>
                </a:lnTo>
                <a:lnTo>
                  <a:pt x="147782" y="136590"/>
                </a:lnTo>
                <a:lnTo>
                  <a:pt x="145438" y="135954"/>
                </a:lnTo>
                <a:lnTo>
                  <a:pt x="143141" y="135131"/>
                </a:lnTo>
                <a:lnTo>
                  <a:pt x="140937" y="134091"/>
                </a:lnTo>
                <a:lnTo>
                  <a:pt x="138810" y="132865"/>
                </a:lnTo>
                <a:lnTo>
                  <a:pt x="136776" y="131436"/>
                </a:lnTo>
                <a:lnTo>
                  <a:pt x="135814" y="130645"/>
                </a:lnTo>
                <a:lnTo>
                  <a:pt x="135255" y="130179"/>
                </a:lnTo>
                <a:lnTo>
                  <a:pt x="134200" y="129201"/>
                </a:lnTo>
                <a:lnTo>
                  <a:pt x="132725" y="127649"/>
                </a:lnTo>
                <a:lnTo>
                  <a:pt x="130986" y="125460"/>
                </a:lnTo>
                <a:lnTo>
                  <a:pt x="129496" y="123131"/>
                </a:lnTo>
                <a:lnTo>
                  <a:pt x="128254" y="120679"/>
                </a:lnTo>
                <a:lnTo>
                  <a:pt x="127245" y="118148"/>
                </a:lnTo>
                <a:lnTo>
                  <a:pt x="126500" y="115540"/>
                </a:lnTo>
                <a:lnTo>
                  <a:pt x="126019" y="112870"/>
                </a:lnTo>
                <a:lnTo>
                  <a:pt x="125786" y="110185"/>
                </a:lnTo>
                <a:lnTo>
                  <a:pt x="125801" y="107468"/>
                </a:lnTo>
                <a:lnTo>
                  <a:pt x="126081" y="104783"/>
                </a:lnTo>
                <a:lnTo>
                  <a:pt x="126624" y="102113"/>
                </a:lnTo>
                <a:lnTo>
                  <a:pt x="127431" y="99489"/>
                </a:lnTo>
                <a:lnTo>
                  <a:pt x="128487" y="96928"/>
                </a:lnTo>
                <a:lnTo>
                  <a:pt x="129822" y="94460"/>
                </a:lnTo>
                <a:lnTo>
                  <a:pt x="131017" y="92690"/>
                </a:lnTo>
                <a:lnTo>
                  <a:pt x="131887" y="91541"/>
                </a:lnTo>
                <a:lnTo>
                  <a:pt x="132337" y="90967"/>
                </a:lnTo>
                <a:lnTo>
                  <a:pt x="157966" y="60432"/>
                </a:lnTo>
                <a:lnTo>
                  <a:pt x="193312" y="18302"/>
                </a:lnTo>
                <a:lnTo>
                  <a:pt x="193856" y="17681"/>
                </a:lnTo>
                <a:lnTo>
                  <a:pt x="194958" y="16470"/>
                </a:lnTo>
                <a:lnTo>
                  <a:pt x="196697" y="14778"/>
                </a:lnTo>
                <a:lnTo>
                  <a:pt x="199149" y="12745"/>
                </a:lnTo>
                <a:lnTo>
                  <a:pt x="201757" y="10960"/>
                </a:lnTo>
                <a:lnTo>
                  <a:pt x="204474" y="9423"/>
                </a:lnTo>
                <a:lnTo>
                  <a:pt x="207299" y="8134"/>
                </a:lnTo>
                <a:lnTo>
                  <a:pt x="210217" y="7110"/>
                </a:lnTo>
                <a:lnTo>
                  <a:pt x="213198" y="6334"/>
                </a:lnTo>
                <a:lnTo>
                  <a:pt x="214704" y="6054"/>
                </a:lnTo>
                <a:lnTo>
                  <a:pt x="213105" y="5309"/>
                </a:lnTo>
                <a:lnTo>
                  <a:pt x="209860" y="3958"/>
                </a:lnTo>
                <a:lnTo>
                  <a:pt x="206523" y="2810"/>
                </a:lnTo>
                <a:lnTo>
                  <a:pt x="203108" y="1832"/>
                </a:lnTo>
                <a:lnTo>
                  <a:pt x="199630" y="1056"/>
                </a:lnTo>
                <a:lnTo>
                  <a:pt x="196091" y="497"/>
                </a:lnTo>
                <a:lnTo>
                  <a:pt x="192505" y="140"/>
                </a:lnTo>
                <a:lnTo>
                  <a:pt x="188857" y="0"/>
                </a:lnTo>
                <a:lnTo>
                  <a:pt x="187010" y="16"/>
                </a:lnTo>
                <a:lnTo>
                  <a:pt x="185737" y="47"/>
                </a:lnTo>
                <a:lnTo>
                  <a:pt x="183222" y="202"/>
                </a:lnTo>
                <a:lnTo>
                  <a:pt x="180723" y="450"/>
                </a:lnTo>
                <a:lnTo>
                  <a:pt x="178255" y="776"/>
                </a:lnTo>
                <a:lnTo>
                  <a:pt x="175802" y="1195"/>
                </a:lnTo>
                <a:lnTo>
                  <a:pt x="173380" y="1708"/>
                </a:lnTo>
                <a:lnTo>
                  <a:pt x="171005" y="2313"/>
                </a:lnTo>
                <a:lnTo>
                  <a:pt x="168646" y="2996"/>
                </a:lnTo>
                <a:lnTo>
                  <a:pt x="166317" y="3757"/>
                </a:lnTo>
                <a:lnTo>
                  <a:pt x="164035" y="4610"/>
                </a:lnTo>
                <a:lnTo>
                  <a:pt x="161800" y="5542"/>
                </a:lnTo>
                <a:lnTo>
                  <a:pt x="159596" y="6551"/>
                </a:lnTo>
                <a:lnTo>
                  <a:pt x="157422" y="7638"/>
                </a:lnTo>
                <a:lnTo>
                  <a:pt x="155311" y="8786"/>
                </a:lnTo>
                <a:lnTo>
                  <a:pt x="153247" y="10028"/>
                </a:lnTo>
                <a:lnTo>
                  <a:pt x="151213" y="11332"/>
                </a:lnTo>
                <a:lnTo>
                  <a:pt x="149257" y="12714"/>
                </a:lnTo>
                <a:lnTo>
                  <a:pt x="147332" y="14157"/>
                </a:lnTo>
                <a:lnTo>
                  <a:pt x="145469" y="15679"/>
                </a:lnTo>
                <a:lnTo>
                  <a:pt x="143669" y="17262"/>
                </a:lnTo>
                <a:lnTo>
                  <a:pt x="141930" y="18907"/>
                </a:lnTo>
                <a:lnTo>
                  <a:pt x="140254" y="20615"/>
                </a:lnTo>
                <a:lnTo>
                  <a:pt x="138624" y="22385"/>
                </a:lnTo>
                <a:lnTo>
                  <a:pt x="137071" y="24216"/>
                </a:lnTo>
                <a:lnTo>
                  <a:pt x="135597" y="26095"/>
                </a:lnTo>
                <a:lnTo>
                  <a:pt x="134184" y="28035"/>
                </a:lnTo>
                <a:lnTo>
                  <a:pt x="132833" y="30038"/>
                </a:lnTo>
                <a:lnTo>
                  <a:pt x="131561" y="32102"/>
                </a:lnTo>
                <a:lnTo>
                  <a:pt x="130381" y="34198"/>
                </a:lnTo>
                <a:lnTo>
                  <a:pt x="129263" y="36356"/>
                </a:lnTo>
                <a:lnTo>
                  <a:pt x="128223" y="38560"/>
                </a:lnTo>
                <a:lnTo>
                  <a:pt x="127276" y="40826"/>
                </a:lnTo>
                <a:lnTo>
                  <a:pt x="126841" y="41960"/>
                </a:lnTo>
                <a:lnTo>
                  <a:pt x="126717" y="42270"/>
                </a:lnTo>
                <a:lnTo>
                  <a:pt x="126469" y="42720"/>
                </a:lnTo>
                <a:lnTo>
                  <a:pt x="126205" y="42969"/>
                </a:lnTo>
                <a:lnTo>
                  <a:pt x="125910" y="43062"/>
                </a:lnTo>
                <a:lnTo>
                  <a:pt x="125739" y="43077"/>
                </a:lnTo>
                <a:lnTo>
                  <a:pt x="125569" y="43062"/>
                </a:lnTo>
                <a:lnTo>
                  <a:pt x="125274" y="42969"/>
                </a:lnTo>
                <a:lnTo>
                  <a:pt x="125010" y="42720"/>
                </a:lnTo>
                <a:lnTo>
                  <a:pt x="124761" y="42270"/>
                </a:lnTo>
                <a:lnTo>
                  <a:pt x="124637" y="41960"/>
                </a:lnTo>
                <a:lnTo>
                  <a:pt x="124202" y="40826"/>
                </a:lnTo>
                <a:lnTo>
                  <a:pt x="123256" y="38560"/>
                </a:lnTo>
                <a:lnTo>
                  <a:pt x="122215" y="36356"/>
                </a:lnTo>
                <a:lnTo>
                  <a:pt x="121098" y="34198"/>
                </a:lnTo>
                <a:lnTo>
                  <a:pt x="119918" y="32102"/>
                </a:lnTo>
                <a:lnTo>
                  <a:pt x="118645" y="30038"/>
                </a:lnTo>
                <a:lnTo>
                  <a:pt x="117295" y="28035"/>
                </a:lnTo>
                <a:lnTo>
                  <a:pt x="115882" y="26095"/>
                </a:lnTo>
                <a:lnTo>
                  <a:pt x="114407" y="24216"/>
                </a:lnTo>
                <a:lnTo>
                  <a:pt x="112855" y="22385"/>
                </a:lnTo>
                <a:lnTo>
                  <a:pt x="111225" y="20615"/>
                </a:lnTo>
                <a:lnTo>
                  <a:pt x="109548" y="18907"/>
                </a:lnTo>
                <a:lnTo>
                  <a:pt x="107810" y="17262"/>
                </a:lnTo>
                <a:lnTo>
                  <a:pt x="106009" y="15679"/>
                </a:lnTo>
                <a:lnTo>
                  <a:pt x="104146" y="14157"/>
                </a:lnTo>
                <a:lnTo>
                  <a:pt x="102221" y="12714"/>
                </a:lnTo>
                <a:lnTo>
                  <a:pt x="100265" y="11332"/>
                </a:lnTo>
                <a:lnTo>
                  <a:pt x="98232" y="10028"/>
                </a:lnTo>
                <a:lnTo>
                  <a:pt x="96167" y="8786"/>
                </a:lnTo>
                <a:lnTo>
                  <a:pt x="94056" y="7638"/>
                </a:lnTo>
                <a:lnTo>
                  <a:pt x="91883" y="6551"/>
                </a:lnTo>
                <a:lnTo>
                  <a:pt x="89678" y="5542"/>
                </a:lnTo>
                <a:lnTo>
                  <a:pt x="87443" y="4610"/>
                </a:lnTo>
                <a:lnTo>
                  <a:pt x="85161" y="3757"/>
                </a:lnTo>
                <a:lnTo>
                  <a:pt x="82833" y="2996"/>
                </a:lnTo>
                <a:lnTo>
                  <a:pt x="80473" y="2313"/>
                </a:lnTo>
                <a:lnTo>
                  <a:pt x="78098" y="1708"/>
                </a:lnTo>
                <a:lnTo>
                  <a:pt x="75676" y="1195"/>
                </a:lnTo>
                <a:lnTo>
                  <a:pt x="73224" y="776"/>
                </a:lnTo>
                <a:lnTo>
                  <a:pt x="70756" y="450"/>
                </a:lnTo>
                <a:lnTo>
                  <a:pt x="68256" y="202"/>
                </a:lnTo>
                <a:lnTo>
                  <a:pt x="65741" y="47"/>
                </a:lnTo>
                <a:lnTo>
                  <a:pt x="64469" y="16"/>
                </a:lnTo>
                <a:lnTo>
                  <a:pt x="62932" y="0"/>
                </a:lnTo>
                <a:close/>
              </a:path>
            </a:pathLst>
          </a:custGeom>
          <a:solidFill>
            <a:srgbClr val="F7224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54" name="Google Shape;654;p53"/>
          <p:cNvSpPr/>
          <p:nvPr/>
        </p:nvSpPr>
        <p:spPr>
          <a:xfrm>
            <a:off x="11525533" y="364133"/>
            <a:ext cx="365273" cy="304371"/>
          </a:xfrm>
          <a:custGeom>
            <a:avLst/>
            <a:gdLst/>
            <a:ahLst/>
            <a:cxnLst/>
            <a:rect l="l" t="t" r="r" b="b"/>
            <a:pathLst>
              <a:path w="251479" h="209550" extrusionOk="0">
                <a:moveTo>
                  <a:pt x="62932" y="0"/>
                </a:moveTo>
                <a:lnTo>
                  <a:pt x="59858" y="78"/>
                </a:lnTo>
                <a:lnTo>
                  <a:pt x="56847" y="326"/>
                </a:lnTo>
                <a:lnTo>
                  <a:pt x="53851" y="714"/>
                </a:lnTo>
                <a:lnTo>
                  <a:pt x="50901" y="1257"/>
                </a:lnTo>
                <a:lnTo>
                  <a:pt x="47998" y="1925"/>
                </a:lnTo>
                <a:lnTo>
                  <a:pt x="45142" y="2748"/>
                </a:lnTo>
                <a:lnTo>
                  <a:pt x="42348" y="3695"/>
                </a:lnTo>
                <a:lnTo>
                  <a:pt x="39600" y="4781"/>
                </a:lnTo>
                <a:lnTo>
                  <a:pt x="36915" y="5992"/>
                </a:lnTo>
                <a:lnTo>
                  <a:pt x="34291" y="7327"/>
                </a:lnTo>
                <a:lnTo>
                  <a:pt x="31730" y="8786"/>
                </a:lnTo>
                <a:lnTo>
                  <a:pt x="29246" y="10354"/>
                </a:lnTo>
                <a:lnTo>
                  <a:pt x="26840" y="12031"/>
                </a:lnTo>
                <a:lnTo>
                  <a:pt x="24511" y="13831"/>
                </a:lnTo>
                <a:lnTo>
                  <a:pt x="22261" y="15741"/>
                </a:lnTo>
                <a:lnTo>
                  <a:pt x="20087" y="17743"/>
                </a:lnTo>
                <a:lnTo>
                  <a:pt x="18023" y="19839"/>
                </a:lnTo>
                <a:lnTo>
                  <a:pt x="16036" y="22043"/>
                </a:lnTo>
                <a:lnTo>
                  <a:pt x="14157" y="24325"/>
                </a:lnTo>
                <a:lnTo>
                  <a:pt x="12372" y="26716"/>
                </a:lnTo>
                <a:lnTo>
                  <a:pt x="10696" y="29168"/>
                </a:lnTo>
                <a:lnTo>
                  <a:pt x="9112" y="31714"/>
                </a:lnTo>
                <a:lnTo>
                  <a:pt x="7653" y="34338"/>
                </a:lnTo>
                <a:lnTo>
                  <a:pt x="6318" y="37039"/>
                </a:lnTo>
                <a:lnTo>
                  <a:pt x="5092" y="39802"/>
                </a:lnTo>
                <a:lnTo>
                  <a:pt x="3990" y="42643"/>
                </a:lnTo>
                <a:lnTo>
                  <a:pt x="3012" y="45546"/>
                </a:lnTo>
                <a:lnTo>
                  <a:pt x="2173" y="48495"/>
                </a:lnTo>
                <a:lnTo>
                  <a:pt x="1459" y="51507"/>
                </a:lnTo>
                <a:lnTo>
                  <a:pt x="885" y="54580"/>
                </a:lnTo>
                <a:lnTo>
                  <a:pt x="450" y="57700"/>
                </a:lnTo>
                <a:lnTo>
                  <a:pt x="310" y="59268"/>
                </a:lnTo>
                <a:lnTo>
                  <a:pt x="186" y="60665"/>
                </a:lnTo>
                <a:lnTo>
                  <a:pt x="31" y="63475"/>
                </a:lnTo>
                <a:lnTo>
                  <a:pt x="0" y="66269"/>
                </a:lnTo>
                <a:lnTo>
                  <a:pt x="62" y="69063"/>
                </a:lnTo>
                <a:lnTo>
                  <a:pt x="217" y="71842"/>
                </a:lnTo>
                <a:lnTo>
                  <a:pt x="466" y="74605"/>
                </a:lnTo>
                <a:lnTo>
                  <a:pt x="823" y="77368"/>
                </a:lnTo>
                <a:lnTo>
                  <a:pt x="1257" y="80132"/>
                </a:lnTo>
                <a:lnTo>
                  <a:pt x="1801" y="82864"/>
                </a:lnTo>
                <a:lnTo>
                  <a:pt x="2422" y="85611"/>
                </a:lnTo>
                <a:lnTo>
                  <a:pt x="3120" y="88328"/>
                </a:lnTo>
                <a:lnTo>
                  <a:pt x="3912" y="91045"/>
                </a:lnTo>
                <a:lnTo>
                  <a:pt x="4781" y="93730"/>
                </a:lnTo>
                <a:lnTo>
                  <a:pt x="5728" y="96416"/>
                </a:lnTo>
                <a:lnTo>
                  <a:pt x="7280" y="100436"/>
                </a:lnTo>
                <a:lnTo>
                  <a:pt x="9609" y="105714"/>
                </a:lnTo>
                <a:lnTo>
                  <a:pt x="12201" y="110946"/>
                </a:lnTo>
                <a:lnTo>
                  <a:pt x="15058" y="116099"/>
                </a:lnTo>
                <a:lnTo>
                  <a:pt x="18147" y="121191"/>
                </a:lnTo>
                <a:lnTo>
                  <a:pt x="21438" y="126205"/>
                </a:lnTo>
                <a:lnTo>
                  <a:pt x="24931" y="131126"/>
                </a:lnTo>
                <a:lnTo>
                  <a:pt x="28594" y="135969"/>
                </a:lnTo>
                <a:lnTo>
                  <a:pt x="32413" y="140719"/>
                </a:lnTo>
                <a:lnTo>
                  <a:pt x="36371" y="145392"/>
                </a:lnTo>
                <a:lnTo>
                  <a:pt x="40454" y="149940"/>
                </a:lnTo>
                <a:lnTo>
                  <a:pt x="44630" y="154395"/>
                </a:lnTo>
                <a:lnTo>
                  <a:pt x="48883" y="158742"/>
                </a:lnTo>
                <a:lnTo>
                  <a:pt x="53199" y="162964"/>
                </a:lnTo>
                <a:lnTo>
                  <a:pt x="57545" y="167078"/>
                </a:lnTo>
                <a:lnTo>
                  <a:pt x="61938" y="171068"/>
                </a:lnTo>
                <a:lnTo>
                  <a:pt x="66316" y="174917"/>
                </a:lnTo>
                <a:lnTo>
                  <a:pt x="70678" y="178643"/>
                </a:lnTo>
                <a:lnTo>
                  <a:pt x="75024" y="182229"/>
                </a:lnTo>
                <a:lnTo>
                  <a:pt x="81420" y="187352"/>
                </a:lnTo>
                <a:lnTo>
                  <a:pt x="89663" y="193639"/>
                </a:lnTo>
                <a:lnTo>
                  <a:pt x="97425" y="199274"/>
                </a:lnTo>
                <a:lnTo>
                  <a:pt x="101057" y="201819"/>
                </a:lnTo>
                <a:lnTo>
                  <a:pt x="102454" y="202766"/>
                </a:lnTo>
                <a:lnTo>
                  <a:pt x="105342" y="204458"/>
                </a:lnTo>
                <a:lnTo>
                  <a:pt x="108338" y="205918"/>
                </a:lnTo>
                <a:lnTo>
                  <a:pt x="111396" y="207128"/>
                </a:lnTo>
                <a:lnTo>
                  <a:pt x="114516" y="208091"/>
                </a:lnTo>
                <a:lnTo>
                  <a:pt x="117683" y="208820"/>
                </a:lnTo>
                <a:lnTo>
                  <a:pt x="120896" y="209302"/>
                </a:lnTo>
                <a:lnTo>
                  <a:pt x="124125" y="209550"/>
                </a:lnTo>
                <a:lnTo>
                  <a:pt x="127354" y="209550"/>
                </a:lnTo>
                <a:lnTo>
                  <a:pt x="130583" y="209302"/>
                </a:lnTo>
                <a:lnTo>
                  <a:pt x="133796" y="208820"/>
                </a:lnTo>
                <a:lnTo>
                  <a:pt x="136963" y="208091"/>
                </a:lnTo>
                <a:lnTo>
                  <a:pt x="140098" y="207128"/>
                </a:lnTo>
                <a:lnTo>
                  <a:pt x="143156" y="205918"/>
                </a:lnTo>
                <a:lnTo>
                  <a:pt x="146137" y="204458"/>
                </a:lnTo>
                <a:lnTo>
                  <a:pt x="149024" y="202766"/>
                </a:lnTo>
                <a:lnTo>
                  <a:pt x="150421" y="201819"/>
                </a:lnTo>
                <a:lnTo>
                  <a:pt x="154038" y="199289"/>
                </a:lnTo>
                <a:lnTo>
                  <a:pt x="161769" y="193670"/>
                </a:lnTo>
                <a:lnTo>
                  <a:pt x="169981" y="187414"/>
                </a:lnTo>
                <a:lnTo>
                  <a:pt x="176361" y="182306"/>
                </a:lnTo>
                <a:lnTo>
                  <a:pt x="180676" y="178736"/>
                </a:lnTo>
                <a:lnTo>
                  <a:pt x="185023" y="175042"/>
                </a:lnTo>
                <a:lnTo>
                  <a:pt x="189385" y="171192"/>
                </a:lnTo>
                <a:lnTo>
                  <a:pt x="193763" y="167233"/>
                </a:lnTo>
                <a:lnTo>
                  <a:pt x="198094" y="163151"/>
                </a:lnTo>
                <a:lnTo>
                  <a:pt x="202394" y="158944"/>
                </a:lnTo>
                <a:lnTo>
                  <a:pt x="206647" y="154613"/>
                </a:lnTo>
                <a:lnTo>
                  <a:pt x="210807" y="150189"/>
                </a:lnTo>
                <a:lnTo>
                  <a:pt x="214874" y="145656"/>
                </a:lnTo>
                <a:lnTo>
                  <a:pt x="218817" y="141014"/>
                </a:lnTo>
                <a:lnTo>
                  <a:pt x="222636" y="136280"/>
                </a:lnTo>
                <a:lnTo>
                  <a:pt x="226300" y="131467"/>
                </a:lnTo>
                <a:lnTo>
                  <a:pt x="229792" y="126562"/>
                </a:lnTo>
                <a:lnTo>
                  <a:pt x="233083" y="121579"/>
                </a:lnTo>
                <a:lnTo>
                  <a:pt x="236173" y="116518"/>
                </a:lnTo>
                <a:lnTo>
                  <a:pt x="239044" y="111380"/>
                </a:lnTo>
                <a:lnTo>
                  <a:pt x="241652" y="106180"/>
                </a:lnTo>
                <a:lnTo>
                  <a:pt x="243996" y="100917"/>
                </a:lnTo>
                <a:lnTo>
                  <a:pt x="245564" y="96928"/>
                </a:lnTo>
                <a:lnTo>
                  <a:pt x="246527" y="94258"/>
                </a:lnTo>
                <a:lnTo>
                  <a:pt x="247396" y="91572"/>
                </a:lnTo>
                <a:lnTo>
                  <a:pt x="248203" y="88871"/>
                </a:lnTo>
                <a:lnTo>
                  <a:pt x="248917" y="86155"/>
                </a:lnTo>
                <a:lnTo>
                  <a:pt x="249554" y="83438"/>
                </a:lnTo>
                <a:lnTo>
                  <a:pt x="250112" y="80706"/>
                </a:lnTo>
                <a:lnTo>
                  <a:pt x="250563" y="77958"/>
                </a:lnTo>
                <a:lnTo>
                  <a:pt x="250935" y="75211"/>
                </a:lnTo>
                <a:lnTo>
                  <a:pt x="251215" y="72448"/>
                </a:lnTo>
                <a:lnTo>
                  <a:pt x="251385" y="69684"/>
                </a:lnTo>
                <a:lnTo>
                  <a:pt x="251479" y="66906"/>
                </a:lnTo>
                <a:lnTo>
                  <a:pt x="251463" y="64127"/>
                </a:lnTo>
                <a:lnTo>
                  <a:pt x="251339" y="61333"/>
                </a:lnTo>
                <a:lnTo>
                  <a:pt x="251230" y="59936"/>
                </a:lnTo>
                <a:lnTo>
                  <a:pt x="251199" y="59610"/>
                </a:lnTo>
                <a:lnTo>
                  <a:pt x="251184" y="59268"/>
                </a:lnTo>
                <a:lnTo>
                  <a:pt x="250966" y="57235"/>
                </a:lnTo>
                <a:lnTo>
                  <a:pt x="250361" y="53199"/>
                </a:lnTo>
                <a:lnTo>
                  <a:pt x="249507" y="49256"/>
                </a:lnTo>
                <a:lnTo>
                  <a:pt x="248436" y="45421"/>
                </a:lnTo>
                <a:lnTo>
                  <a:pt x="247132" y="41665"/>
                </a:lnTo>
                <a:lnTo>
                  <a:pt x="245626" y="38032"/>
                </a:lnTo>
                <a:lnTo>
                  <a:pt x="243919" y="34508"/>
                </a:lnTo>
                <a:lnTo>
                  <a:pt x="242009" y="31124"/>
                </a:lnTo>
                <a:lnTo>
                  <a:pt x="240969" y="29479"/>
                </a:lnTo>
                <a:lnTo>
                  <a:pt x="240209" y="28299"/>
                </a:lnTo>
                <a:lnTo>
                  <a:pt x="239401" y="27135"/>
                </a:lnTo>
                <a:lnTo>
                  <a:pt x="238594" y="26110"/>
                </a:lnTo>
                <a:lnTo>
                  <a:pt x="237244" y="24667"/>
                </a:lnTo>
                <a:lnTo>
                  <a:pt x="236281" y="23766"/>
                </a:lnTo>
                <a:lnTo>
                  <a:pt x="235784" y="23332"/>
                </a:lnTo>
                <a:lnTo>
                  <a:pt x="234837" y="22571"/>
                </a:lnTo>
                <a:lnTo>
                  <a:pt x="232882" y="21236"/>
                </a:lnTo>
                <a:lnTo>
                  <a:pt x="230832" y="20134"/>
                </a:lnTo>
                <a:lnTo>
                  <a:pt x="228690" y="19233"/>
                </a:lnTo>
                <a:lnTo>
                  <a:pt x="226517" y="18566"/>
                </a:lnTo>
                <a:lnTo>
                  <a:pt x="224297" y="18116"/>
                </a:lnTo>
                <a:lnTo>
                  <a:pt x="222046" y="17883"/>
                </a:lnTo>
                <a:lnTo>
                  <a:pt x="219795" y="17867"/>
                </a:lnTo>
                <a:lnTo>
                  <a:pt x="217544" y="18069"/>
                </a:lnTo>
                <a:lnTo>
                  <a:pt x="215325" y="18473"/>
                </a:lnTo>
                <a:lnTo>
                  <a:pt x="213167" y="19094"/>
                </a:lnTo>
                <a:lnTo>
                  <a:pt x="211056" y="19916"/>
                </a:lnTo>
                <a:lnTo>
                  <a:pt x="209007" y="20957"/>
                </a:lnTo>
                <a:lnTo>
                  <a:pt x="207082" y="22214"/>
                </a:lnTo>
                <a:lnTo>
                  <a:pt x="205250" y="23658"/>
                </a:lnTo>
                <a:lnTo>
                  <a:pt x="203542" y="25319"/>
                </a:lnTo>
                <a:lnTo>
                  <a:pt x="202751" y="26219"/>
                </a:lnTo>
                <a:lnTo>
                  <a:pt x="185504" y="46787"/>
                </a:lnTo>
                <a:lnTo>
                  <a:pt x="141775" y="98899"/>
                </a:lnTo>
                <a:lnTo>
                  <a:pt x="141232" y="99567"/>
                </a:lnTo>
                <a:lnTo>
                  <a:pt x="140285" y="100964"/>
                </a:lnTo>
                <a:lnTo>
                  <a:pt x="139508" y="102439"/>
                </a:lnTo>
                <a:lnTo>
                  <a:pt x="138903" y="103976"/>
                </a:lnTo>
                <a:lnTo>
                  <a:pt x="138468" y="105543"/>
                </a:lnTo>
                <a:lnTo>
                  <a:pt x="138189" y="107142"/>
                </a:lnTo>
                <a:lnTo>
                  <a:pt x="138065" y="108741"/>
                </a:lnTo>
                <a:lnTo>
                  <a:pt x="138111" y="110356"/>
                </a:lnTo>
                <a:lnTo>
                  <a:pt x="138329" y="111955"/>
                </a:lnTo>
                <a:lnTo>
                  <a:pt x="138701" y="113522"/>
                </a:lnTo>
                <a:lnTo>
                  <a:pt x="139229" y="115044"/>
                </a:lnTo>
                <a:lnTo>
                  <a:pt x="139912" y="116518"/>
                </a:lnTo>
                <a:lnTo>
                  <a:pt x="140750" y="117931"/>
                </a:lnTo>
                <a:lnTo>
                  <a:pt x="141759" y="119266"/>
                </a:lnTo>
                <a:lnTo>
                  <a:pt x="142908" y="120492"/>
                </a:lnTo>
                <a:lnTo>
                  <a:pt x="144212" y="121626"/>
                </a:lnTo>
                <a:lnTo>
                  <a:pt x="144926" y="122138"/>
                </a:lnTo>
                <a:lnTo>
                  <a:pt x="145438" y="122479"/>
                </a:lnTo>
                <a:lnTo>
                  <a:pt x="146494" y="123085"/>
                </a:lnTo>
                <a:lnTo>
                  <a:pt x="147581" y="123613"/>
                </a:lnTo>
                <a:lnTo>
                  <a:pt x="148698" y="124063"/>
                </a:lnTo>
                <a:lnTo>
                  <a:pt x="149863" y="124420"/>
                </a:lnTo>
                <a:lnTo>
                  <a:pt x="151042" y="124684"/>
                </a:lnTo>
                <a:lnTo>
                  <a:pt x="152238" y="124854"/>
                </a:lnTo>
                <a:lnTo>
                  <a:pt x="153448" y="124932"/>
                </a:lnTo>
                <a:lnTo>
                  <a:pt x="154069" y="124932"/>
                </a:lnTo>
                <a:lnTo>
                  <a:pt x="154939" y="124901"/>
                </a:lnTo>
                <a:lnTo>
                  <a:pt x="156662" y="124699"/>
                </a:lnTo>
                <a:lnTo>
                  <a:pt x="158338" y="124311"/>
                </a:lnTo>
                <a:lnTo>
                  <a:pt x="159937" y="123752"/>
                </a:lnTo>
                <a:lnTo>
                  <a:pt x="161459" y="123038"/>
                </a:lnTo>
                <a:lnTo>
                  <a:pt x="162902" y="122153"/>
                </a:lnTo>
                <a:lnTo>
                  <a:pt x="164253" y="121113"/>
                </a:lnTo>
                <a:lnTo>
                  <a:pt x="165495" y="119918"/>
                </a:lnTo>
                <a:lnTo>
                  <a:pt x="166053" y="119266"/>
                </a:lnTo>
                <a:lnTo>
                  <a:pt x="210357" y="66471"/>
                </a:lnTo>
                <a:lnTo>
                  <a:pt x="210668" y="66130"/>
                </a:lnTo>
                <a:lnTo>
                  <a:pt x="211366" y="65586"/>
                </a:lnTo>
                <a:lnTo>
                  <a:pt x="212142" y="65183"/>
                </a:lnTo>
                <a:lnTo>
                  <a:pt x="212965" y="64950"/>
                </a:lnTo>
                <a:lnTo>
                  <a:pt x="213819" y="64872"/>
                </a:lnTo>
                <a:lnTo>
                  <a:pt x="214673" y="64965"/>
                </a:lnTo>
                <a:lnTo>
                  <a:pt x="215495" y="65214"/>
                </a:lnTo>
                <a:lnTo>
                  <a:pt x="216272" y="65633"/>
                </a:lnTo>
                <a:lnTo>
                  <a:pt x="216644" y="65928"/>
                </a:lnTo>
                <a:lnTo>
                  <a:pt x="219252" y="68117"/>
                </a:lnTo>
                <a:lnTo>
                  <a:pt x="219578" y="68412"/>
                </a:lnTo>
                <a:lnTo>
                  <a:pt x="220137" y="69110"/>
                </a:lnTo>
                <a:lnTo>
                  <a:pt x="220525" y="69886"/>
                </a:lnTo>
                <a:lnTo>
                  <a:pt x="220773" y="70709"/>
                </a:lnTo>
                <a:lnTo>
                  <a:pt x="220835" y="71563"/>
                </a:lnTo>
                <a:lnTo>
                  <a:pt x="220758" y="72417"/>
                </a:lnTo>
                <a:lnTo>
                  <a:pt x="220494" y="73239"/>
                </a:lnTo>
                <a:lnTo>
                  <a:pt x="220075" y="74031"/>
                </a:lnTo>
                <a:lnTo>
                  <a:pt x="219795" y="74388"/>
                </a:lnTo>
                <a:lnTo>
                  <a:pt x="175492" y="127183"/>
                </a:lnTo>
                <a:lnTo>
                  <a:pt x="174560" y="128239"/>
                </a:lnTo>
                <a:lnTo>
                  <a:pt x="172573" y="130195"/>
                </a:lnTo>
                <a:lnTo>
                  <a:pt x="170431" y="131918"/>
                </a:lnTo>
                <a:lnTo>
                  <a:pt x="168134" y="133423"/>
                </a:lnTo>
                <a:lnTo>
                  <a:pt x="165696" y="134681"/>
                </a:lnTo>
                <a:lnTo>
                  <a:pt x="163151" y="135705"/>
                </a:lnTo>
                <a:lnTo>
                  <a:pt x="160512" y="136481"/>
                </a:lnTo>
                <a:lnTo>
                  <a:pt x="157764" y="136994"/>
                </a:lnTo>
                <a:lnTo>
                  <a:pt x="156367" y="137133"/>
                </a:lnTo>
                <a:lnTo>
                  <a:pt x="155109" y="137227"/>
                </a:lnTo>
                <a:lnTo>
                  <a:pt x="153868" y="137242"/>
                </a:lnTo>
                <a:lnTo>
                  <a:pt x="152626" y="137227"/>
                </a:lnTo>
                <a:lnTo>
                  <a:pt x="150189" y="137009"/>
                </a:lnTo>
                <a:lnTo>
                  <a:pt x="147782" y="136590"/>
                </a:lnTo>
                <a:lnTo>
                  <a:pt x="145438" y="135954"/>
                </a:lnTo>
                <a:lnTo>
                  <a:pt x="143141" y="135131"/>
                </a:lnTo>
                <a:lnTo>
                  <a:pt x="140937" y="134091"/>
                </a:lnTo>
                <a:lnTo>
                  <a:pt x="138810" y="132865"/>
                </a:lnTo>
                <a:lnTo>
                  <a:pt x="136776" y="131436"/>
                </a:lnTo>
                <a:lnTo>
                  <a:pt x="135814" y="130645"/>
                </a:lnTo>
                <a:lnTo>
                  <a:pt x="135255" y="130179"/>
                </a:lnTo>
                <a:lnTo>
                  <a:pt x="134200" y="129201"/>
                </a:lnTo>
                <a:lnTo>
                  <a:pt x="132725" y="127649"/>
                </a:lnTo>
                <a:lnTo>
                  <a:pt x="130986" y="125460"/>
                </a:lnTo>
                <a:lnTo>
                  <a:pt x="129496" y="123131"/>
                </a:lnTo>
                <a:lnTo>
                  <a:pt x="128254" y="120679"/>
                </a:lnTo>
                <a:lnTo>
                  <a:pt x="127245" y="118148"/>
                </a:lnTo>
                <a:lnTo>
                  <a:pt x="126500" y="115540"/>
                </a:lnTo>
                <a:lnTo>
                  <a:pt x="126019" y="112870"/>
                </a:lnTo>
                <a:lnTo>
                  <a:pt x="125786" y="110185"/>
                </a:lnTo>
                <a:lnTo>
                  <a:pt x="125801" y="107468"/>
                </a:lnTo>
                <a:lnTo>
                  <a:pt x="126081" y="104783"/>
                </a:lnTo>
                <a:lnTo>
                  <a:pt x="126624" y="102113"/>
                </a:lnTo>
                <a:lnTo>
                  <a:pt x="127431" y="99489"/>
                </a:lnTo>
                <a:lnTo>
                  <a:pt x="128487" y="96928"/>
                </a:lnTo>
                <a:lnTo>
                  <a:pt x="129822" y="94460"/>
                </a:lnTo>
                <a:lnTo>
                  <a:pt x="131017" y="92690"/>
                </a:lnTo>
                <a:lnTo>
                  <a:pt x="131887" y="91541"/>
                </a:lnTo>
                <a:lnTo>
                  <a:pt x="132337" y="90967"/>
                </a:lnTo>
                <a:lnTo>
                  <a:pt x="157966" y="60432"/>
                </a:lnTo>
                <a:lnTo>
                  <a:pt x="193312" y="18302"/>
                </a:lnTo>
                <a:lnTo>
                  <a:pt x="193856" y="17681"/>
                </a:lnTo>
                <a:lnTo>
                  <a:pt x="194958" y="16470"/>
                </a:lnTo>
                <a:lnTo>
                  <a:pt x="196697" y="14778"/>
                </a:lnTo>
                <a:lnTo>
                  <a:pt x="199149" y="12745"/>
                </a:lnTo>
                <a:lnTo>
                  <a:pt x="201757" y="10960"/>
                </a:lnTo>
                <a:lnTo>
                  <a:pt x="204474" y="9423"/>
                </a:lnTo>
                <a:lnTo>
                  <a:pt x="207299" y="8134"/>
                </a:lnTo>
                <a:lnTo>
                  <a:pt x="210217" y="7110"/>
                </a:lnTo>
                <a:lnTo>
                  <a:pt x="213198" y="6334"/>
                </a:lnTo>
                <a:lnTo>
                  <a:pt x="214704" y="6054"/>
                </a:lnTo>
                <a:lnTo>
                  <a:pt x="213105" y="5309"/>
                </a:lnTo>
                <a:lnTo>
                  <a:pt x="209860" y="3958"/>
                </a:lnTo>
                <a:lnTo>
                  <a:pt x="206523" y="2810"/>
                </a:lnTo>
                <a:lnTo>
                  <a:pt x="203108" y="1832"/>
                </a:lnTo>
                <a:lnTo>
                  <a:pt x="199630" y="1056"/>
                </a:lnTo>
                <a:lnTo>
                  <a:pt x="196091" y="497"/>
                </a:lnTo>
                <a:lnTo>
                  <a:pt x="192505" y="140"/>
                </a:lnTo>
                <a:lnTo>
                  <a:pt x="188857" y="0"/>
                </a:lnTo>
                <a:lnTo>
                  <a:pt x="187010" y="16"/>
                </a:lnTo>
                <a:lnTo>
                  <a:pt x="185737" y="47"/>
                </a:lnTo>
                <a:lnTo>
                  <a:pt x="183222" y="202"/>
                </a:lnTo>
                <a:lnTo>
                  <a:pt x="180723" y="450"/>
                </a:lnTo>
                <a:lnTo>
                  <a:pt x="178255" y="776"/>
                </a:lnTo>
                <a:lnTo>
                  <a:pt x="175802" y="1195"/>
                </a:lnTo>
                <a:lnTo>
                  <a:pt x="173380" y="1708"/>
                </a:lnTo>
                <a:lnTo>
                  <a:pt x="171005" y="2313"/>
                </a:lnTo>
                <a:lnTo>
                  <a:pt x="168646" y="2996"/>
                </a:lnTo>
                <a:lnTo>
                  <a:pt x="166317" y="3757"/>
                </a:lnTo>
                <a:lnTo>
                  <a:pt x="164035" y="4610"/>
                </a:lnTo>
                <a:lnTo>
                  <a:pt x="161800" y="5542"/>
                </a:lnTo>
                <a:lnTo>
                  <a:pt x="159596" y="6551"/>
                </a:lnTo>
                <a:lnTo>
                  <a:pt x="157422" y="7638"/>
                </a:lnTo>
                <a:lnTo>
                  <a:pt x="155311" y="8786"/>
                </a:lnTo>
                <a:lnTo>
                  <a:pt x="153247" y="10028"/>
                </a:lnTo>
                <a:lnTo>
                  <a:pt x="151213" y="11332"/>
                </a:lnTo>
                <a:lnTo>
                  <a:pt x="149257" y="12714"/>
                </a:lnTo>
                <a:lnTo>
                  <a:pt x="147332" y="14157"/>
                </a:lnTo>
                <a:lnTo>
                  <a:pt x="145469" y="15679"/>
                </a:lnTo>
                <a:lnTo>
                  <a:pt x="143669" y="17262"/>
                </a:lnTo>
                <a:lnTo>
                  <a:pt x="141930" y="18907"/>
                </a:lnTo>
                <a:lnTo>
                  <a:pt x="140254" y="20615"/>
                </a:lnTo>
                <a:lnTo>
                  <a:pt x="138624" y="22385"/>
                </a:lnTo>
                <a:lnTo>
                  <a:pt x="137071" y="24216"/>
                </a:lnTo>
                <a:lnTo>
                  <a:pt x="135597" y="26095"/>
                </a:lnTo>
                <a:lnTo>
                  <a:pt x="134184" y="28035"/>
                </a:lnTo>
                <a:lnTo>
                  <a:pt x="132833" y="30038"/>
                </a:lnTo>
                <a:lnTo>
                  <a:pt x="131561" y="32102"/>
                </a:lnTo>
                <a:lnTo>
                  <a:pt x="130381" y="34198"/>
                </a:lnTo>
                <a:lnTo>
                  <a:pt x="129263" y="36356"/>
                </a:lnTo>
                <a:lnTo>
                  <a:pt x="128223" y="38560"/>
                </a:lnTo>
                <a:lnTo>
                  <a:pt x="127276" y="40826"/>
                </a:lnTo>
                <a:lnTo>
                  <a:pt x="126841" y="41960"/>
                </a:lnTo>
                <a:lnTo>
                  <a:pt x="126717" y="42270"/>
                </a:lnTo>
                <a:lnTo>
                  <a:pt x="126469" y="42720"/>
                </a:lnTo>
                <a:lnTo>
                  <a:pt x="126205" y="42969"/>
                </a:lnTo>
                <a:lnTo>
                  <a:pt x="125910" y="43062"/>
                </a:lnTo>
                <a:lnTo>
                  <a:pt x="125739" y="43077"/>
                </a:lnTo>
                <a:lnTo>
                  <a:pt x="125569" y="43062"/>
                </a:lnTo>
                <a:lnTo>
                  <a:pt x="125274" y="42969"/>
                </a:lnTo>
                <a:lnTo>
                  <a:pt x="125010" y="42720"/>
                </a:lnTo>
                <a:lnTo>
                  <a:pt x="124761" y="42270"/>
                </a:lnTo>
                <a:lnTo>
                  <a:pt x="124637" y="41960"/>
                </a:lnTo>
                <a:lnTo>
                  <a:pt x="124202" y="40826"/>
                </a:lnTo>
                <a:lnTo>
                  <a:pt x="123256" y="38560"/>
                </a:lnTo>
                <a:lnTo>
                  <a:pt x="122215" y="36356"/>
                </a:lnTo>
                <a:lnTo>
                  <a:pt x="121098" y="34198"/>
                </a:lnTo>
                <a:lnTo>
                  <a:pt x="119918" y="32102"/>
                </a:lnTo>
                <a:lnTo>
                  <a:pt x="118645" y="30038"/>
                </a:lnTo>
                <a:lnTo>
                  <a:pt x="117295" y="28035"/>
                </a:lnTo>
                <a:lnTo>
                  <a:pt x="115882" y="26095"/>
                </a:lnTo>
                <a:lnTo>
                  <a:pt x="114407" y="24216"/>
                </a:lnTo>
                <a:lnTo>
                  <a:pt x="112855" y="22385"/>
                </a:lnTo>
                <a:lnTo>
                  <a:pt x="111225" y="20615"/>
                </a:lnTo>
                <a:lnTo>
                  <a:pt x="109548" y="18907"/>
                </a:lnTo>
                <a:lnTo>
                  <a:pt x="107810" y="17262"/>
                </a:lnTo>
                <a:lnTo>
                  <a:pt x="106009" y="15679"/>
                </a:lnTo>
                <a:lnTo>
                  <a:pt x="104146" y="14157"/>
                </a:lnTo>
                <a:lnTo>
                  <a:pt x="102221" y="12714"/>
                </a:lnTo>
                <a:lnTo>
                  <a:pt x="100265" y="11332"/>
                </a:lnTo>
                <a:lnTo>
                  <a:pt x="98232" y="10028"/>
                </a:lnTo>
                <a:lnTo>
                  <a:pt x="96167" y="8786"/>
                </a:lnTo>
                <a:lnTo>
                  <a:pt x="94056" y="7638"/>
                </a:lnTo>
                <a:lnTo>
                  <a:pt x="91883" y="6551"/>
                </a:lnTo>
                <a:lnTo>
                  <a:pt x="89678" y="5542"/>
                </a:lnTo>
                <a:lnTo>
                  <a:pt x="87443" y="4610"/>
                </a:lnTo>
                <a:lnTo>
                  <a:pt x="85161" y="3757"/>
                </a:lnTo>
                <a:lnTo>
                  <a:pt x="82833" y="2996"/>
                </a:lnTo>
                <a:lnTo>
                  <a:pt x="80473" y="2313"/>
                </a:lnTo>
                <a:lnTo>
                  <a:pt x="78098" y="1708"/>
                </a:lnTo>
                <a:lnTo>
                  <a:pt x="75676" y="1195"/>
                </a:lnTo>
                <a:lnTo>
                  <a:pt x="73224" y="776"/>
                </a:lnTo>
                <a:lnTo>
                  <a:pt x="70756" y="450"/>
                </a:lnTo>
                <a:lnTo>
                  <a:pt x="68256" y="202"/>
                </a:lnTo>
                <a:lnTo>
                  <a:pt x="65741" y="47"/>
                </a:lnTo>
                <a:lnTo>
                  <a:pt x="64469" y="16"/>
                </a:lnTo>
                <a:lnTo>
                  <a:pt x="62932" y="0"/>
                </a:lnTo>
                <a:close/>
              </a:path>
            </a:pathLst>
          </a:custGeom>
          <a:solidFill>
            <a:srgbClr val="F7224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0857460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2B Section title and description_third">
  <p:cSld name="B2B Section title and description_third">
    <p:bg>
      <p:bgPr>
        <a:solidFill>
          <a:schemeClr val="dk1"/>
        </a:solidFill>
        <a:effectLst/>
      </p:bgPr>
    </p:bg>
    <p:spTree>
      <p:nvGrpSpPr>
        <p:cNvPr id="1" name="Shape 6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6" name="Google Shape;656;p54"/>
          <p:cNvSpPr/>
          <p:nvPr/>
        </p:nvSpPr>
        <p:spPr>
          <a:xfrm flipH="1">
            <a:off x="72" y="0"/>
            <a:ext cx="121896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57" name="Google Shape;657;p54"/>
          <p:cNvSpPr/>
          <p:nvPr/>
        </p:nvSpPr>
        <p:spPr>
          <a:xfrm>
            <a:off x="4876800" y="225"/>
            <a:ext cx="73152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58" name="Google Shape;658;p54"/>
          <p:cNvSpPr txBox="1">
            <a:spLocks noGrp="1"/>
          </p:cNvSpPr>
          <p:nvPr>
            <p:ph type="title"/>
          </p:nvPr>
        </p:nvSpPr>
        <p:spPr>
          <a:xfrm>
            <a:off x="457203" y="1855200"/>
            <a:ext cx="4124700" cy="2385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500"/>
              <a:buNone/>
              <a:defRPr sz="4500">
                <a:solidFill>
                  <a:schemeClr val="dk2"/>
                </a:solidFill>
              </a:defRPr>
            </a:lvl1pPr>
            <a:lvl2pPr lvl="1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2pPr>
            <a:lvl3pPr lvl="2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3pPr>
            <a:lvl4pPr lvl="3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4pPr>
            <a:lvl5pPr lvl="4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5pPr>
            <a:lvl6pPr lvl="5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6pPr>
            <a:lvl7pPr lvl="6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7pPr>
            <a:lvl8pPr lvl="7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8pPr>
            <a:lvl9pPr lvl="8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100"/>
              <a:buNone/>
              <a:defRPr sz="61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659" name="Google Shape;659;p54"/>
          <p:cNvSpPr txBox="1">
            <a:spLocks noGrp="1"/>
          </p:cNvSpPr>
          <p:nvPr>
            <p:ph type="subTitle" idx="1"/>
          </p:nvPr>
        </p:nvSpPr>
        <p:spPr>
          <a:xfrm>
            <a:off x="457200" y="4546600"/>
            <a:ext cx="4522800" cy="1516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3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9pPr>
          </a:lstStyle>
          <a:p>
            <a:endParaRPr/>
          </a:p>
        </p:txBody>
      </p:sp>
      <p:sp>
        <p:nvSpPr>
          <p:cNvPr id="660" name="Google Shape;660;p54"/>
          <p:cNvSpPr txBox="1">
            <a:spLocks noGrp="1"/>
          </p:cNvSpPr>
          <p:nvPr>
            <p:ph type="body" idx="2"/>
          </p:nvPr>
        </p:nvSpPr>
        <p:spPr>
          <a:xfrm>
            <a:off x="5143500" y="496675"/>
            <a:ext cx="6558300" cy="55947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rmAutofit/>
          </a:bodyPr>
          <a:lstStyle>
            <a:lvl1pPr marL="457200" lvl="0" indent="-330200" rtl="0">
              <a:spcBef>
                <a:spcPts val="0"/>
              </a:spcBef>
              <a:spcAft>
                <a:spcPts val="0"/>
              </a:spcAft>
              <a:buSzPts val="1600"/>
              <a:buChar char="•"/>
              <a:defRPr sz="1600"/>
            </a:lvl1pPr>
            <a:lvl2pPr marL="914400" lvl="1" indent="-323850" rtl="0">
              <a:spcBef>
                <a:spcPts val="1300"/>
              </a:spcBef>
              <a:spcAft>
                <a:spcPts val="0"/>
              </a:spcAft>
              <a:buSzPts val="1500"/>
              <a:buChar char="○"/>
              <a:defRPr sz="1500"/>
            </a:lvl2pPr>
            <a:lvl3pPr marL="1371600" lvl="2" indent="-311150" rtl="0">
              <a:spcBef>
                <a:spcPts val="1300"/>
              </a:spcBef>
              <a:spcAft>
                <a:spcPts val="0"/>
              </a:spcAft>
              <a:buSzPts val="1300"/>
              <a:buChar char="•"/>
              <a:defRPr sz="1300"/>
            </a:lvl3pPr>
            <a:lvl4pPr marL="1828800" lvl="3" indent="-304800" rtl="0">
              <a:spcBef>
                <a:spcPts val="1300"/>
              </a:spcBef>
              <a:spcAft>
                <a:spcPts val="0"/>
              </a:spcAft>
              <a:buSzPts val="1200"/>
              <a:buChar char="◦"/>
              <a:defRPr sz="1200"/>
            </a:lvl4pPr>
            <a:lvl5pPr marL="2286000" lvl="4" indent="-298450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/>
            </a:lvl5pPr>
            <a:lvl6pPr marL="2743200" lvl="5" indent="-298450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/>
            </a:lvl6pPr>
            <a:lvl7pPr marL="3200400" lvl="6" indent="-298450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/>
            </a:lvl7pPr>
            <a:lvl8pPr marL="3657600" lvl="7" indent="-298450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 rtl="0">
              <a:spcBef>
                <a:spcPts val="1300"/>
              </a:spcBef>
              <a:spcAft>
                <a:spcPts val="1300"/>
              </a:spcAft>
              <a:buSzPts val="1100"/>
              <a:buChar char="•"/>
              <a:defRPr/>
            </a:lvl9pPr>
          </a:lstStyle>
          <a:p>
            <a:endParaRPr/>
          </a:p>
        </p:txBody>
      </p:sp>
      <p:sp>
        <p:nvSpPr>
          <p:cNvPr id="661" name="Google Shape;661;p54"/>
          <p:cNvSpPr txBox="1">
            <a:spLocks noGrp="1"/>
          </p:cNvSpPr>
          <p:nvPr>
            <p:ph type="sldNum" idx="12"/>
          </p:nvPr>
        </p:nvSpPr>
        <p:spPr>
          <a:xfrm>
            <a:off x="11044810" y="6091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grpSp>
        <p:nvGrpSpPr>
          <p:cNvPr id="662" name="Google Shape;662;p54"/>
          <p:cNvGrpSpPr/>
          <p:nvPr/>
        </p:nvGrpSpPr>
        <p:grpSpPr>
          <a:xfrm>
            <a:off x="415585" y="6427302"/>
            <a:ext cx="1329629" cy="189008"/>
            <a:chOff x="237650" y="2349675"/>
            <a:chExt cx="7144700" cy="1015625"/>
          </a:xfrm>
        </p:grpSpPr>
        <p:sp>
          <p:nvSpPr>
            <p:cNvPr id="663" name="Google Shape;663;p54"/>
            <p:cNvSpPr/>
            <p:nvPr/>
          </p:nvSpPr>
          <p:spPr>
            <a:xfrm>
              <a:off x="3096625" y="2466575"/>
              <a:ext cx="156400" cy="841200"/>
            </a:xfrm>
            <a:custGeom>
              <a:avLst/>
              <a:gdLst/>
              <a:ahLst/>
              <a:cxnLst/>
              <a:rect l="l" t="t" r="r" b="b"/>
              <a:pathLst>
                <a:path w="6256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2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1" y="1448"/>
                  </a:lnTo>
                  <a:lnTo>
                    <a:pt x="1" y="32182"/>
                  </a:lnTo>
                  <a:lnTo>
                    <a:pt x="19" y="32479"/>
                  </a:lnTo>
                  <a:lnTo>
                    <a:pt x="242" y="33017"/>
                  </a:lnTo>
                  <a:lnTo>
                    <a:pt x="632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08" y="33648"/>
                  </a:lnTo>
                  <a:lnTo>
                    <a:pt x="5105" y="33629"/>
                  </a:lnTo>
                  <a:lnTo>
                    <a:pt x="5624" y="33406"/>
                  </a:lnTo>
                  <a:lnTo>
                    <a:pt x="6014" y="33017"/>
                  </a:lnTo>
                  <a:lnTo>
                    <a:pt x="6237" y="32479"/>
                  </a:lnTo>
                  <a:lnTo>
                    <a:pt x="6255" y="32182"/>
                  </a:lnTo>
                  <a:lnTo>
                    <a:pt x="6255" y="1448"/>
                  </a:lnTo>
                  <a:lnTo>
                    <a:pt x="6237" y="1151"/>
                  </a:lnTo>
                  <a:lnTo>
                    <a:pt x="6014" y="632"/>
                  </a:lnTo>
                  <a:lnTo>
                    <a:pt x="5624" y="242"/>
                  </a:lnTo>
                  <a:lnTo>
                    <a:pt x="5105" y="19"/>
                  </a:lnTo>
                  <a:lnTo>
                    <a:pt x="4808" y="1"/>
                  </a:lnTo>
                  <a:close/>
                </a:path>
              </a:pathLst>
            </a:custGeom>
            <a:solidFill>
              <a:srgbClr val="F3F3E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664" name="Google Shape;664;p54"/>
            <p:cNvSpPr/>
            <p:nvPr/>
          </p:nvSpPr>
          <p:spPr>
            <a:xfrm>
              <a:off x="1673175" y="2466575"/>
              <a:ext cx="655150" cy="841200"/>
            </a:xfrm>
            <a:custGeom>
              <a:avLst/>
              <a:gdLst/>
              <a:ahLst/>
              <a:cxnLst/>
              <a:rect l="l" t="t" r="r" b="b"/>
              <a:pathLst>
                <a:path w="26206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1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0" y="1448"/>
                  </a:lnTo>
                  <a:lnTo>
                    <a:pt x="0" y="32200"/>
                  </a:lnTo>
                  <a:lnTo>
                    <a:pt x="19" y="32497"/>
                  </a:lnTo>
                  <a:lnTo>
                    <a:pt x="242" y="33017"/>
                  </a:lnTo>
                  <a:lnTo>
                    <a:pt x="631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26" y="33648"/>
                  </a:lnTo>
                  <a:lnTo>
                    <a:pt x="5104" y="33629"/>
                  </a:lnTo>
                  <a:lnTo>
                    <a:pt x="5624" y="33406"/>
                  </a:lnTo>
                  <a:lnTo>
                    <a:pt x="6032" y="33017"/>
                  </a:lnTo>
                  <a:lnTo>
                    <a:pt x="6255" y="32497"/>
                  </a:lnTo>
                  <a:lnTo>
                    <a:pt x="6273" y="32200"/>
                  </a:lnTo>
                  <a:lnTo>
                    <a:pt x="6273" y="18133"/>
                  </a:lnTo>
                  <a:lnTo>
                    <a:pt x="19933" y="18133"/>
                  </a:lnTo>
                  <a:lnTo>
                    <a:pt x="19933" y="32200"/>
                  </a:lnTo>
                  <a:lnTo>
                    <a:pt x="19951" y="32497"/>
                  </a:lnTo>
                  <a:lnTo>
                    <a:pt x="20174" y="33017"/>
                  </a:lnTo>
                  <a:lnTo>
                    <a:pt x="20564" y="33406"/>
                  </a:lnTo>
                  <a:lnTo>
                    <a:pt x="21083" y="33629"/>
                  </a:lnTo>
                  <a:lnTo>
                    <a:pt x="21380" y="33648"/>
                  </a:lnTo>
                  <a:lnTo>
                    <a:pt x="24739" y="33648"/>
                  </a:lnTo>
                  <a:lnTo>
                    <a:pt x="25036" y="33629"/>
                  </a:lnTo>
                  <a:lnTo>
                    <a:pt x="25556" y="33406"/>
                  </a:lnTo>
                  <a:lnTo>
                    <a:pt x="25964" y="33017"/>
                  </a:lnTo>
                  <a:lnTo>
                    <a:pt x="26168" y="32497"/>
                  </a:lnTo>
                  <a:lnTo>
                    <a:pt x="26205" y="32200"/>
                  </a:lnTo>
                  <a:lnTo>
                    <a:pt x="26205" y="1448"/>
                  </a:lnTo>
                  <a:lnTo>
                    <a:pt x="26168" y="1151"/>
                  </a:lnTo>
                  <a:lnTo>
                    <a:pt x="25964" y="632"/>
                  </a:lnTo>
                  <a:lnTo>
                    <a:pt x="25556" y="242"/>
                  </a:lnTo>
                  <a:lnTo>
                    <a:pt x="25036" y="19"/>
                  </a:lnTo>
                  <a:lnTo>
                    <a:pt x="24739" y="1"/>
                  </a:lnTo>
                  <a:lnTo>
                    <a:pt x="21380" y="1"/>
                  </a:lnTo>
                  <a:lnTo>
                    <a:pt x="21083" y="19"/>
                  </a:lnTo>
                  <a:lnTo>
                    <a:pt x="20564" y="242"/>
                  </a:lnTo>
                  <a:lnTo>
                    <a:pt x="20174" y="632"/>
                  </a:lnTo>
                  <a:lnTo>
                    <a:pt x="19951" y="1151"/>
                  </a:lnTo>
                  <a:lnTo>
                    <a:pt x="19933" y="1448"/>
                  </a:lnTo>
                  <a:lnTo>
                    <a:pt x="19933" y="13641"/>
                  </a:lnTo>
                  <a:lnTo>
                    <a:pt x="6273" y="13641"/>
                  </a:lnTo>
                  <a:lnTo>
                    <a:pt x="6273" y="1448"/>
                  </a:lnTo>
                  <a:lnTo>
                    <a:pt x="6255" y="1151"/>
                  </a:lnTo>
                  <a:lnTo>
                    <a:pt x="6032" y="632"/>
                  </a:lnTo>
                  <a:lnTo>
                    <a:pt x="5624" y="242"/>
                  </a:lnTo>
                  <a:lnTo>
                    <a:pt x="5104" y="19"/>
                  </a:lnTo>
                  <a:lnTo>
                    <a:pt x="4826" y="1"/>
                  </a:lnTo>
                  <a:close/>
                </a:path>
              </a:pathLst>
            </a:custGeom>
            <a:solidFill>
              <a:srgbClr val="F3F3E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665" name="Google Shape;665;p54"/>
            <p:cNvSpPr/>
            <p:nvPr/>
          </p:nvSpPr>
          <p:spPr>
            <a:xfrm>
              <a:off x="3382900" y="2466575"/>
              <a:ext cx="156375" cy="841200"/>
            </a:xfrm>
            <a:custGeom>
              <a:avLst/>
              <a:gdLst/>
              <a:ahLst/>
              <a:cxnLst/>
              <a:rect l="l" t="t" r="r" b="b"/>
              <a:pathLst>
                <a:path w="6255" h="33648" extrusionOk="0">
                  <a:moveTo>
                    <a:pt x="1448" y="1"/>
                  </a:moveTo>
                  <a:lnTo>
                    <a:pt x="1151" y="19"/>
                  </a:lnTo>
                  <a:lnTo>
                    <a:pt x="632" y="242"/>
                  </a:lnTo>
                  <a:lnTo>
                    <a:pt x="242" y="632"/>
                  </a:lnTo>
                  <a:lnTo>
                    <a:pt x="19" y="1151"/>
                  </a:lnTo>
                  <a:lnTo>
                    <a:pt x="1" y="1448"/>
                  </a:lnTo>
                  <a:lnTo>
                    <a:pt x="1" y="32182"/>
                  </a:lnTo>
                  <a:lnTo>
                    <a:pt x="19" y="32479"/>
                  </a:lnTo>
                  <a:lnTo>
                    <a:pt x="242" y="33017"/>
                  </a:lnTo>
                  <a:lnTo>
                    <a:pt x="632" y="33406"/>
                  </a:lnTo>
                  <a:lnTo>
                    <a:pt x="1151" y="33629"/>
                  </a:lnTo>
                  <a:lnTo>
                    <a:pt x="1448" y="33648"/>
                  </a:lnTo>
                  <a:lnTo>
                    <a:pt x="4807" y="33648"/>
                  </a:lnTo>
                  <a:lnTo>
                    <a:pt x="5104" y="33629"/>
                  </a:lnTo>
                  <a:lnTo>
                    <a:pt x="5624" y="33406"/>
                  </a:lnTo>
                  <a:lnTo>
                    <a:pt x="6014" y="33017"/>
                  </a:lnTo>
                  <a:lnTo>
                    <a:pt x="6236" y="32479"/>
                  </a:lnTo>
                  <a:lnTo>
                    <a:pt x="6255" y="32182"/>
                  </a:lnTo>
                  <a:lnTo>
                    <a:pt x="6255" y="1448"/>
                  </a:lnTo>
                  <a:lnTo>
                    <a:pt x="6236" y="1151"/>
                  </a:lnTo>
                  <a:lnTo>
                    <a:pt x="6014" y="632"/>
                  </a:lnTo>
                  <a:lnTo>
                    <a:pt x="5624" y="242"/>
                  </a:lnTo>
                  <a:lnTo>
                    <a:pt x="5104" y="19"/>
                  </a:lnTo>
                  <a:lnTo>
                    <a:pt x="4807" y="1"/>
                  </a:lnTo>
                  <a:close/>
                </a:path>
              </a:pathLst>
            </a:custGeom>
            <a:solidFill>
              <a:srgbClr val="F3F3E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666" name="Google Shape;666;p54"/>
            <p:cNvSpPr/>
            <p:nvPr/>
          </p:nvSpPr>
          <p:spPr>
            <a:xfrm>
              <a:off x="3610700" y="2663300"/>
              <a:ext cx="680675" cy="662575"/>
            </a:xfrm>
            <a:custGeom>
              <a:avLst/>
              <a:gdLst/>
              <a:ahLst/>
              <a:cxnLst/>
              <a:rect l="l" t="t" r="r" b="b"/>
              <a:pathLst>
                <a:path w="27227" h="26503" extrusionOk="0">
                  <a:moveTo>
                    <a:pt x="14087" y="5123"/>
                  </a:moveTo>
                  <a:lnTo>
                    <a:pt x="14959" y="5216"/>
                  </a:lnTo>
                  <a:lnTo>
                    <a:pt x="15757" y="5383"/>
                  </a:lnTo>
                  <a:lnTo>
                    <a:pt x="16500" y="5661"/>
                  </a:lnTo>
                  <a:lnTo>
                    <a:pt x="16852" y="5828"/>
                  </a:lnTo>
                  <a:lnTo>
                    <a:pt x="17521" y="6199"/>
                  </a:lnTo>
                  <a:lnTo>
                    <a:pt x="18634" y="7127"/>
                  </a:lnTo>
                  <a:lnTo>
                    <a:pt x="19098" y="7665"/>
                  </a:lnTo>
                  <a:lnTo>
                    <a:pt x="19525" y="8259"/>
                  </a:lnTo>
                  <a:lnTo>
                    <a:pt x="20193" y="9558"/>
                  </a:lnTo>
                  <a:lnTo>
                    <a:pt x="20434" y="10264"/>
                  </a:lnTo>
                  <a:lnTo>
                    <a:pt x="20638" y="10969"/>
                  </a:lnTo>
                  <a:lnTo>
                    <a:pt x="20861" y="12416"/>
                  </a:lnTo>
                  <a:lnTo>
                    <a:pt x="20880" y="13159"/>
                  </a:lnTo>
                  <a:lnTo>
                    <a:pt x="20861" y="13883"/>
                  </a:lnTo>
                  <a:lnTo>
                    <a:pt x="20638" y="15349"/>
                  </a:lnTo>
                  <a:lnTo>
                    <a:pt x="20434" y="16073"/>
                  </a:lnTo>
                  <a:lnTo>
                    <a:pt x="20193" y="16796"/>
                  </a:lnTo>
                  <a:lnTo>
                    <a:pt x="19525" y="18095"/>
                  </a:lnTo>
                  <a:lnTo>
                    <a:pt x="19098" y="18671"/>
                  </a:lnTo>
                  <a:lnTo>
                    <a:pt x="18634" y="19228"/>
                  </a:lnTo>
                  <a:lnTo>
                    <a:pt x="17521" y="20174"/>
                  </a:lnTo>
                  <a:lnTo>
                    <a:pt x="16852" y="20564"/>
                  </a:lnTo>
                  <a:lnTo>
                    <a:pt x="16500" y="20731"/>
                  </a:lnTo>
                  <a:lnTo>
                    <a:pt x="15757" y="21009"/>
                  </a:lnTo>
                  <a:lnTo>
                    <a:pt x="14959" y="21195"/>
                  </a:lnTo>
                  <a:lnTo>
                    <a:pt x="14087" y="21269"/>
                  </a:lnTo>
                  <a:lnTo>
                    <a:pt x="13623" y="21288"/>
                  </a:lnTo>
                  <a:lnTo>
                    <a:pt x="13159" y="21269"/>
                  </a:lnTo>
                  <a:lnTo>
                    <a:pt x="12287" y="21195"/>
                  </a:lnTo>
                  <a:lnTo>
                    <a:pt x="11470" y="21009"/>
                  </a:lnTo>
                  <a:lnTo>
                    <a:pt x="10728" y="20731"/>
                  </a:lnTo>
                  <a:lnTo>
                    <a:pt x="10394" y="20564"/>
                  </a:lnTo>
                  <a:lnTo>
                    <a:pt x="9726" y="20174"/>
                  </a:lnTo>
                  <a:lnTo>
                    <a:pt x="8612" y="19228"/>
                  </a:lnTo>
                  <a:lnTo>
                    <a:pt x="8148" y="18671"/>
                  </a:lnTo>
                  <a:lnTo>
                    <a:pt x="7721" y="18095"/>
                  </a:lnTo>
                  <a:lnTo>
                    <a:pt x="7053" y="16778"/>
                  </a:lnTo>
                  <a:lnTo>
                    <a:pt x="6812" y="16073"/>
                  </a:lnTo>
                  <a:lnTo>
                    <a:pt x="6608" y="15349"/>
                  </a:lnTo>
                  <a:lnTo>
                    <a:pt x="6385" y="13883"/>
                  </a:lnTo>
                  <a:lnTo>
                    <a:pt x="6367" y="13159"/>
                  </a:lnTo>
                  <a:lnTo>
                    <a:pt x="6385" y="12416"/>
                  </a:lnTo>
                  <a:lnTo>
                    <a:pt x="6608" y="10969"/>
                  </a:lnTo>
                  <a:lnTo>
                    <a:pt x="6812" y="10264"/>
                  </a:lnTo>
                  <a:lnTo>
                    <a:pt x="7053" y="9558"/>
                  </a:lnTo>
                  <a:lnTo>
                    <a:pt x="7721" y="8259"/>
                  </a:lnTo>
                  <a:lnTo>
                    <a:pt x="8148" y="7665"/>
                  </a:lnTo>
                  <a:lnTo>
                    <a:pt x="8612" y="7127"/>
                  </a:lnTo>
                  <a:lnTo>
                    <a:pt x="9726" y="6199"/>
                  </a:lnTo>
                  <a:lnTo>
                    <a:pt x="10394" y="5828"/>
                  </a:lnTo>
                  <a:lnTo>
                    <a:pt x="10728" y="5661"/>
                  </a:lnTo>
                  <a:lnTo>
                    <a:pt x="11470" y="5383"/>
                  </a:lnTo>
                  <a:lnTo>
                    <a:pt x="12287" y="5216"/>
                  </a:lnTo>
                  <a:lnTo>
                    <a:pt x="13159" y="5123"/>
                  </a:lnTo>
                  <a:close/>
                  <a:moveTo>
                    <a:pt x="13623" y="1"/>
                  </a:moveTo>
                  <a:lnTo>
                    <a:pt x="12918" y="19"/>
                  </a:lnTo>
                  <a:lnTo>
                    <a:pt x="11545" y="131"/>
                  </a:lnTo>
                  <a:lnTo>
                    <a:pt x="10227" y="372"/>
                  </a:lnTo>
                  <a:lnTo>
                    <a:pt x="8928" y="724"/>
                  </a:lnTo>
                  <a:lnTo>
                    <a:pt x="8297" y="947"/>
                  </a:lnTo>
                  <a:lnTo>
                    <a:pt x="7684" y="1188"/>
                  </a:lnTo>
                  <a:lnTo>
                    <a:pt x="6515" y="1745"/>
                  </a:lnTo>
                  <a:lnTo>
                    <a:pt x="5439" y="2413"/>
                  </a:lnTo>
                  <a:lnTo>
                    <a:pt x="4437" y="3174"/>
                  </a:lnTo>
                  <a:lnTo>
                    <a:pt x="3973" y="3601"/>
                  </a:lnTo>
                  <a:lnTo>
                    <a:pt x="3527" y="4046"/>
                  </a:lnTo>
                  <a:lnTo>
                    <a:pt x="2692" y="4993"/>
                  </a:lnTo>
                  <a:lnTo>
                    <a:pt x="1968" y="6032"/>
                  </a:lnTo>
                  <a:lnTo>
                    <a:pt x="1356" y="7146"/>
                  </a:lnTo>
                  <a:lnTo>
                    <a:pt x="1077" y="7758"/>
                  </a:lnTo>
                  <a:lnTo>
                    <a:pt x="818" y="8371"/>
                  </a:lnTo>
                  <a:lnTo>
                    <a:pt x="409" y="9651"/>
                  </a:lnTo>
                  <a:lnTo>
                    <a:pt x="149" y="10987"/>
                  </a:lnTo>
                  <a:lnTo>
                    <a:pt x="20" y="12416"/>
                  </a:lnTo>
                  <a:lnTo>
                    <a:pt x="1" y="13159"/>
                  </a:lnTo>
                  <a:lnTo>
                    <a:pt x="20" y="13883"/>
                  </a:lnTo>
                  <a:lnTo>
                    <a:pt x="149" y="15312"/>
                  </a:lnTo>
                  <a:lnTo>
                    <a:pt x="409" y="16666"/>
                  </a:lnTo>
                  <a:lnTo>
                    <a:pt x="818" y="17947"/>
                  </a:lnTo>
                  <a:lnTo>
                    <a:pt x="1077" y="18578"/>
                  </a:lnTo>
                  <a:lnTo>
                    <a:pt x="1356" y="19172"/>
                  </a:lnTo>
                  <a:lnTo>
                    <a:pt x="1968" y="20322"/>
                  </a:lnTo>
                  <a:lnTo>
                    <a:pt x="2692" y="21362"/>
                  </a:lnTo>
                  <a:lnTo>
                    <a:pt x="3527" y="22327"/>
                  </a:lnTo>
                  <a:lnTo>
                    <a:pt x="3973" y="22772"/>
                  </a:lnTo>
                  <a:lnTo>
                    <a:pt x="4437" y="23199"/>
                  </a:lnTo>
                  <a:lnTo>
                    <a:pt x="5439" y="23979"/>
                  </a:lnTo>
                  <a:lnTo>
                    <a:pt x="6515" y="24665"/>
                  </a:lnTo>
                  <a:lnTo>
                    <a:pt x="7684" y="25259"/>
                  </a:lnTo>
                  <a:lnTo>
                    <a:pt x="8297" y="25519"/>
                  </a:lnTo>
                  <a:lnTo>
                    <a:pt x="8928" y="25742"/>
                  </a:lnTo>
                  <a:lnTo>
                    <a:pt x="10227" y="26113"/>
                  </a:lnTo>
                  <a:lnTo>
                    <a:pt x="11545" y="26373"/>
                  </a:lnTo>
                  <a:lnTo>
                    <a:pt x="12918" y="26484"/>
                  </a:lnTo>
                  <a:lnTo>
                    <a:pt x="13623" y="26503"/>
                  </a:lnTo>
                  <a:lnTo>
                    <a:pt x="14328" y="26484"/>
                  </a:lnTo>
                  <a:lnTo>
                    <a:pt x="15683" y="26373"/>
                  </a:lnTo>
                  <a:lnTo>
                    <a:pt x="17019" y="26113"/>
                  </a:lnTo>
                  <a:lnTo>
                    <a:pt x="18300" y="25742"/>
                  </a:lnTo>
                  <a:lnTo>
                    <a:pt x="18931" y="25519"/>
                  </a:lnTo>
                  <a:lnTo>
                    <a:pt x="19562" y="25259"/>
                  </a:lnTo>
                  <a:lnTo>
                    <a:pt x="20731" y="24665"/>
                  </a:lnTo>
                  <a:lnTo>
                    <a:pt x="21808" y="23979"/>
                  </a:lnTo>
                  <a:lnTo>
                    <a:pt x="22810" y="23199"/>
                  </a:lnTo>
                  <a:lnTo>
                    <a:pt x="23274" y="22772"/>
                  </a:lnTo>
                  <a:lnTo>
                    <a:pt x="23719" y="22327"/>
                  </a:lnTo>
                  <a:lnTo>
                    <a:pt x="24536" y="21362"/>
                  </a:lnTo>
                  <a:lnTo>
                    <a:pt x="25260" y="20322"/>
                  </a:lnTo>
                  <a:lnTo>
                    <a:pt x="25891" y="19172"/>
                  </a:lnTo>
                  <a:lnTo>
                    <a:pt x="26169" y="18578"/>
                  </a:lnTo>
                  <a:lnTo>
                    <a:pt x="26429" y="17947"/>
                  </a:lnTo>
                  <a:lnTo>
                    <a:pt x="26818" y="16666"/>
                  </a:lnTo>
                  <a:lnTo>
                    <a:pt x="27097" y="15312"/>
                  </a:lnTo>
                  <a:lnTo>
                    <a:pt x="27227" y="13883"/>
                  </a:lnTo>
                  <a:lnTo>
                    <a:pt x="27227" y="13159"/>
                  </a:lnTo>
                  <a:lnTo>
                    <a:pt x="27227" y="12416"/>
                  </a:lnTo>
                  <a:lnTo>
                    <a:pt x="27097" y="10987"/>
                  </a:lnTo>
                  <a:lnTo>
                    <a:pt x="26818" y="9651"/>
                  </a:lnTo>
                  <a:lnTo>
                    <a:pt x="26429" y="8371"/>
                  </a:lnTo>
                  <a:lnTo>
                    <a:pt x="26169" y="7758"/>
                  </a:lnTo>
                  <a:lnTo>
                    <a:pt x="25891" y="7146"/>
                  </a:lnTo>
                  <a:lnTo>
                    <a:pt x="25260" y="6032"/>
                  </a:lnTo>
                  <a:lnTo>
                    <a:pt x="24536" y="4993"/>
                  </a:lnTo>
                  <a:lnTo>
                    <a:pt x="23719" y="4046"/>
                  </a:lnTo>
                  <a:lnTo>
                    <a:pt x="23274" y="3601"/>
                  </a:lnTo>
                  <a:lnTo>
                    <a:pt x="22810" y="3174"/>
                  </a:lnTo>
                  <a:lnTo>
                    <a:pt x="21808" y="2413"/>
                  </a:lnTo>
                  <a:lnTo>
                    <a:pt x="20731" y="1745"/>
                  </a:lnTo>
                  <a:lnTo>
                    <a:pt x="19562" y="1188"/>
                  </a:lnTo>
                  <a:lnTo>
                    <a:pt x="18931" y="947"/>
                  </a:lnTo>
                  <a:lnTo>
                    <a:pt x="18300" y="724"/>
                  </a:lnTo>
                  <a:lnTo>
                    <a:pt x="17019" y="372"/>
                  </a:lnTo>
                  <a:lnTo>
                    <a:pt x="15683" y="131"/>
                  </a:lnTo>
                  <a:lnTo>
                    <a:pt x="14328" y="19"/>
                  </a:lnTo>
                  <a:lnTo>
                    <a:pt x="13623" y="1"/>
                  </a:lnTo>
                  <a:close/>
                </a:path>
              </a:pathLst>
            </a:custGeom>
            <a:solidFill>
              <a:srgbClr val="F3F3E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667" name="Google Shape;667;p54"/>
            <p:cNvSpPr/>
            <p:nvPr/>
          </p:nvSpPr>
          <p:spPr>
            <a:xfrm>
              <a:off x="5231350" y="2663300"/>
              <a:ext cx="633825" cy="662575"/>
            </a:xfrm>
            <a:custGeom>
              <a:avLst/>
              <a:gdLst/>
              <a:ahLst/>
              <a:cxnLst/>
              <a:rect l="l" t="t" r="r" b="b"/>
              <a:pathLst>
                <a:path w="25353" h="26503" extrusionOk="0">
                  <a:moveTo>
                    <a:pt x="13196" y="4696"/>
                  </a:moveTo>
                  <a:lnTo>
                    <a:pt x="13939" y="4715"/>
                  </a:lnTo>
                  <a:lnTo>
                    <a:pt x="15256" y="4974"/>
                  </a:lnTo>
                  <a:lnTo>
                    <a:pt x="15832" y="5197"/>
                  </a:lnTo>
                  <a:lnTo>
                    <a:pt x="16388" y="5457"/>
                  </a:lnTo>
                  <a:lnTo>
                    <a:pt x="17298" y="6125"/>
                  </a:lnTo>
                  <a:lnTo>
                    <a:pt x="17687" y="6515"/>
                  </a:lnTo>
                  <a:lnTo>
                    <a:pt x="18040" y="6942"/>
                  </a:lnTo>
                  <a:lnTo>
                    <a:pt x="18578" y="7907"/>
                  </a:lnTo>
                  <a:lnTo>
                    <a:pt x="18764" y="8445"/>
                  </a:lnTo>
                  <a:lnTo>
                    <a:pt x="18912" y="9002"/>
                  </a:lnTo>
                  <a:lnTo>
                    <a:pt x="19079" y="10152"/>
                  </a:lnTo>
                  <a:lnTo>
                    <a:pt x="19098" y="10746"/>
                  </a:lnTo>
                  <a:lnTo>
                    <a:pt x="6274" y="10746"/>
                  </a:lnTo>
                  <a:lnTo>
                    <a:pt x="6329" y="10097"/>
                  </a:lnTo>
                  <a:lnTo>
                    <a:pt x="6664" y="8890"/>
                  </a:lnTo>
                  <a:lnTo>
                    <a:pt x="7202" y="7795"/>
                  </a:lnTo>
                  <a:lnTo>
                    <a:pt x="7963" y="6830"/>
                  </a:lnTo>
                  <a:lnTo>
                    <a:pt x="8427" y="6403"/>
                  </a:lnTo>
                  <a:lnTo>
                    <a:pt x="8928" y="5995"/>
                  </a:lnTo>
                  <a:lnTo>
                    <a:pt x="10023" y="5346"/>
                  </a:lnTo>
                  <a:lnTo>
                    <a:pt x="11210" y="4937"/>
                  </a:lnTo>
                  <a:lnTo>
                    <a:pt x="12510" y="4715"/>
                  </a:lnTo>
                  <a:lnTo>
                    <a:pt x="13196" y="4696"/>
                  </a:lnTo>
                  <a:close/>
                  <a:moveTo>
                    <a:pt x="13252" y="1"/>
                  </a:moveTo>
                  <a:lnTo>
                    <a:pt x="12565" y="19"/>
                  </a:lnTo>
                  <a:lnTo>
                    <a:pt x="11192" y="131"/>
                  </a:lnTo>
                  <a:lnTo>
                    <a:pt x="9893" y="372"/>
                  </a:lnTo>
                  <a:lnTo>
                    <a:pt x="8631" y="743"/>
                  </a:lnTo>
                  <a:lnTo>
                    <a:pt x="8018" y="966"/>
                  </a:lnTo>
                  <a:lnTo>
                    <a:pt x="7406" y="1226"/>
                  </a:lnTo>
                  <a:lnTo>
                    <a:pt x="6292" y="1801"/>
                  </a:lnTo>
                  <a:lnTo>
                    <a:pt x="5235" y="2469"/>
                  </a:lnTo>
                  <a:lnTo>
                    <a:pt x="4269" y="3248"/>
                  </a:lnTo>
                  <a:lnTo>
                    <a:pt x="3824" y="3675"/>
                  </a:lnTo>
                  <a:lnTo>
                    <a:pt x="3379" y="4121"/>
                  </a:lnTo>
                  <a:lnTo>
                    <a:pt x="2581" y="5086"/>
                  </a:lnTo>
                  <a:lnTo>
                    <a:pt x="1894" y="6144"/>
                  </a:lnTo>
                  <a:lnTo>
                    <a:pt x="1281" y="7294"/>
                  </a:lnTo>
                  <a:lnTo>
                    <a:pt x="1022" y="7907"/>
                  </a:lnTo>
                  <a:lnTo>
                    <a:pt x="780" y="8538"/>
                  </a:lnTo>
                  <a:lnTo>
                    <a:pt x="391" y="9837"/>
                  </a:lnTo>
                  <a:lnTo>
                    <a:pt x="149" y="11210"/>
                  </a:lnTo>
                  <a:lnTo>
                    <a:pt x="19" y="12658"/>
                  </a:lnTo>
                  <a:lnTo>
                    <a:pt x="1" y="13400"/>
                  </a:lnTo>
                  <a:lnTo>
                    <a:pt x="19" y="14161"/>
                  </a:lnTo>
                  <a:lnTo>
                    <a:pt x="149" y="15609"/>
                  </a:lnTo>
                  <a:lnTo>
                    <a:pt x="391" y="17000"/>
                  </a:lnTo>
                  <a:lnTo>
                    <a:pt x="780" y="18300"/>
                  </a:lnTo>
                  <a:lnTo>
                    <a:pt x="1022" y="18912"/>
                  </a:lnTo>
                  <a:lnTo>
                    <a:pt x="1281" y="19506"/>
                  </a:lnTo>
                  <a:lnTo>
                    <a:pt x="1894" y="20619"/>
                  </a:lnTo>
                  <a:lnTo>
                    <a:pt x="2599" y="21659"/>
                  </a:lnTo>
                  <a:lnTo>
                    <a:pt x="3397" y="22587"/>
                  </a:lnTo>
                  <a:lnTo>
                    <a:pt x="3843" y="23013"/>
                  </a:lnTo>
                  <a:lnTo>
                    <a:pt x="4288" y="23422"/>
                  </a:lnTo>
                  <a:lnTo>
                    <a:pt x="5272" y="24146"/>
                  </a:lnTo>
                  <a:lnTo>
                    <a:pt x="6348" y="24795"/>
                  </a:lnTo>
                  <a:lnTo>
                    <a:pt x="7480" y="25352"/>
                  </a:lnTo>
                  <a:lnTo>
                    <a:pt x="8093" y="25593"/>
                  </a:lnTo>
                  <a:lnTo>
                    <a:pt x="8705" y="25797"/>
                  </a:lnTo>
                  <a:lnTo>
                    <a:pt x="10004" y="26150"/>
                  </a:lnTo>
                  <a:lnTo>
                    <a:pt x="11340" y="26373"/>
                  </a:lnTo>
                  <a:lnTo>
                    <a:pt x="12732" y="26484"/>
                  </a:lnTo>
                  <a:lnTo>
                    <a:pt x="13475" y="26503"/>
                  </a:lnTo>
                  <a:lnTo>
                    <a:pt x="14236" y="26484"/>
                  </a:lnTo>
                  <a:lnTo>
                    <a:pt x="15683" y="26373"/>
                  </a:lnTo>
                  <a:lnTo>
                    <a:pt x="17075" y="26131"/>
                  </a:lnTo>
                  <a:lnTo>
                    <a:pt x="18374" y="25760"/>
                  </a:lnTo>
                  <a:lnTo>
                    <a:pt x="19599" y="25296"/>
                  </a:lnTo>
                  <a:lnTo>
                    <a:pt x="20731" y="24684"/>
                  </a:lnTo>
                  <a:lnTo>
                    <a:pt x="21789" y="23960"/>
                  </a:lnTo>
                  <a:lnTo>
                    <a:pt x="22773" y="23125"/>
                  </a:lnTo>
                  <a:lnTo>
                    <a:pt x="23237" y="22661"/>
                  </a:lnTo>
                  <a:lnTo>
                    <a:pt x="23422" y="22420"/>
                  </a:lnTo>
                  <a:lnTo>
                    <a:pt x="23608" y="21863"/>
                  </a:lnTo>
                  <a:lnTo>
                    <a:pt x="23552" y="21288"/>
                  </a:lnTo>
                  <a:lnTo>
                    <a:pt x="23274" y="20768"/>
                  </a:lnTo>
                  <a:lnTo>
                    <a:pt x="23051" y="20564"/>
                  </a:lnTo>
                  <a:lnTo>
                    <a:pt x="21158" y="19042"/>
                  </a:lnTo>
                  <a:lnTo>
                    <a:pt x="20935" y="18875"/>
                  </a:lnTo>
                  <a:lnTo>
                    <a:pt x="20434" y="18726"/>
                  </a:lnTo>
                  <a:lnTo>
                    <a:pt x="19915" y="18745"/>
                  </a:lnTo>
                  <a:lnTo>
                    <a:pt x="19432" y="18949"/>
                  </a:lnTo>
                  <a:lnTo>
                    <a:pt x="19246" y="19135"/>
                  </a:lnTo>
                  <a:lnTo>
                    <a:pt x="18820" y="19543"/>
                  </a:lnTo>
                  <a:lnTo>
                    <a:pt x="17892" y="20230"/>
                  </a:lnTo>
                  <a:lnTo>
                    <a:pt x="17372" y="20527"/>
                  </a:lnTo>
                  <a:lnTo>
                    <a:pt x="16964" y="20731"/>
                  </a:lnTo>
                  <a:lnTo>
                    <a:pt x="16073" y="21046"/>
                  </a:lnTo>
                  <a:lnTo>
                    <a:pt x="15071" y="21269"/>
                  </a:lnTo>
                  <a:lnTo>
                    <a:pt x="13994" y="21380"/>
                  </a:lnTo>
                  <a:lnTo>
                    <a:pt x="13419" y="21380"/>
                  </a:lnTo>
                  <a:lnTo>
                    <a:pt x="12732" y="21362"/>
                  </a:lnTo>
                  <a:lnTo>
                    <a:pt x="11433" y="21120"/>
                  </a:lnTo>
                  <a:lnTo>
                    <a:pt x="10802" y="20916"/>
                  </a:lnTo>
                  <a:lnTo>
                    <a:pt x="10190" y="20657"/>
                  </a:lnTo>
                  <a:lnTo>
                    <a:pt x="9076" y="20026"/>
                  </a:lnTo>
                  <a:lnTo>
                    <a:pt x="8557" y="19636"/>
                  </a:lnTo>
                  <a:lnTo>
                    <a:pt x="8074" y="19209"/>
                  </a:lnTo>
                  <a:lnTo>
                    <a:pt x="7295" y="18244"/>
                  </a:lnTo>
                  <a:lnTo>
                    <a:pt x="6979" y="17706"/>
                  </a:lnTo>
                  <a:lnTo>
                    <a:pt x="6682" y="17130"/>
                  </a:lnTo>
                  <a:lnTo>
                    <a:pt x="6329" y="15905"/>
                  </a:lnTo>
                  <a:lnTo>
                    <a:pt x="6274" y="15237"/>
                  </a:lnTo>
                  <a:lnTo>
                    <a:pt x="23905" y="15237"/>
                  </a:lnTo>
                  <a:lnTo>
                    <a:pt x="24202" y="15200"/>
                  </a:lnTo>
                  <a:lnTo>
                    <a:pt x="24721" y="14996"/>
                  </a:lnTo>
                  <a:lnTo>
                    <a:pt x="25111" y="14606"/>
                  </a:lnTo>
                  <a:lnTo>
                    <a:pt x="25334" y="14087"/>
                  </a:lnTo>
                  <a:lnTo>
                    <a:pt x="25352" y="13790"/>
                  </a:lnTo>
                  <a:lnTo>
                    <a:pt x="25352" y="13567"/>
                  </a:lnTo>
                  <a:lnTo>
                    <a:pt x="25352" y="12713"/>
                  </a:lnTo>
                  <a:lnTo>
                    <a:pt x="25222" y="11136"/>
                  </a:lnTo>
                  <a:lnTo>
                    <a:pt x="25000" y="9651"/>
                  </a:lnTo>
                  <a:lnTo>
                    <a:pt x="24666" y="8278"/>
                  </a:lnTo>
                  <a:lnTo>
                    <a:pt x="24443" y="7647"/>
                  </a:lnTo>
                  <a:lnTo>
                    <a:pt x="24202" y="7016"/>
                  </a:lnTo>
                  <a:lnTo>
                    <a:pt x="23663" y="5847"/>
                  </a:lnTo>
                  <a:lnTo>
                    <a:pt x="23032" y="4807"/>
                  </a:lnTo>
                  <a:lnTo>
                    <a:pt x="22309" y="3842"/>
                  </a:lnTo>
                  <a:lnTo>
                    <a:pt x="21919" y="3415"/>
                  </a:lnTo>
                  <a:lnTo>
                    <a:pt x="21511" y="3007"/>
                  </a:lnTo>
                  <a:lnTo>
                    <a:pt x="20620" y="2265"/>
                  </a:lnTo>
                  <a:lnTo>
                    <a:pt x="19655" y="1615"/>
                  </a:lnTo>
                  <a:lnTo>
                    <a:pt x="18634" y="1096"/>
                  </a:lnTo>
                  <a:lnTo>
                    <a:pt x="18077" y="873"/>
                  </a:lnTo>
                  <a:lnTo>
                    <a:pt x="17520" y="650"/>
                  </a:lnTo>
                  <a:lnTo>
                    <a:pt x="16370" y="335"/>
                  </a:lnTo>
                  <a:lnTo>
                    <a:pt x="15163" y="112"/>
                  </a:lnTo>
                  <a:lnTo>
                    <a:pt x="13901" y="19"/>
                  </a:lnTo>
                  <a:lnTo>
                    <a:pt x="13252" y="1"/>
                  </a:lnTo>
                  <a:close/>
                </a:path>
              </a:pathLst>
            </a:custGeom>
            <a:solidFill>
              <a:srgbClr val="F3F3E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668" name="Google Shape;668;p54"/>
            <p:cNvSpPr/>
            <p:nvPr/>
          </p:nvSpPr>
          <p:spPr>
            <a:xfrm>
              <a:off x="5884625" y="2663300"/>
              <a:ext cx="579075" cy="659800"/>
            </a:xfrm>
            <a:custGeom>
              <a:avLst/>
              <a:gdLst/>
              <a:ahLst/>
              <a:cxnLst/>
              <a:rect l="l" t="t" r="r" b="b"/>
              <a:pathLst>
                <a:path w="23163" h="26392" extrusionOk="0">
                  <a:moveTo>
                    <a:pt x="17223" y="14347"/>
                  </a:moveTo>
                  <a:lnTo>
                    <a:pt x="17223" y="15237"/>
                  </a:lnTo>
                  <a:lnTo>
                    <a:pt x="17205" y="15961"/>
                  </a:lnTo>
                  <a:lnTo>
                    <a:pt x="17001" y="17297"/>
                  </a:lnTo>
                  <a:lnTo>
                    <a:pt x="16574" y="18467"/>
                  </a:lnTo>
                  <a:lnTo>
                    <a:pt x="15943" y="19487"/>
                  </a:lnTo>
                  <a:lnTo>
                    <a:pt x="15553" y="19933"/>
                  </a:lnTo>
                  <a:lnTo>
                    <a:pt x="15108" y="20341"/>
                  </a:lnTo>
                  <a:lnTo>
                    <a:pt x="14087" y="20991"/>
                  </a:lnTo>
                  <a:lnTo>
                    <a:pt x="12862" y="21417"/>
                  </a:lnTo>
                  <a:lnTo>
                    <a:pt x="11433" y="21640"/>
                  </a:lnTo>
                  <a:lnTo>
                    <a:pt x="10653" y="21659"/>
                  </a:lnTo>
                  <a:lnTo>
                    <a:pt x="9855" y="21622"/>
                  </a:lnTo>
                  <a:lnTo>
                    <a:pt x="9076" y="21492"/>
                  </a:lnTo>
                  <a:lnTo>
                    <a:pt x="8705" y="21417"/>
                  </a:lnTo>
                  <a:lnTo>
                    <a:pt x="8000" y="21158"/>
                  </a:lnTo>
                  <a:lnTo>
                    <a:pt x="7666" y="20972"/>
                  </a:lnTo>
                  <a:lnTo>
                    <a:pt x="7369" y="20786"/>
                  </a:lnTo>
                  <a:lnTo>
                    <a:pt x="6867" y="20304"/>
                  </a:lnTo>
                  <a:lnTo>
                    <a:pt x="6645" y="20007"/>
                  </a:lnTo>
                  <a:lnTo>
                    <a:pt x="6478" y="19691"/>
                  </a:lnTo>
                  <a:lnTo>
                    <a:pt x="6274" y="18949"/>
                  </a:lnTo>
                  <a:lnTo>
                    <a:pt x="6255" y="18522"/>
                  </a:lnTo>
                  <a:lnTo>
                    <a:pt x="6274" y="18170"/>
                  </a:lnTo>
                  <a:lnTo>
                    <a:pt x="6385" y="17557"/>
                  </a:lnTo>
                  <a:lnTo>
                    <a:pt x="6626" y="17000"/>
                  </a:lnTo>
                  <a:lnTo>
                    <a:pt x="6979" y="16518"/>
                  </a:lnTo>
                  <a:lnTo>
                    <a:pt x="7202" y="16314"/>
                  </a:lnTo>
                  <a:lnTo>
                    <a:pt x="7684" y="15924"/>
                  </a:lnTo>
                  <a:lnTo>
                    <a:pt x="8872" y="15293"/>
                  </a:lnTo>
                  <a:lnTo>
                    <a:pt x="9540" y="15052"/>
                  </a:lnTo>
                  <a:lnTo>
                    <a:pt x="10264" y="14848"/>
                  </a:lnTo>
                  <a:lnTo>
                    <a:pt x="11804" y="14551"/>
                  </a:lnTo>
                  <a:lnTo>
                    <a:pt x="12621" y="14476"/>
                  </a:lnTo>
                  <a:lnTo>
                    <a:pt x="14272" y="14365"/>
                  </a:lnTo>
                  <a:lnTo>
                    <a:pt x="15813" y="14347"/>
                  </a:lnTo>
                  <a:close/>
                  <a:moveTo>
                    <a:pt x="12008" y="1"/>
                  </a:moveTo>
                  <a:lnTo>
                    <a:pt x="11284" y="19"/>
                  </a:lnTo>
                  <a:lnTo>
                    <a:pt x="9855" y="131"/>
                  </a:lnTo>
                  <a:lnTo>
                    <a:pt x="8445" y="390"/>
                  </a:lnTo>
                  <a:lnTo>
                    <a:pt x="7035" y="762"/>
                  </a:lnTo>
                  <a:lnTo>
                    <a:pt x="6348" y="1003"/>
                  </a:lnTo>
                  <a:lnTo>
                    <a:pt x="5327" y="1374"/>
                  </a:lnTo>
                  <a:lnTo>
                    <a:pt x="3434" y="2376"/>
                  </a:lnTo>
                  <a:lnTo>
                    <a:pt x="2580" y="3007"/>
                  </a:lnTo>
                  <a:lnTo>
                    <a:pt x="2339" y="3193"/>
                  </a:lnTo>
                  <a:lnTo>
                    <a:pt x="2061" y="3712"/>
                  </a:lnTo>
                  <a:lnTo>
                    <a:pt x="2005" y="4269"/>
                  </a:lnTo>
                  <a:lnTo>
                    <a:pt x="2191" y="4845"/>
                  </a:lnTo>
                  <a:lnTo>
                    <a:pt x="2358" y="5086"/>
                  </a:lnTo>
                  <a:lnTo>
                    <a:pt x="3712" y="6663"/>
                  </a:lnTo>
                  <a:lnTo>
                    <a:pt x="3898" y="6867"/>
                  </a:lnTo>
                  <a:lnTo>
                    <a:pt x="4381" y="7127"/>
                  </a:lnTo>
                  <a:lnTo>
                    <a:pt x="4900" y="7183"/>
                  </a:lnTo>
                  <a:lnTo>
                    <a:pt x="5420" y="7053"/>
                  </a:lnTo>
                  <a:lnTo>
                    <a:pt x="5661" y="6905"/>
                  </a:lnTo>
                  <a:lnTo>
                    <a:pt x="6107" y="6589"/>
                  </a:lnTo>
                  <a:lnTo>
                    <a:pt x="7127" y="5995"/>
                  </a:lnTo>
                  <a:lnTo>
                    <a:pt x="7684" y="5735"/>
                  </a:lnTo>
                  <a:lnTo>
                    <a:pt x="8129" y="5550"/>
                  </a:lnTo>
                  <a:lnTo>
                    <a:pt x="9057" y="5234"/>
                  </a:lnTo>
                  <a:lnTo>
                    <a:pt x="10022" y="5012"/>
                  </a:lnTo>
                  <a:lnTo>
                    <a:pt x="10988" y="4919"/>
                  </a:lnTo>
                  <a:lnTo>
                    <a:pt x="11489" y="4900"/>
                  </a:lnTo>
                  <a:lnTo>
                    <a:pt x="12064" y="4919"/>
                  </a:lnTo>
                  <a:lnTo>
                    <a:pt x="13159" y="5049"/>
                  </a:lnTo>
                  <a:lnTo>
                    <a:pt x="14161" y="5346"/>
                  </a:lnTo>
                  <a:lnTo>
                    <a:pt x="15089" y="5754"/>
                  </a:lnTo>
                  <a:lnTo>
                    <a:pt x="15534" y="6032"/>
                  </a:lnTo>
                  <a:lnTo>
                    <a:pt x="15924" y="6311"/>
                  </a:lnTo>
                  <a:lnTo>
                    <a:pt x="16574" y="7034"/>
                  </a:lnTo>
                  <a:lnTo>
                    <a:pt x="16982" y="7907"/>
                  </a:lnTo>
                  <a:lnTo>
                    <a:pt x="17205" y="8927"/>
                  </a:lnTo>
                  <a:lnTo>
                    <a:pt x="17223" y="9484"/>
                  </a:lnTo>
                  <a:lnTo>
                    <a:pt x="17223" y="10115"/>
                  </a:lnTo>
                  <a:lnTo>
                    <a:pt x="15757" y="10134"/>
                  </a:lnTo>
                  <a:lnTo>
                    <a:pt x="12769" y="10282"/>
                  </a:lnTo>
                  <a:lnTo>
                    <a:pt x="11247" y="10412"/>
                  </a:lnTo>
                  <a:lnTo>
                    <a:pt x="9744" y="10579"/>
                  </a:lnTo>
                  <a:lnTo>
                    <a:pt x="7647" y="11006"/>
                  </a:lnTo>
                  <a:lnTo>
                    <a:pt x="6329" y="11359"/>
                  </a:lnTo>
                  <a:lnTo>
                    <a:pt x="5698" y="11581"/>
                  </a:lnTo>
                  <a:lnTo>
                    <a:pt x="5067" y="11804"/>
                  </a:lnTo>
                  <a:lnTo>
                    <a:pt x="3935" y="12361"/>
                  </a:lnTo>
                  <a:lnTo>
                    <a:pt x="2914" y="12992"/>
                  </a:lnTo>
                  <a:lnTo>
                    <a:pt x="2005" y="13734"/>
                  </a:lnTo>
                  <a:lnTo>
                    <a:pt x="1597" y="14142"/>
                  </a:lnTo>
                  <a:lnTo>
                    <a:pt x="1207" y="14569"/>
                  </a:lnTo>
                  <a:lnTo>
                    <a:pt x="613" y="15553"/>
                  </a:lnTo>
                  <a:lnTo>
                    <a:pt x="223" y="16666"/>
                  </a:lnTo>
                  <a:lnTo>
                    <a:pt x="19" y="17928"/>
                  </a:lnTo>
                  <a:lnTo>
                    <a:pt x="1" y="18615"/>
                  </a:lnTo>
                  <a:lnTo>
                    <a:pt x="19" y="19172"/>
                  </a:lnTo>
                  <a:lnTo>
                    <a:pt x="131" y="20174"/>
                  </a:lnTo>
                  <a:lnTo>
                    <a:pt x="353" y="21083"/>
                  </a:lnTo>
                  <a:lnTo>
                    <a:pt x="706" y="21919"/>
                  </a:lnTo>
                  <a:lnTo>
                    <a:pt x="910" y="22308"/>
                  </a:lnTo>
                  <a:lnTo>
                    <a:pt x="1151" y="22661"/>
                  </a:lnTo>
                  <a:lnTo>
                    <a:pt x="1671" y="23348"/>
                  </a:lnTo>
                  <a:lnTo>
                    <a:pt x="2246" y="23941"/>
                  </a:lnTo>
                  <a:lnTo>
                    <a:pt x="2877" y="24461"/>
                  </a:lnTo>
                  <a:lnTo>
                    <a:pt x="3211" y="24702"/>
                  </a:lnTo>
                  <a:lnTo>
                    <a:pt x="3917" y="25129"/>
                  </a:lnTo>
                  <a:lnTo>
                    <a:pt x="5420" y="25779"/>
                  </a:lnTo>
                  <a:lnTo>
                    <a:pt x="6236" y="26001"/>
                  </a:lnTo>
                  <a:lnTo>
                    <a:pt x="7053" y="26187"/>
                  </a:lnTo>
                  <a:lnTo>
                    <a:pt x="8631" y="26373"/>
                  </a:lnTo>
                  <a:lnTo>
                    <a:pt x="9391" y="26391"/>
                  </a:lnTo>
                  <a:lnTo>
                    <a:pt x="10060" y="26391"/>
                  </a:lnTo>
                  <a:lnTo>
                    <a:pt x="11303" y="26243"/>
                  </a:lnTo>
                  <a:lnTo>
                    <a:pt x="12491" y="25983"/>
                  </a:lnTo>
                  <a:lnTo>
                    <a:pt x="13604" y="25575"/>
                  </a:lnTo>
                  <a:lnTo>
                    <a:pt x="14143" y="25315"/>
                  </a:lnTo>
                  <a:lnTo>
                    <a:pt x="14644" y="25055"/>
                  </a:lnTo>
                  <a:lnTo>
                    <a:pt x="15553" y="24442"/>
                  </a:lnTo>
                  <a:lnTo>
                    <a:pt x="16314" y="23756"/>
                  </a:lnTo>
                  <a:lnTo>
                    <a:pt x="16926" y="22995"/>
                  </a:lnTo>
                  <a:lnTo>
                    <a:pt x="17168" y="22587"/>
                  </a:lnTo>
                  <a:lnTo>
                    <a:pt x="17316" y="22587"/>
                  </a:lnTo>
                  <a:lnTo>
                    <a:pt x="17316" y="24313"/>
                  </a:lnTo>
                  <a:lnTo>
                    <a:pt x="17335" y="24610"/>
                  </a:lnTo>
                  <a:lnTo>
                    <a:pt x="17557" y="25129"/>
                  </a:lnTo>
                  <a:lnTo>
                    <a:pt x="17947" y="25519"/>
                  </a:lnTo>
                  <a:lnTo>
                    <a:pt x="18467" y="25742"/>
                  </a:lnTo>
                  <a:lnTo>
                    <a:pt x="18764" y="25760"/>
                  </a:lnTo>
                  <a:lnTo>
                    <a:pt x="21715" y="25760"/>
                  </a:lnTo>
                  <a:lnTo>
                    <a:pt x="22011" y="25742"/>
                  </a:lnTo>
                  <a:lnTo>
                    <a:pt x="22531" y="25519"/>
                  </a:lnTo>
                  <a:lnTo>
                    <a:pt x="22921" y="25129"/>
                  </a:lnTo>
                  <a:lnTo>
                    <a:pt x="23144" y="24610"/>
                  </a:lnTo>
                  <a:lnTo>
                    <a:pt x="23162" y="24313"/>
                  </a:lnTo>
                  <a:lnTo>
                    <a:pt x="23162" y="10542"/>
                  </a:lnTo>
                  <a:lnTo>
                    <a:pt x="23144" y="9596"/>
                  </a:lnTo>
                  <a:lnTo>
                    <a:pt x="22902" y="7721"/>
                  </a:lnTo>
                  <a:lnTo>
                    <a:pt x="22661" y="6775"/>
                  </a:lnTo>
                  <a:lnTo>
                    <a:pt x="22531" y="6311"/>
                  </a:lnTo>
                  <a:lnTo>
                    <a:pt x="22197" y="5420"/>
                  </a:lnTo>
                  <a:lnTo>
                    <a:pt x="21752" y="4566"/>
                  </a:lnTo>
                  <a:lnTo>
                    <a:pt x="21232" y="3768"/>
                  </a:lnTo>
                  <a:lnTo>
                    <a:pt x="20917" y="3378"/>
                  </a:lnTo>
                  <a:lnTo>
                    <a:pt x="20917" y="3397"/>
                  </a:lnTo>
                  <a:lnTo>
                    <a:pt x="20601" y="3026"/>
                  </a:lnTo>
                  <a:lnTo>
                    <a:pt x="19859" y="2339"/>
                  </a:lnTo>
                  <a:lnTo>
                    <a:pt x="19005" y="1727"/>
                  </a:lnTo>
                  <a:lnTo>
                    <a:pt x="18040" y="1188"/>
                  </a:lnTo>
                  <a:lnTo>
                    <a:pt x="17502" y="947"/>
                  </a:lnTo>
                  <a:lnTo>
                    <a:pt x="16945" y="724"/>
                  </a:lnTo>
                  <a:lnTo>
                    <a:pt x="15720" y="372"/>
                  </a:lnTo>
                  <a:lnTo>
                    <a:pt x="14347" y="131"/>
                  </a:lnTo>
                  <a:lnTo>
                    <a:pt x="12825" y="19"/>
                  </a:lnTo>
                  <a:lnTo>
                    <a:pt x="12008" y="1"/>
                  </a:lnTo>
                  <a:close/>
                </a:path>
              </a:pathLst>
            </a:custGeom>
            <a:solidFill>
              <a:srgbClr val="F3F3E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669" name="Google Shape;669;p54"/>
            <p:cNvSpPr/>
            <p:nvPr/>
          </p:nvSpPr>
          <p:spPr>
            <a:xfrm>
              <a:off x="6545800" y="2664225"/>
              <a:ext cx="373975" cy="643550"/>
            </a:xfrm>
            <a:custGeom>
              <a:avLst/>
              <a:gdLst/>
              <a:ahLst/>
              <a:cxnLst/>
              <a:rect l="l" t="t" r="r" b="b"/>
              <a:pathLst>
                <a:path w="14959" h="25742" extrusionOk="0">
                  <a:moveTo>
                    <a:pt x="13400" y="1"/>
                  </a:moveTo>
                  <a:lnTo>
                    <a:pt x="13400" y="19"/>
                  </a:lnTo>
                  <a:lnTo>
                    <a:pt x="12639" y="75"/>
                  </a:lnTo>
                  <a:lnTo>
                    <a:pt x="11339" y="279"/>
                  </a:lnTo>
                  <a:lnTo>
                    <a:pt x="10300" y="613"/>
                  </a:lnTo>
                  <a:lnTo>
                    <a:pt x="9409" y="1059"/>
                  </a:lnTo>
                  <a:lnTo>
                    <a:pt x="9020" y="1318"/>
                  </a:lnTo>
                  <a:lnTo>
                    <a:pt x="8556" y="1671"/>
                  </a:lnTo>
                  <a:lnTo>
                    <a:pt x="7721" y="2451"/>
                  </a:lnTo>
                  <a:lnTo>
                    <a:pt x="6997" y="3341"/>
                  </a:lnTo>
                  <a:lnTo>
                    <a:pt x="6366" y="4325"/>
                  </a:lnTo>
                  <a:lnTo>
                    <a:pt x="6106" y="4863"/>
                  </a:lnTo>
                  <a:lnTo>
                    <a:pt x="5995" y="4863"/>
                  </a:lnTo>
                  <a:lnTo>
                    <a:pt x="5995" y="2135"/>
                  </a:lnTo>
                  <a:lnTo>
                    <a:pt x="5976" y="1838"/>
                  </a:lnTo>
                  <a:lnTo>
                    <a:pt x="5753" y="1318"/>
                  </a:lnTo>
                  <a:lnTo>
                    <a:pt x="5364" y="929"/>
                  </a:lnTo>
                  <a:lnTo>
                    <a:pt x="4844" y="706"/>
                  </a:lnTo>
                  <a:lnTo>
                    <a:pt x="4547" y="687"/>
                  </a:lnTo>
                  <a:lnTo>
                    <a:pt x="1448" y="687"/>
                  </a:lnTo>
                  <a:lnTo>
                    <a:pt x="1151" y="706"/>
                  </a:lnTo>
                  <a:lnTo>
                    <a:pt x="631" y="929"/>
                  </a:lnTo>
                  <a:lnTo>
                    <a:pt x="241" y="1318"/>
                  </a:lnTo>
                  <a:lnTo>
                    <a:pt x="19" y="1838"/>
                  </a:lnTo>
                  <a:lnTo>
                    <a:pt x="0" y="2135"/>
                  </a:lnTo>
                  <a:lnTo>
                    <a:pt x="0" y="24276"/>
                  </a:lnTo>
                  <a:lnTo>
                    <a:pt x="19" y="24573"/>
                  </a:lnTo>
                  <a:lnTo>
                    <a:pt x="241" y="25092"/>
                  </a:lnTo>
                  <a:lnTo>
                    <a:pt x="631" y="25500"/>
                  </a:lnTo>
                  <a:lnTo>
                    <a:pt x="1151" y="25705"/>
                  </a:lnTo>
                  <a:lnTo>
                    <a:pt x="1448" y="25742"/>
                  </a:lnTo>
                  <a:lnTo>
                    <a:pt x="4807" y="25742"/>
                  </a:lnTo>
                  <a:lnTo>
                    <a:pt x="5104" y="25705"/>
                  </a:lnTo>
                  <a:lnTo>
                    <a:pt x="5623" y="25500"/>
                  </a:lnTo>
                  <a:lnTo>
                    <a:pt x="6013" y="25092"/>
                  </a:lnTo>
                  <a:lnTo>
                    <a:pt x="6236" y="24573"/>
                  </a:lnTo>
                  <a:lnTo>
                    <a:pt x="6254" y="24276"/>
                  </a:lnTo>
                  <a:lnTo>
                    <a:pt x="6254" y="12324"/>
                  </a:lnTo>
                  <a:lnTo>
                    <a:pt x="6273" y="11971"/>
                  </a:lnTo>
                  <a:lnTo>
                    <a:pt x="6403" y="11062"/>
                  </a:lnTo>
                  <a:lnTo>
                    <a:pt x="6514" y="10505"/>
                  </a:lnTo>
                  <a:lnTo>
                    <a:pt x="6663" y="9930"/>
                  </a:lnTo>
                  <a:lnTo>
                    <a:pt x="7164" y="8816"/>
                  </a:lnTo>
                  <a:lnTo>
                    <a:pt x="7516" y="8259"/>
                  </a:lnTo>
                  <a:lnTo>
                    <a:pt x="7906" y="7721"/>
                  </a:lnTo>
                  <a:lnTo>
                    <a:pt x="8908" y="6775"/>
                  </a:lnTo>
                  <a:lnTo>
                    <a:pt x="9539" y="6385"/>
                  </a:lnTo>
                  <a:lnTo>
                    <a:pt x="10170" y="6014"/>
                  </a:lnTo>
                  <a:lnTo>
                    <a:pt x="11636" y="5439"/>
                  </a:lnTo>
                  <a:lnTo>
                    <a:pt x="12917" y="5142"/>
                  </a:lnTo>
                  <a:lnTo>
                    <a:pt x="13678" y="5030"/>
                  </a:lnTo>
                  <a:lnTo>
                    <a:pt x="13938" y="4993"/>
                  </a:lnTo>
                  <a:lnTo>
                    <a:pt x="14420" y="4752"/>
                  </a:lnTo>
                  <a:lnTo>
                    <a:pt x="14754" y="4344"/>
                  </a:lnTo>
                  <a:lnTo>
                    <a:pt x="14940" y="3861"/>
                  </a:lnTo>
                  <a:lnTo>
                    <a:pt x="14958" y="3583"/>
                  </a:lnTo>
                  <a:lnTo>
                    <a:pt x="14940" y="1430"/>
                  </a:lnTo>
                  <a:lnTo>
                    <a:pt x="14903" y="1133"/>
                  </a:lnTo>
                  <a:lnTo>
                    <a:pt x="14661" y="595"/>
                  </a:lnTo>
                  <a:lnTo>
                    <a:pt x="14253" y="205"/>
                  </a:lnTo>
                  <a:lnTo>
                    <a:pt x="13696" y="1"/>
                  </a:lnTo>
                  <a:close/>
                </a:path>
              </a:pathLst>
            </a:custGeom>
            <a:solidFill>
              <a:srgbClr val="F3F3E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670" name="Google Shape;670;p54"/>
            <p:cNvSpPr/>
            <p:nvPr/>
          </p:nvSpPr>
          <p:spPr>
            <a:xfrm>
              <a:off x="6961975" y="2500450"/>
              <a:ext cx="420375" cy="820325"/>
            </a:xfrm>
            <a:custGeom>
              <a:avLst/>
              <a:gdLst/>
              <a:ahLst/>
              <a:cxnLst/>
              <a:rect l="l" t="t" r="r" b="b"/>
              <a:pathLst>
                <a:path w="16815" h="32813" extrusionOk="0">
                  <a:moveTo>
                    <a:pt x="5846" y="1"/>
                  </a:moveTo>
                  <a:lnTo>
                    <a:pt x="5549" y="19"/>
                  </a:lnTo>
                  <a:lnTo>
                    <a:pt x="5030" y="242"/>
                  </a:lnTo>
                  <a:lnTo>
                    <a:pt x="4621" y="632"/>
                  </a:lnTo>
                  <a:lnTo>
                    <a:pt x="4417" y="1151"/>
                  </a:lnTo>
                  <a:lnTo>
                    <a:pt x="4399" y="1448"/>
                  </a:lnTo>
                  <a:lnTo>
                    <a:pt x="4399" y="6515"/>
                  </a:lnTo>
                  <a:lnTo>
                    <a:pt x="1448" y="6515"/>
                  </a:lnTo>
                  <a:lnTo>
                    <a:pt x="1169" y="6533"/>
                  </a:lnTo>
                  <a:lnTo>
                    <a:pt x="650" y="6756"/>
                  </a:lnTo>
                  <a:lnTo>
                    <a:pt x="242" y="7146"/>
                  </a:lnTo>
                  <a:lnTo>
                    <a:pt x="19" y="7665"/>
                  </a:lnTo>
                  <a:lnTo>
                    <a:pt x="0" y="7962"/>
                  </a:lnTo>
                  <a:lnTo>
                    <a:pt x="0" y="10078"/>
                  </a:lnTo>
                  <a:lnTo>
                    <a:pt x="19" y="10375"/>
                  </a:lnTo>
                  <a:lnTo>
                    <a:pt x="242" y="10895"/>
                  </a:lnTo>
                  <a:lnTo>
                    <a:pt x="650" y="11284"/>
                  </a:lnTo>
                  <a:lnTo>
                    <a:pt x="1169" y="11507"/>
                  </a:lnTo>
                  <a:lnTo>
                    <a:pt x="1448" y="11526"/>
                  </a:lnTo>
                  <a:lnTo>
                    <a:pt x="4399" y="11526"/>
                  </a:lnTo>
                  <a:lnTo>
                    <a:pt x="4399" y="23941"/>
                  </a:lnTo>
                  <a:lnTo>
                    <a:pt x="4399" y="24851"/>
                  </a:lnTo>
                  <a:lnTo>
                    <a:pt x="4566" y="26558"/>
                  </a:lnTo>
                  <a:lnTo>
                    <a:pt x="4733" y="27356"/>
                  </a:lnTo>
                  <a:lnTo>
                    <a:pt x="4918" y="28136"/>
                  </a:lnTo>
                  <a:lnTo>
                    <a:pt x="5549" y="29546"/>
                  </a:lnTo>
                  <a:lnTo>
                    <a:pt x="5976" y="30177"/>
                  </a:lnTo>
                  <a:lnTo>
                    <a:pt x="6217" y="30474"/>
                  </a:lnTo>
                  <a:lnTo>
                    <a:pt x="6756" y="31031"/>
                  </a:lnTo>
                  <a:lnTo>
                    <a:pt x="7368" y="31513"/>
                  </a:lnTo>
                  <a:lnTo>
                    <a:pt x="8073" y="31922"/>
                  </a:lnTo>
                  <a:lnTo>
                    <a:pt x="8463" y="32107"/>
                  </a:lnTo>
                  <a:lnTo>
                    <a:pt x="8853" y="32274"/>
                  </a:lnTo>
                  <a:lnTo>
                    <a:pt x="9762" y="32534"/>
                  </a:lnTo>
                  <a:lnTo>
                    <a:pt x="10783" y="32720"/>
                  </a:lnTo>
                  <a:lnTo>
                    <a:pt x="11915" y="32794"/>
                  </a:lnTo>
                  <a:lnTo>
                    <a:pt x="12527" y="32812"/>
                  </a:lnTo>
                  <a:lnTo>
                    <a:pt x="13047" y="32794"/>
                  </a:lnTo>
                  <a:lnTo>
                    <a:pt x="14142" y="32701"/>
                  </a:lnTo>
                  <a:lnTo>
                    <a:pt x="14717" y="32627"/>
                  </a:lnTo>
                  <a:lnTo>
                    <a:pt x="15274" y="32534"/>
                  </a:lnTo>
                  <a:lnTo>
                    <a:pt x="16276" y="32274"/>
                  </a:lnTo>
                  <a:lnTo>
                    <a:pt x="16703" y="32126"/>
                  </a:lnTo>
                  <a:lnTo>
                    <a:pt x="16499" y="27226"/>
                  </a:lnTo>
                  <a:lnTo>
                    <a:pt x="15887" y="27467"/>
                  </a:lnTo>
                  <a:lnTo>
                    <a:pt x="15181" y="27616"/>
                  </a:lnTo>
                  <a:lnTo>
                    <a:pt x="14476" y="27727"/>
                  </a:lnTo>
                  <a:lnTo>
                    <a:pt x="13827" y="27746"/>
                  </a:lnTo>
                  <a:lnTo>
                    <a:pt x="13326" y="27746"/>
                  </a:lnTo>
                  <a:lnTo>
                    <a:pt x="12472" y="27597"/>
                  </a:lnTo>
                  <a:lnTo>
                    <a:pt x="11804" y="27319"/>
                  </a:lnTo>
                  <a:lnTo>
                    <a:pt x="11303" y="26911"/>
                  </a:lnTo>
                  <a:lnTo>
                    <a:pt x="11154" y="26651"/>
                  </a:lnTo>
                  <a:lnTo>
                    <a:pt x="11006" y="26372"/>
                  </a:lnTo>
                  <a:lnTo>
                    <a:pt x="10783" y="25760"/>
                  </a:lnTo>
                  <a:lnTo>
                    <a:pt x="10560" y="24702"/>
                  </a:lnTo>
                  <a:lnTo>
                    <a:pt x="10542" y="23886"/>
                  </a:lnTo>
                  <a:lnTo>
                    <a:pt x="10542" y="11526"/>
                  </a:lnTo>
                  <a:lnTo>
                    <a:pt x="15367" y="11526"/>
                  </a:lnTo>
                  <a:lnTo>
                    <a:pt x="15645" y="11507"/>
                  </a:lnTo>
                  <a:lnTo>
                    <a:pt x="16165" y="11284"/>
                  </a:lnTo>
                  <a:lnTo>
                    <a:pt x="16573" y="10895"/>
                  </a:lnTo>
                  <a:lnTo>
                    <a:pt x="16796" y="10375"/>
                  </a:lnTo>
                  <a:lnTo>
                    <a:pt x="16815" y="10078"/>
                  </a:lnTo>
                  <a:lnTo>
                    <a:pt x="16815" y="7962"/>
                  </a:lnTo>
                  <a:lnTo>
                    <a:pt x="16796" y="7665"/>
                  </a:lnTo>
                  <a:lnTo>
                    <a:pt x="16573" y="7146"/>
                  </a:lnTo>
                  <a:lnTo>
                    <a:pt x="16165" y="6756"/>
                  </a:lnTo>
                  <a:lnTo>
                    <a:pt x="15645" y="6533"/>
                  </a:lnTo>
                  <a:lnTo>
                    <a:pt x="15367" y="6515"/>
                  </a:lnTo>
                  <a:lnTo>
                    <a:pt x="10542" y="6515"/>
                  </a:lnTo>
                  <a:lnTo>
                    <a:pt x="10542" y="1448"/>
                  </a:lnTo>
                  <a:lnTo>
                    <a:pt x="10523" y="1151"/>
                  </a:lnTo>
                  <a:lnTo>
                    <a:pt x="10300" y="632"/>
                  </a:lnTo>
                  <a:lnTo>
                    <a:pt x="9911" y="242"/>
                  </a:lnTo>
                  <a:lnTo>
                    <a:pt x="9391" y="19"/>
                  </a:lnTo>
                  <a:lnTo>
                    <a:pt x="9094" y="1"/>
                  </a:lnTo>
                  <a:close/>
                </a:path>
              </a:pathLst>
            </a:custGeom>
            <a:solidFill>
              <a:srgbClr val="F3F3E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671" name="Google Shape;671;p54"/>
            <p:cNvSpPr/>
            <p:nvPr/>
          </p:nvSpPr>
          <p:spPr>
            <a:xfrm>
              <a:off x="4511750" y="2466575"/>
              <a:ext cx="655150" cy="841200"/>
            </a:xfrm>
            <a:custGeom>
              <a:avLst/>
              <a:gdLst/>
              <a:ahLst/>
              <a:cxnLst/>
              <a:rect l="l" t="t" r="r" b="b"/>
              <a:pathLst>
                <a:path w="26206" h="33648" extrusionOk="0">
                  <a:moveTo>
                    <a:pt x="1466" y="1"/>
                  </a:moveTo>
                  <a:lnTo>
                    <a:pt x="1169" y="19"/>
                  </a:lnTo>
                  <a:lnTo>
                    <a:pt x="650" y="242"/>
                  </a:lnTo>
                  <a:lnTo>
                    <a:pt x="241" y="632"/>
                  </a:lnTo>
                  <a:lnTo>
                    <a:pt x="19" y="1151"/>
                  </a:lnTo>
                  <a:lnTo>
                    <a:pt x="0" y="1448"/>
                  </a:lnTo>
                  <a:lnTo>
                    <a:pt x="0" y="32200"/>
                  </a:lnTo>
                  <a:lnTo>
                    <a:pt x="19" y="32497"/>
                  </a:lnTo>
                  <a:lnTo>
                    <a:pt x="241" y="33017"/>
                  </a:lnTo>
                  <a:lnTo>
                    <a:pt x="650" y="33406"/>
                  </a:lnTo>
                  <a:lnTo>
                    <a:pt x="1169" y="33629"/>
                  </a:lnTo>
                  <a:lnTo>
                    <a:pt x="1466" y="33648"/>
                  </a:lnTo>
                  <a:lnTo>
                    <a:pt x="4825" y="33648"/>
                  </a:lnTo>
                  <a:lnTo>
                    <a:pt x="5122" y="33629"/>
                  </a:lnTo>
                  <a:lnTo>
                    <a:pt x="5642" y="33406"/>
                  </a:lnTo>
                  <a:lnTo>
                    <a:pt x="6032" y="33017"/>
                  </a:lnTo>
                  <a:lnTo>
                    <a:pt x="6255" y="32497"/>
                  </a:lnTo>
                  <a:lnTo>
                    <a:pt x="6273" y="32200"/>
                  </a:lnTo>
                  <a:lnTo>
                    <a:pt x="6273" y="18133"/>
                  </a:lnTo>
                  <a:lnTo>
                    <a:pt x="19932" y="18133"/>
                  </a:lnTo>
                  <a:lnTo>
                    <a:pt x="19932" y="32200"/>
                  </a:lnTo>
                  <a:lnTo>
                    <a:pt x="19951" y="32497"/>
                  </a:lnTo>
                  <a:lnTo>
                    <a:pt x="20174" y="33017"/>
                  </a:lnTo>
                  <a:lnTo>
                    <a:pt x="20563" y="33406"/>
                  </a:lnTo>
                  <a:lnTo>
                    <a:pt x="21083" y="33629"/>
                  </a:lnTo>
                  <a:lnTo>
                    <a:pt x="21380" y="33648"/>
                  </a:lnTo>
                  <a:lnTo>
                    <a:pt x="24758" y="33648"/>
                  </a:lnTo>
                  <a:lnTo>
                    <a:pt x="25036" y="33629"/>
                  </a:lnTo>
                  <a:lnTo>
                    <a:pt x="25556" y="33406"/>
                  </a:lnTo>
                  <a:lnTo>
                    <a:pt x="25964" y="33017"/>
                  </a:lnTo>
                  <a:lnTo>
                    <a:pt x="26187" y="32497"/>
                  </a:lnTo>
                  <a:lnTo>
                    <a:pt x="26205" y="32200"/>
                  </a:lnTo>
                  <a:lnTo>
                    <a:pt x="26205" y="1448"/>
                  </a:lnTo>
                  <a:lnTo>
                    <a:pt x="26187" y="1151"/>
                  </a:lnTo>
                  <a:lnTo>
                    <a:pt x="25964" y="632"/>
                  </a:lnTo>
                  <a:lnTo>
                    <a:pt x="25556" y="242"/>
                  </a:lnTo>
                  <a:lnTo>
                    <a:pt x="25036" y="19"/>
                  </a:lnTo>
                  <a:lnTo>
                    <a:pt x="24758" y="1"/>
                  </a:lnTo>
                  <a:lnTo>
                    <a:pt x="21380" y="1"/>
                  </a:lnTo>
                  <a:lnTo>
                    <a:pt x="21083" y="19"/>
                  </a:lnTo>
                  <a:lnTo>
                    <a:pt x="20563" y="242"/>
                  </a:lnTo>
                  <a:lnTo>
                    <a:pt x="20174" y="632"/>
                  </a:lnTo>
                  <a:lnTo>
                    <a:pt x="19951" y="1151"/>
                  </a:lnTo>
                  <a:lnTo>
                    <a:pt x="19932" y="1448"/>
                  </a:lnTo>
                  <a:lnTo>
                    <a:pt x="19932" y="13641"/>
                  </a:lnTo>
                  <a:lnTo>
                    <a:pt x="6273" y="13641"/>
                  </a:lnTo>
                  <a:lnTo>
                    <a:pt x="6273" y="1448"/>
                  </a:lnTo>
                  <a:lnTo>
                    <a:pt x="6255" y="1151"/>
                  </a:lnTo>
                  <a:lnTo>
                    <a:pt x="6032" y="632"/>
                  </a:lnTo>
                  <a:lnTo>
                    <a:pt x="5642" y="242"/>
                  </a:lnTo>
                  <a:lnTo>
                    <a:pt x="5122" y="19"/>
                  </a:lnTo>
                  <a:lnTo>
                    <a:pt x="4825" y="1"/>
                  </a:lnTo>
                  <a:close/>
                </a:path>
              </a:pathLst>
            </a:custGeom>
            <a:solidFill>
              <a:srgbClr val="F3F3E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672" name="Google Shape;672;p54"/>
            <p:cNvSpPr/>
            <p:nvPr/>
          </p:nvSpPr>
          <p:spPr>
            <a:xfrm>
              <a:off x="2392800" y="2663300"/>
              <a:ext cx="633800" cy="662575"/>
            </a:xfrm>
            <a:custGeom>
              <a:avLst/>
              <a:gdLst/>
              <a:ahLst/>
              <a:cxnLst/>
              <a:rect l="l" t="t" r="r" b="b"/>
              <a:pathLst>
                <a:path w="25352" h="26503" extrusionOk="0">
                  <a:moveTo>
                    <a:pt x="13195" y="4696"/>
                  </a:moveTo>
                  <a:lnTo>
                    <a:pt x="13938" y="4715"/>
                  </a:lnTo>
                  <a:lnTo>
                    <a:pt x="15255" y="4974"/>
                  </a:lnTo>
                  <a:lnTo>
                    <a:pt x="15831" y="5197"/>
                  </a:lnTo>
                  <a:lnTo>
                    <a:pt x="16369" y="5457"/>
                  </a:lnTo>
                  <a:lnTo>
                    <a:pt x="17297" y="6125"/>
                  </a:lnTo>
                  <a:lnTo>
                    <a:pt x="17687" y="6515"/>
                  </a:lnTo>
                  <a:lnTo>
                    <a:pt x="18039" y="6942"/>
                  </a:lnTo>
                  <a:lnTo>
                    <a:pt x="18559" y="7907"/>
                  </a:lnTo>
                  <a:lnTo>
                    <a:pt x="18745" y="8445"/>
                  </a:lnTo>
                  <a:lnTo>
                    <a:pt x="18912" y="9002"/>
                  </a:lnTo>
                  <a:lnTo>
                    <a:pt x="19079" y="10152"/>
                  </a:lnTo>
                  <a:lnTo>
                    <a:pt x="19097" y="10746"/>
                  </a:lnTo>
                  <a:lnTo>
                    <a:pt x="6254" y="10746"/>
                  </a:lnTo>
                  <a:lnTo>
                    <a:pt x="6329" y="10097"/>
                  </a:lnTo>
                  <a:lnTo>
                    <a:pt x="6663" y="8890"/>
                  </a:lnTo>
                  <a:lnTo>
                    <a:pt x="7201" y="7795"/>
                  </a:lnTo>
                  <a:lnTo>
                    <a:pt x="7962" y="6830"/>
                  </a:lnTo>
                  <a:lnTo>
                    <a:pt x="8426" y="6403"/>
                  </a:lnTo>
                  <a:lnTo>
                    <a:pt x="8927" y="5995"/>
                  </a:lnTo>
                  <a:lnTo>
                    <a:pt x="10003" y="5346"/>
                  </a:lnTo>
                  <a:lnTo>
                    <a:pt x="11210" y="4937"/>
                  </a:lnTo>
                  <a:lnTo>
                    <a:pt x="12509" y="4715"/>
                  </a:lnTo>
                  <a:lnTo>
                    <a:pt x="13195" y="4696"/>
                  </a:lnTo>
                  <a:close/>
                  <a:moveTo>
                    <a:pt x="13251" y="1"/>
                  </a:moveTo>
                  <a:lnTo>
                    <a:pt x="12546" y="19"/>
                  </a:lnTo>
                  <a:lnTo>
                    <a:pt x="11191" y="131"/>
                  </a:lnTo>
                  <a:lnTo>
                    <a:pt x="9873" y="372"/>
                  </a:lnTo>
                  <a:lnTo>
                    <a:pt x="8611" y="743"/>
                  </a:lnTo>
                  <a:lnTo>
                    <a:pt x="8018" y="966"/>
                  </a:lnTo>
                  <a:lnTo>
                    <a:pt x="7405" y="1226"/>
                  </a:lnTo>
                  <a:lnTo>
                    <a:pt x="6273" y="1801"/>
                  </a:lnTo>
                  <a:lnTo>
                    <a:pt x="5234" y="2469"/>
                  </a:lnTo>
                  <a:lnTo>
                    <a:pt x="4269" y="3248"/>
                  </a:lnTo>
                  <a:lnTo>
                    <a:pt x="3805" y="3675"/>
                  </a:lnTo>
                  <a:lnTo>
                    <a:pt x="3378" y="4121"/>
                  </a:lnTo>
                  <a:lnTo>
                    <a:pt x="2580" y="5086"/>
                  </a:lnTo>
                  <a:lnTo>
                    <a:pt x="1875" y="6144"/>
                  </a:lnTo>
                  <a:lnTo>
                    <a:pt x="1281" y="7294"/>
                  </a:lnTo>
                  <a:lnTo>
                    <a:pt x="1021" y="7907"/>
                  </a:lnTo>
                  <a:lnTo>
                    <a:pt x="780" y="8538"/>
                  </a:lnTo>
                  <a:lnTo>
                    <a:pt x="390" y="9837"/>
                  </a:lnTo>
                  <a:lnTo>
                    <a:pt x="130" y="11210"/>
                  </a:lnTo>
                  <a:lnTo>
                    <a:pt x="19" y="12658"/>
                  </a:lnTo>
                  <a:lnTo>
                    <a:pt x="0" y="13400"/>
                  </a:lnTo>
                  <a:lnTo>
                    <a:pt x="19" y="14161"/>
                  </a:lnTo>
                  <a:lnTo>
                    <a:pt x="130" y="15609"/>
                  </a:lnTo>
                  <a:lnTo>
                    <a:pt x="390" y="17000"/>
                  </a:lnTo>
                  <a:lnTo>
                    <a:pt x="780" y="18300"/>
                  </a:lnTo>
                  <a:lnTo>
                    <a:pt x="1021" y="18912"/>
                  </a:lnTo>
                  <a:lnTo>
                    <a:pt x="1281" y="19506"/>
                  </a:lnTo>
                  <a:lnTo>
                    <a:pt x="1893" y="20619"/>
                  </a:lnTo>
                  <a:lnTo>
                    <a:pt x="2598" y="21659"/>
                  </a:lnTo>
                  <a:lnTo>
                    <a:pt x="3396" y="22587"/>
                  </a:lnTo>
                  <a:lnTo>
                    <a:pt x="3842" y="23013"/>
                  </a:lnTo>
                  <a:lnTo>
                    <a:pt x="4287" y="23422"/>
                  </a:lnTo>
                  <a:lnTo>
                    <a:pt x="5271" y="24146"/>
                  </a:lnTo>
                  <a:lnTo>
                    <a:pt x="6329" y="24795"/>
                  </a:lnTo>
                  <a:lnTo>
                    <a:pt x="7479" y="25352"/>
                  </a:lnTo>
                  <a:lnTo>
                    <a:pt x="8092" y="25593"/>
                  </a:lnTo>
                  <a:lnTo>
                    <a:pt x="8704" y="25797"/>
                  </a:lnTo>
                  <a:lnTo>
                    <a:pt x="9985" y="26150"/>
                  </a:lnTo>
                  <a:lnTo>
                    <a:pt x="11340" y="26373"/>
                  </a:lnTo>
                  <a:lnTo>
                    <a:pt x="12731" y="26484"/>
                  </a:lnTo>
                  <a:lnTo>
                    <a:pt x="13455" y="26503"/>
                  </a:lnTo>
                  <a:lnTo>
                    <a:pt x="14216" y="26484"/>
                  </a:lnTo>
                  <a:lnTo>
                    <a:pt x="15682" y="26373"/>
                  </a:lnTo>
                  <a:lnTo>
                    <a:pt x="17074" y="26131"/>
                  </a:lnTo>
                  <a:lnTo>
                    <a:pt x="18373" y="25760"/>
                  </a:lnTo>
                  <a:lnTo>
                    <a:pt x="19598" y="25296"/>
                  </a:lnTo>
                  <a:lnTo>
                    <a:pt x="20730" y="24684"/>
                  </a:lnTo>
                  <a:lnTo>
                    <a:pt x="21788" y="23960"/>
                  </a:lnTo>
                  <a:lnTo>
                    <a:pt x="22772" y="23125"/>
                  </a:lnTo>
                  <a:lnTo>
                    <a:pt x="23236" y="22661"/>
                  </a:lnTo>
                  <a:lnTo>
                    <a:pt x="23421" y="22420"/>
                  </a:lnTo>
                  <a:lnTo>
                    <a:pt x="23607" y="21863"/>
                  </a:lnTo>
                  <a:lnTo>
                    <a:pt x="23551" y="21288"/>
                  </a:lnTo>
                  <a:lnTo>
                    <a:pt x="23273" y="20768"/>
                  </a:lnTo>
                  <a:lnTo>
                    <a:pt x="23050" y="20564"/>
                  </a:lnTo>
                  <a:lnTo>
                    <a:pt x="21139" y="19042"/>
                  </a:lnTo>
                  <a:lnTo>
                    <a:pt x="20916" y="18875"/>
                  </a:lnTo>
                  <a:lnTo>
                    <a:pt x="20415" y="18726"/>
                  </a:lnTo>
                  <a:lnTo>
                    <a:pt x="19914" y="18745"/>
                  </a:lnTo>
                  <a:lnTo>
                    <a:pt x="19431" y="18949"/>
                  </a:lnTo>
                  <a:lnTo>
                    <a:pt x="19227" y="19135"/>
                  </a:lnTo>
                  <a:lnTo>
                    <a:pt x="18819" y="19543"/>
                  </a:lnTo>
                  <a:lnTo>
                    <a:pt x="17891" y="20230"/>
                  </a:lnTo>
                  <a:lnTo>
                    <a:pt x="17371" y="20527"/>
                  </a:lnTo>
                  <a:lnTo>
                    <a:pt x="16963" y="20731"/>
                  </a:lnTo>
                  <a:lnTo>
                    <a:pt x="16053" y="21046"/>
                  </a:lnTo>
                  <a:lnTo>
                    <a:pt x="15070" y="21269"/>
                  </a:lnTo>
                  <a:lnTo>
                    <a:pt x="13993" y="21380"/>
                  </a:lnTo>
                  <a:lnTo>
                    <a:pt x="13400" y="21380"/>
                  </a:lnTo>
                  <a:lnTo>
                    <a:pt x="12731" y="21362"/>
                  </a:lnTo>
                  <a:lnTo>
                    <a:pt x="11432" y="21120"/>
                  </a:lnTo>
                  <a:lnTo>
                    <a:pt x="10801" y="20916"/>
                  </a:lnTo>
                  <a:lnTo>
                    <a:pt x="10189" y="20657"/>
                  </a:lnTo>
                  <a:lnTo>
                    <a:pt x="9057" y="20026"/>
                  </a:lnTo>
                  <a:lnTo>
                    <a:pt x="8556" y="19636"/>
                  </a:lnTo>
                  <a:lnTo>
                    <a:pt x="8073" y="19209"/>
                  </a:lnTo>
                  <a:lnTo>
                    <a:pt x="7275" y="18244"/>
                  </a:lnTo>
                  <a:lnTo>
                    <a:pt x="6960" y="17706"/>
                  </a:lnTo>
                  <a:lnTo>
                    <a:pt x="6681" y="17130"/>
                  </a:lnTo>
                  <a:lnTo>
                    <a:pt x="6329" y="15905"/>
                  </a:lnTo>
                  <a:lnTo>
                    <a:pt x="6254" y="15237"/>
                  </a:lnTo>
                  <a:lnTo>
                    <a:pt x="23904" y="15237"/>
                  </a:lnTo>
                  <a:lnTo>
                    <a:pt x="24201" y="15200"/>
                  </a:lnTo>
                  <a:lnTo>
                    <a:pt x="24702" y="14996"/>
                  </a:lnTo>
                  <a:lnTo>
                    <a:pt x="25110" y="14606"/>
                  </a:lnTo>
                  <a:lnTo>
                    <a:pt x="25333" y="14087"/>
                  </a:lnTo>
                  <a:lnTo>
                    <a:pt x="25351" y="13790"/>
                  </a:lnTo>
                  <a:lnTo>
                    <a:pt x="25351" y="13567"/>
                  </a:lnTo>
                  <a:lnTo>
                    <a:pt x="25333" y="12713"/>
                  </a:lnTo>
                  <a:lnTo>
                    <a:pt x="25222" y="11136"/>
                  </a:lnTo>
                  <a:lnTo>
                    <a:pt x="24999" y="9651"/>
                  </a:lnTo>
                  <a:lnTo>
                    <a:pt x="24665" y="8278"/>
                  </a:lnTo>
                  <a:lnTo>
                    <a:pt x="24442" y="7647"/>
                  </a:lnTo>
                  <a:lnTo>
                    <a:pt x="24201" y="7016"/>
                  </a:lnTo>
                  <a:lnTo>
                    <a:pt x="23663" y="5847"/>
                  </a:lnTo>
                  <a:lnTo>
                    <a:pt x="23032" y="4807"/>
                  </a:lnTo>
                  <a:lnTo>
                    <a:pt x="22308" y="3842"/>
                  </a:lnTo>
                  <a:lnTo>
                    <a:pt x="21900" y="3415"/>
                  </a:lnTo>
                  <a:lnTo>
                    <a:pt x="21918" y="3415"/>
                  </a:lnTo>
                  <a:lnTo>
                    <a:pt x="21491" y="3007"/>
                  </a:lnTo>
                  <a:lnTo>
                    <a:pt x="20619" y="2265"/>
                  </a:lnTo>
                  <a:lnTo>
                    <a:pt x="19654" y="1615"/>
                  </a:lnTo>
                  <a:lnTo>
                    <a:pt x="18633" y="1096"/>
                  </a:lnTo>
                  <a:lnTo>
                    <a:pt x="18076" y="873"/>
                  </a:lnTo>
                  <a:lnTo>
                    <a:pt x="17520" y="650"/>
                  </a:lnTo>
                  <a:lnTo>
                    <a:pt x="16369" y="335"/>
                  </a:lnTo>
                  <a:lnTo>
                    <a:pt x="15163" y="112"/>
                  </a:lnTo>
                  <a:lnTo>
                    <a:pt x="13901" y="19"/>
                  </a:lnTo>
                  <a:lnTo>
                    <a:pt x="13251" y="1"/>
                  </a:lnTo>
                  <a:close/>
                </a:path>
              </a:pathLst>
            </a:custGeom>
            <a:solidFill>
              <a:srgbClr val="F3F3E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673" name="Google Shape;673;p54"/>
            <p:cNvSpPr/>
            <p:nvPr/>
          </p:nvSpPr>
          <p:spPr>
            <a:xfrm>
              <a:off x="237650" y="2349675"/>
              <a:ext cx="1219800" cy="1015625"/>
            </a:xfrm>
            <a:custGeom>
              <a:avLst/>
              <a:gdLst/>
              <a:ahLst/>
              <a:cxnLst/>
              <a:rect l="l" t="t" r="r" b="b"/>
              <a:pathLst>
                <a:path w="48792" h="40625" extrusionOk="0">
                  <a:moveTo>
                    <a:pt x="11915" y="0"/>
                  </a:moveTo>
                  <a:lnTo>
                    <a:pt x="10746" y="93"/>
                  </a:lnTo>
                  <a:lnTo>
                    <a:pt x="9614" y="297"/>
                  </a:lnTo>
                  <a:lnTo>
                    <a:pt x="8500" y="612"/>
                  </a:lnTo>
                  <a:lnTo>
                    <a:pt x="7443" y="1039"/>
                  </a:lnTo>
                  <a:lnTo>
                    <a:pt x="6422" y="1559"/>
                  </a:lnTo>
                  <a:lnTo>
                    <a:pt x="5457" y="2171"/>
                  </a:lnTo>
                  <a:lnTo>
                    <a:pt x="4547" y="2858"/>
                  </a:lnTo>
                  <a:lnTo>
                    <a:pt x="3712" y="3638"/>
                  </a:lnTo>
                  <a:lnTo>
                    <a:pt x="2933" y="4491"/>
                  </a:lnTo>
                  <a:lnTo>
                    <a:pt x="2246" y="5419"/>
                  </a:lnTo>
                  <a:lnTo>
                    <a:pt x="1634" y="6403"/>
                  </a:lnTo>
                  <a:lnTo>
                    <a:pt x="1114" y="7442"/>
                  </a:lnTo>
                  <a:lnTo>
                    <a:pt x="687" y="8556"/>
                  </a:lnTo>
                  <a:lnTo>
                    <a:pt x="372" y="9688"/>
                  </a:lnTo>
                  <a:lnTo>
                    <a:pt x="149" y="10875"/>
                  </a:lnTo>
                  <a:lnTo>
                    <a:pt x="75" y="11488"/>
                  </a:lnTo>
                  <a:lnTo>
                    <a:pt x="0" y="12583"/>
                  </a:lnTo>
                  <a:lnTo>
                    <a:pt x="130" y="14736"/>
                  </a:lnTo>
                  <a:lnTo>
                    <a:pt x="539" y="16870"/>
                  </a:lnTo>
                  <a:lnTo>
                    <a:pt x="1225" y="18967"/>
                  </a:lnTo>
                  <a:lnTo>
                    <a:pt x="2116" y="21008"/>
                  </a:lnTo>
                  <a:lnTo>
                    <a:pt x="3230" y="23013"/>
                  </a:lnTo>
                  <a:lnTo>
                    <a:pt x="4510" y="24961"/>
                  </a:lnTo>
                  <a:lnTo>
                    <a:pt x="5921" y="26836"/>
                  </a:lnTo>
                  <a:lnTo>
                    <a:pt x="7461" y="28636"/>
                  </a:lnTo>
                  <a:lnTo>
                    <a:pt x="9076" y="30362"/>
                  </a:lnTo>
                  <a:lnTo>
                    <a:pt x="11600" y="32793"/>
                  </a:lnTo>
                  <a:lnTo>
                    <a:pt x="14996" y="35688"/>
                  </a:lnTo>
                  <a:lnTo>
                    <a:pt x="18188" y="38120"/>
                  </a:lnTo>
                  <a:lnTo>
                    <a:pt x="19617" y="39140"/>
                  </a:lnTo>
                  <a:lnTo>
                    <a:pt x="20155" y="39493"/>
                  </a:lnTo>
                  <a:lnTo>
                    <a:pt x="21325" y="40050"/>
                  </a:lnTo>
                  <a:lnTo>
                    <a:pt x="22531" y="40439"/>
                  </a:lnTo>
                  <a:lnTo>
                    <a:pt x="23774" y="40625"/>
                  </a:lnTo>
                  <a:lnTo>
                    <a:pt x="25036" y="40625"/>
                  </a:lnTo>
                  <a:lnTo>
                    <a:pt x="26280" y="40439"/>
                  </a:lnTo>
                  <a:lnTo>
                    <a:pt x="27486" y="40050"/>
                  </a:lnTo>
                  <a:lnTo>
                    <a:pt x="28637" y="39493"/>
                  </a:lnTo>
                  <a:lnTo>
                    <a:pt x="29193" y="39140"/>
                  </a:lnTo>
                  <a:lnTo>
                    <a:pt x="30567" y="38157"/>
                  </a:lnTo>
                  <a:lnTo>
                    <a:pt x="33648" y="35818"/>
                  </a:lnTo>
                  <a:lnTo>
                    <a:pt x="36914" y="33053"/>
                  </a:lnTo>
                  <a:lnTo>
                    <a:pt x="39364" y="30733"/>
                  </a:lnTo>
                  <a:lnTo>
                    <a:pt x="40941" y="29081"/>
                  </a:lnTo>
                  <a:lnTo>
                    <a:pt x="42444" y="27356"/>
                  </a:lnTo>
                  <a:lnTo>
                    <a:pt x="43855" y="25555"/>
                  </a:lnTo>
                  <a:lnTo>
                    <a:pt x="45135" y="23699"/>
                  </a:lnTo>
                  <a:lnTo>
                    <a:pt x="46268" y="21788"/>
                  </a:lnTo>
                  <a:lnTo>
                    <a:pt x="47233" y="19839"/>
                  </a:lnTo>
                  <a:lnTo>
                    <a:pt x="47994" y="17835"/>
                  </a:lnTo>
                  <a:lnTo>
                    <a:pt x="48513" y="15793"/>
                  </a:lnTo>
                  <a:lnTo>
                    <a:pt x="48773" y="13715"/>
                  </a:lnTo>
                  <a:lnTo>
                    <a:pt x="48792" y="12676"/>
                  </a:lnTo>
                  <a:lnTo>
                    <a:pt x="48773" y="12082"/>
                  </a:lnTo>
                  <a:lnTo>
                    <a:pt x="48736" y="11488"/>
                  </a:lnTo>
                  <a:lnTo>
                    <a:pt x="48662" y="10820"/>
                  </a:lnTo>
                  <a:lnTo>
                    <a:pt x="48272" y="9224"/>
                  </a:lnTo>
                  <a:lnTo>
                    <a:pt x="47845" y="8017"/>
                  </a:lnTo>
                  <a:lnTo>
                    <a:pt x="47270" y="6830"/>
                  </a:lnTo>
                  <a:lnTo>
                    <a:pt x="46509" y="5753"/>
                  </a:lnTo>
                  <a:lnTo>
                    <a:pt x="45785" y="5104"/>
                  </a:lnTo>
                  <a:lnTo>
                    <a:pt x="45247" y="4788"/>
                  </a:lnTo>
                  <a:lnTo>
                    <a:pt x="44653" y="4547"/>
                  </a:lnTo>
                  <a:lnTo>
                    <a:pt x="44003" y="4417"/>
                  </a:lnTo>
                  <a:lnTo>
                    <a:pt x="43242" y="4417"/>
                  </a:lnTo>
                  <a:lnTo>
                    <a:pt x="42444" y="4565"/>
                  </a:lnTo>
                  <a:lnTo>
                    <a:pt x="41684" y="4881"/>
                  </a:lnTo>
                  <a:lnTo>
                    <a:pt x="40997" y="5345"/>
                  </a:lnTo>
                  <a:lnTo>
                    <a:pt x="40681" y="5642"/>
                  </a:lnTo>
                  <a:lnTo>
                    <a:pt x="27616" y="18707"/>
                  </a:lnTo>
                  <a:lnTo>
                    <a:pt x="27393" y="18930"/>
                  </a:lnTo>
                  <a:lnTo>
                    <a:pt x="27059" y="19450"/>
                  </a:lnTo>
                  <a:lnTo>
                    <a:pt x="26836" y="20006"/>
                  </a:lnTo>
                  <a:lnTo>
                    <a:pt x="26725" y="20582"/>
                  </a:lnTo>
                  <a:lnTo>
                    <a:pt x="26725" y="21175"/>
                  </a:lnTo>
                  <a:lnTo>
                    <a:pt x="26836" y="21751"/>
                  </a:lnTo>
                  <a:lnTo>
                    <a:pt x="27059" y="22308"/>
                  </a:lnTo>
                  <a:lnTo>
                    <a:pt x="27393" y="22809"/>
                  </a:lnTo>
                  <a:lnTo>
                    <a:pt x="27616" y="23050"/>
                  </a:lnTo>
                  <a:lnTo>
                    <a:pt x="27839" y="23254"/>
                  </a:lnTo>
                  <a:lnTo>
                    <a:pt x="28358" y="23607"/>
                  </a:lnTo>
                  <a:lnTo>
                    <a:pt x="28915" y="23829"/>
                  </a:lnTo>
                  <a:lnTo>
                    <a:pt x="29490" y="23941"/>
                  </a:lnTo>
                  <a:lnTo>
                    <a:pt x="30084" y="23941"/>
                  </a:lnTo>
                  <a:lnTo>
                    <a:pt x="30660" y="23829"/>
                  </a:lnTo>
                  <a:lnTo>
                    <a:pt x="31216" y="23607"/>
                  </a:lnTo>
                  <a:lnTo>
                    <a:pt x="31717" y="23254"/>
                  </a:lnTo>
                  <a:lnTo>
                    <a:pt x="31959" y="23050"/>
                  </a:lnTo>
                  <a:lnTo>
                    <a:pt x="43075" y="11933"/>
                  </a:lnTo>
                  <a:lnTo>
                    <a:pt x="43168" y="11840"/>
                  </a:lnTo>
                  <a:lnTo>
                    <a:pt x="43410" y="11748"/>
                  </a:lnTo>
                  <a:lnTo>
                    <a:pt x="43651" y="11748"/>
                  </a:lnTo>
                  <a:lnTo>
                    <a:pt x="43873" y="11840"/>
                  </a:lnTo>
                  <a:lnTo>
                    <a:pt x="43966" y="11933"/>
                  </a:lnTo>
                  <a:lnTo>
                    <a:pt x="44727" y="12694"/>
                  </a:lnTo>
                  <a:lnTo>
                    <a:pt x="44820" y="12787"/>
                  </a:lnTo>
                  <a:lnTo>
                    <a:pt x="44913" y="13010"/>
                  </a:lnTo>
                  <a:lnTo>
                    <a:pt x="44913" y="13269"/>
                  </a:lnTo>
                  <a:lnTo>
                    <a:pt x="44820" y="13492"/>
                  </a:lnTo>
                  <a:lnTo>
                    <a:pt x="44727" y="13585"/>
                  </a:lnTo>
                  <a:lnTo>
                    <a:pt x="33703" y="24627"/>
                  </a:lnTo>
                  <a:lnTo>
                    <a:pt x="33314" y="24999"/>
                  </a:lnTo>
                  <a:lnTo>
                    <a:pt x="32441" y="25592"/>
                  </a:lnTo>
                  <a:lnTo>
                    <a:pt x="31476" y="26019"/>
                  </a:lnTo>
                  <a:lnTo>
                    <a:pt x="30455" y="26261"/>
                  </a:lnTo>
                  <a:lnTo>
                    <a:pt x="29936" y="26298"/>
                  </a:lnTo>
                  <a:lnTo>
                    <a:pt x="29360" y="26298"/>
                  </a:lnTo>
                  <a:lnTo>
                    <a:pt x="28247" y="26094"/>
                  </a:lnTo>
                  <a:lnTo>
                    <a:pt x="27208" y="25667"/>
                  </a:lnTo>
                  <a:lnTo>
                    <a:pt x="26280" y="25017"/>
                  </a:lnTo>
                  <a:lnTo>
                    <a:pt x="25871" y="24627"/>
                  </a:lnTo>
                  <a:lnTo>
                    <a:pt x="25500" y="24201"/>
                  </a:lnTo>
                  <a:lnTo>
                    <a:pt x="24925" y="23291"/>
                  </a:lnTo>
                  <a:lnTo>
                    <a:pt x="24572" y="22326"/>
                  </a:lnTo>
                  <a:lnTo>
                    <a:pt x="24405" y="21287"/>
                  </a:lnTo>
                  <a:lnTo>
                    <a:pt x="24424" y="20248"/>
                  </a:lnTo>
                  <a:lnTo>
                    <a:pt x="24647" y="19227"/>
                  </a:lnTo>
                  <a:lnTo>
                    <a:pt x="25055" y="18262"/>
                  </a:lnTo>
                  <a:lnTo>
                    <a:pt x="25649" y="17352"/>
                  </a:lnTo>
                  <a:lnTo>
                    <a:pt x="26038" y="16963"/>
                  </a:lnTo>
                  <a:lnTo>
                    <a:pt x="33351" y="9651"/>
                  </a:lnTo>
                  <a:lnTo>
                    <a:pt x="39011" y="3972"/>
                  </a:lnTo>
                  <a:lnTo>
                    <a:pt x="39456" y="3563"/>
                  </a:lnTo>
                  <a:lnTo>
                    <a:pt x="40422" y="2895"/>
                  </a:lnTo>
                  <a:lnTo>
                    <a:pt x="41479" y="2413"/>
                  </a:lnTo>
                  <a:lnTo>
                    <a:pt x="42611" y="2134"/>
                  </a:lnTo>
                  <a:lnTo>
                    <a:pt x="43205" y="2079"/>
                  </a:lnTo>
                  <a:lnTo>
                    <a:pt x="42444" y="1577"/>
                  </a:lnTo>
                  <a:lnTo>
                    <a:pt x="40811" y="798"/>
                  </a:lnTo>
                  <a:lnTo>
                    <a:pt x="39067" y="260"/>
                  </a:lnTo>
                  <a:lnTo>
                    <a:pt x="37229" y="0"/>
                  </a:lnTo>
                  <a:lnTo>
                    <a:pt x="36283" y="0"/>
                  </a:lnTo>
                  <a:lnTo>
                    <a:pt x="35299" y="56"/>
                  </a:lnTo>
                  <a:lnTo>
                    <a:pt x="33425" y="371"/>
                  </a:lnTo>
                  <a:lnTo>
                    <a:pt x="31643" y="965"/>
                  </a:lnTo>
                  <a:lnTo>
                    <a:pt x="29991" y="1819"/>
                  </a:lnTo>
                  <a:lnTo>
                    <a:pt x="28507" y="2877"/>
                  </a:lnTo>
                  <a:lnTo>
                    <a:pt x="27171" y="4157"/>
                  </a:lnTo>
                  <a:lnTo>
                    <a:pt x="26057" y="5623"/>
                  </a:lnTo>
                  <a:lnTo>
                    <a:pt x="25129" y="7256"/>
                  </a:lnTo>
                  <a:lnTo>
                    <a:pt x="24776" y="8147"/>
                  </a:lnTo>
                  <a:lnTo>
                    <a:pt x="24721" y="8259"/>
                  </a:lnTo>
                  <a:lnTo>
                    <a:pt x="24517" y="8389"/>
                  </a:lnTo>
                  <a:lnTo>
                    <a:pt x="24294" y="8389"/>
                  </a:lnTo>
                  <a:lnTo>
                    <a:pt x="24090" y="8259"/>
                  </a:lnTo>
                  <a:lnTo>
                    <a:pt x="24034" y="8147"/>
                  </a:lnTo>
                  <a:lnTo>
                    <a:pt x="23663" y="7256"/>
                  </a:lnTo>
                  <a:lnTo>
                    <a:pt x="22754" y="5623"/>
                  </a:lnTo>
                  <a:lnTo>
                    <a:pt x="21640" y="4157"/>
                  </a:lnTo>
                  <a:lnTo>
                    <a:pt x="20304" y="2877"/>
                  </a:lnTo>
                  <a:lnTo>
                    <a:pt x="18819" y="1819"/>
                  </a:lnTo>
                  <a:lnTo>
                    <a:pt x="17167" y="965"/>
                  </a:lnTo>
                  <a:lnTo>
                    <a:pt x="15386" y="371"/>
                  </a:lnTo>
                  <a:lnTo>
                    <a:pt x="13493" y="56"/>
                  </a:lnTo>
                  <a:lnTo>
                    <a:pt x="12528" y="0"/>
                  </a:lnTo>
                  <a:close/>
                </a:path>
              </a:pathLst>
            </a:custGeom>
            <a:solidFill>
              <a:srgbClr val="F3F3EA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</p:grpSp>
    </p:spTree>
    <p:extLst>
      <p:ext uri="{BB962C8B-B14F-4D97-AF65-F5344CB8AC3E}">
        <p14:creationId xmlns:p14="http://schemas.microsoft.com/office/powerpoint/2010/main" val="119812852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2C Eyebrow, Title, Subtitle, Content, 3/4 tint">
  <p:cSld name="B2C Eyebrow, Title, Subtitle, Content, 3/4 tint">
    <p:bg>
      <p:bgPr>
        <a:solidFill>
          <a:schemeClr val="lt1"/>
        </a:solidFill>
        <a:effectLst/>
      </p:bgPr>
    </p:bg>
    <p:spTree>
      <p:nvGrpSpPr>
        <p:cNvPr id="1" name="Shape 6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" name="Google Shape;675;p55"/>
          <p:cNvSpPr/>
          <p:nvPr/>
        </p:nvSpPr>
        <p:spPr>
          <a:xfrm>
            <a:off x="8534410" y="0"/>
            <a:ext cx="36576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76" name="Google Shape;676;p55"/>
          <p:cNvSpPr txBox="1">
            <a:spLocks noGrp="1"/>
          </p:cNvSpPr>
          <p:nvPr>
            <p:ph type="sldNum" idx="12"/>
          </p:nvPr>
        </p:nvSpPr>
        <p:spPr>
          <a:xfrm>
            <a:off x="11044810" y="6091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677" name="Google Shape;677;p55"/>
          <p:cNvSpPr txBox="1">
            <a:spLocks noGrp="1"/>
          </p:cNvSpPr>
          <p:nvPr>
            <p:ph type="title"/>
          </p:nvPr>
        </p:nvSpPr>
        <p:spPr>
          <a:xfrm>
            <a:off x="415600" y="1226067"/>
            <a:ext cx="11360700" cy="393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00"/>
              <a:buFont typeface="Lato"/>
              <a:buNone/>
              <a:defRPr sz="19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None/>
              <a:defRPr sz="1300" b="1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678" name="Google Shape;678;p55"/>
          <p:cNvSpPr txBox="1">
            <a:spLocks noGrp="1"/>
          </p:cNvSpPr>
          <p:nvPr>
            <p:ph type="body" idx="1"/>
          </p:nvPr>
        </p:nvSpPr>
        <p:spPr>
          <a:xfrm>
            <a:off x="415600" y="1834900"/>
            <a:ext cx="11360700" cy="4133100"/>
          </a:xfrm>
          <a:prstGeom prst="rect">
            <a:avLst/>
          </a:prstGeom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30200" rtl="0">
              <a:spcBef>
                <a:spcPts val="0"/>
              </a:spcBef>
              <a:spcAft>
                <a:spcPts val="0"/>
              </a:spcAft>
              <a:buSzPts val="1600"/>
              <a:buChar char="•"/>
              <a:defRPr sz="1600"/>
            </a:lvl1pPr>
            <a:lvl2pPr marL="914400" lvl="1" indent="-323850" rtl="0">
              <a:spcBef>
                <a:spcPts val="1300"/>
              </a:spcBef>
              <a:spcAft>
                <a:spcPts val="0"/>
              </a:spcAft>
              <a:buSzPts val="1500"/>
              <a:buChar char="○"/>
              <a:defRPr sz="1500"/>
            </a:lvl2pPr>
            <a:lvl3pPr marL="1371600" lvl="2" indent="-311150" rtl="0">
              <a:spcBef>
                <a:spcPts val="1300"/>
              </a:spcBef>
              <a:spcAft>
                <a:spcPts val="0"/>
              </a:spcAft>
              <a:buSzPts val="1300"/>
              <a:buChar char="•"/>
              <a:defRPr sz="1300"/>
            </a:lvl3pPr>
            <a:lvl4pPr marL="1828800" lvl="3" indent="-304800" rtl="0">
              <a:spcBef>
                <a:spcPts val="1300"/>
              </a:spcBef>
              <a:spcAft>
                <a:spcPts val="0"/>
              </a:spcAft>
              <a:buSzPts val="1200"/>
              <a:buChar char="◦"/>
              <a:defRPr sz="1200"/>
            </a:lvl4pPr>
            <a:lvl5pPr marL="2286000" lvl="4" indent="-298450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/>
            </a:lvl5pPr>
            <a:lvl6pPr marL="2743200" lvl="5" indent="-298450" rtl="0">
              <a:spcBef>
                <a:spcPts val="1300"/>
              </a:spcBef>
              <a:spcAft>
                <a:spcPts val="0"/>
              </a:spcAft>
              <a:buSzPts val="1100"/>
              <a:buChar char="◦"/>
              <a:defRPr/>
            </a:lvl6pPr>
            <a:lvl7pPr marL="3200400" lvl="6" indent="-298450" rtl="0">
              <a:spcBef>
                <a:spcPts val="1300"/>
              </a:spcBef>
              <a:spcAft>
                <a:spcPts val="0"/>
              </a:spcAft>
              <a:buSzPts val="1100"/>
              <a:buChar char="•"/>
              <a:defRPr/>
            </a:lvl7pPr>
            <a:lvl8pPr marL="3657600" lvl="7" indent="-298450" rtl="0">
              <a:spcBef>
                <a:spcPts val="13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 rtl="0">
              <a:spcBef>
                <a:spcPts val="1300"/>
              </a:spcBef>
              <a:spcAft>
                <a:spcPts val="1300"/>
              </a:spcAft>
              <a:buSzPts val="1100"/>
              <a:buChar char="•"/>
              <a:defRPr/>
            </a:lvl9pPr>
          </a:lstStyle>
          <a:p>
            <a:endParaRPr/>
          </a:p>
        </p:txBody>
      </p:sp>
      <p:sp>
        <p:nvSpPr>
          <p:cNvPr id="679" name="Google Shape;679;p55"/>
          <p:cNvSpPr/>
          <p:nvPr/>
        </p:nvSpPr>
        <p:spPr>
          <a:xfrm rot="10800000">
            <a:off x="3833" y="67"/>
            <a:ext cx="11147700" cy="10329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80" name="Google Shape;680;p55"/>
          <p:cNvSpPr/>
          <p:nvPr/>
        </p:nvSpPr>
        <p:spPr>
          <a:xfrm>
            <a:off x="-23600" y="0"/>
            <a:ext cx="1266300" cy="10329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81" name="Google Shape;681;p55"/>
          <p:cNvSpPr txBox="1">
            <a:spLocks noGrp="1"/>
          </p:cNvSpPr>
          <p:nvPr>
            <p:ph type="title" idx="2"/>
          </p:nvPr>
        </p:nvSpPr>
        <p:spPr>
          <a:xfrm>
            <a:off x="415600" y="398067"/>
            <a:ext cx="101241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1pPr>
            <a:lvl2pPr lvl="1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2pPr>
            <a:lvl3pPr lvl="2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3pPr>
            <a:lvl4pPr lvl="3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4pPr>
            <a:lvl5pPr lvl="4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5pPr>
            <a:lvl6pPr lvl="5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6pPr>
            <a:lvl7pPr lvl="6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7pPr>
            <a:lvl8pPr lvl="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8pPr>
            <a:lvl9pPr lvl="8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900"/>
              <a:buNone/>
              <a:defRPr sz="2900" b="1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682" name="Google Shape;682;p55"/>
          <p:cNvSpPr/>
          <p:nvPr/>
        </p:nvSpPr>
        <p:spPr>
          <a:xfrm>
            <a:off x="11525533" y="364133"/>
            <a:ext cx="365273" cy="304371"/>
          </a:xfrm>
          <a:custGeom>
            <a:avLst/>
            <a:gdLst/>
            <a:ahLst/>
            <a:cxnLst/>
            <a:rect l="l" t="t" r="r" b="b"/>
            <a:pathLst>
              <a:path w="251479" h="209550" extrusionOk="0">
                <a:moveTo>
                  <a:pt x="62932" y="0"/>
                </a:moveTo>
                <a:lnTo>
                  <a:pt x="59858" y="78"/>
                </a:lnTo>
                <a:lnTo>
                  <a:pt x="56847" y="326"/>
                </a:lnTo>
                <a:lnTo>
                  <a:pt x="53851" y="714"/>
                </a:lnTo>
                <a:lnTo>
                  <a:pt x="50901" y="1257"/>
                </a:lnTo>
                <a:lnTo>
                  <a:pt x="47998" y="1925"/>
                </a:lnTo>
                <a:lnTo>
                  <a:pt x="45142" y="2748"/>
                </a:lnTo>
                <a:lnTo>
                  <a:pt x="42348" y="3695"/>
                </a:lnTo>
                <a:lnTo>
                  <a:pt x="39600" y="4781"/>
                </a:lnTo>
                <a:lnTo>
                  <a:pt x="36915" y="5992"/>
                </a:lnTo>
                <a:lnTo>
                  <a:pt x="34291" y="7327"/>
                </a:lnTo>
                <a:lnTo>
                  <a:pt x="31730" y="8786"/>
                </a:lnTo>
                <a:lnTo>
                  <a:pt x="29246" y="10354"/>
                </a:lnTo>
                <a:lnTo>
                  <a:pt x="26840" y="12031"/>
                </a:lnTo>
                <a:lnTo>
                  <a:pt x="24511" y="13831"/>
                </a:lnTo>
                <a:lnTo>
                  <a:pt x="22261" y="15741"/>
                </a:lnTo>
                <a:lnTo>
                  <a:pt x="20087" y="17743"/>
                </a:lnTo>
                <a:lnTo>
                  <a:pt x="18023" y="19839"/>
                </a:lnTo>
                <a:lnTo>
                  <a:pt x="16036" y="22043"/>
                </a:lnTo>
                <a:lnTo>
                  <a:pt x="14157" y="24325"/>
                </a:lnTo>
                <a:lnTo>
                  <a:pt x="12372" y="26716"/>
                </a:lnTo>
                <a:lnTo>
                  <a:pt x="10696" y="29168"/>
                </a:lnTo>
                <a:lnTo>
                  <a:pt x="9112" y="31714"/>
                </a:lnTo>
                <a:lnTo>
                  <a:pt x="7653" y="34338"/>
                </a:lnTo>
                <a:lnTo>
                  <a:pt x="6318" y="37039"/>
                </a:lnTo>
                <a:lnTo>
                  <a:pt x="5092" y="39802"/>
                </a:lnTo>
                <a:lnTo>
                  <a:pt x="3990" y="42643"/>
                </a:lnTo>
                <a:lnTo>
                  <a:pt x="3012" y="45546"/>
                </a:lnTo>
                <a:lnTo>
                  <a:pt x="2173" y="48495"/>
                </a:lnTo>
                <a:lnTo>
                  <a:pt x="1459" y="51507"/>
                </a:lnTo>
                <a:lnTo>
                  <a:pt x="885" y="54580"/>
                </a:lnTo>
                <a:lnTo>
                  <a:pt x="450" y="57700"/>
                </a:lnTo>
                <a:lnTo>
                  <a:pt x="310" y="59268"/>
                </a:lnTo>
                <a:lnTo>
                  <a:pt x="186" y="60665"/>
                </a:lnTo>
                <a:lnTo>
                  <a:pt x="31" y="63475"/>
                </a:lnTo>
                <a:lnTo>
                  <a:pt x="0" y="66269"/>
                </a:lnTo>
                <a:lnTo>
                  <a:pt x="62" y="69063"/>
                </a:lnTo>
                <a:lnTo>
                  <a:pt x="217" y="71842"/>
                </a:lnTo>
                <a:lnTo>
                  <a:pt x="466" y="74605"/>
                </a:lnTo>
                <a:lnTo>
                  <a:pt x="823" y="77368"/>
                </a:lnTo>
                <a:lnTo>
                  <a:pt x="1257" y="80132"/>
                </a:lnTo>
                <a:lnTo>
                  <a:pt x="1801" y="82864"/>
                </a:lnTo>
                <a:lnTo>
                  <a:pt x="2422" y="85611"/>
                </a:lnTo>
                <a:lnTo>
                  <a:pt x="3120" y="88328"/>
                </a:lnTo>
                <a:lnTo>
                  <a:pt x="3912" y="91045"/>
                </a:lnTo>
                <a:lnTo>
                  <a:pt x="4781" y="93730"/>
                </a:lnTo>
                <a:lnTo>
                  <a:pt x="5728" y="96416"/>
                </a:lnTo>
                <a:lnTo>
                  <a:pt x="7280" y="100436"/>
                </a:lnTo>
                <a:lnTo>
                  <a:pt x="9609" y="105714"/>
                </a:lnTo>
                <a:lnTo>
                  <a:pt x="12201" y="110946"/>
                </a:lnTo>
                <a:lnTo>
                  <a:pt x="15058" y="116099"/>
                </a:lnTo>
                <a:lnTo>
                  <a:pt x="18147" y="121191"/>
                </a:lnTo>
                <a:lnTo>
                  <a:pt x="21438" y="126205"/>
                </a:lnTo>
                <a:lnTo>
                  <a:pt x="24931" y="131126"/>
                </a:lnTo>
                <a:lnTo>
                  <a:pt x="28594" y="135969"/>
                </a:lnTo>
                <a:lnTo>
                  <a:pt x="32413" y="140719"/>
                </a:lnTo>
                <a:lnTo>
                  <a:pt x="36371" y="145392"/>
                </a:lnTo>
                <a:lnTo>
                  <a:pt x="40454" y="149940"/>
                </a:lnTo>
                <a:lnTo>
                  <a:pt x="44630" y="154395"/>
                </a:lnTo>
                <a:lnTo>
                  <a:pt x="48883" y="158742"/>
                </a:lnTo>
                <a:lnTo>
                  <a:pt x="53199" y="162964"/>
                </a:lnTo>
                <a:lnTo>
                  <a:pt x="57545" y="167078"/>
                </a:lnTo>
                <a:lnTo>
                  <a:pt x="61938" y="171068"/>
                </a:lnTo>
                <a:lnTo>
                  <a:pt x="66316" y="174917"/>
                </a:lnTo>
                <a:lnTo>
                  <a:pt x="70678" y="178643"/>
                </a:lnTo>
                <a:lnTo>
                  <a:pt x="75024" y="182229"/>
                </a:lnTo>
                <a:lnTo>
                  <a:pt x="81420" y="187352"/>
                </a:lnTo>
                <a:lnTo>
                  <a:pt x="89663" y="193639"/>
                </a:lnTo>
                <a:lnTo>
                  <a:pt x="97425" y="199274"/>
                </a:lnTo>
                <a:lnTo>
                  <a:pt x="101057" y="201819"/>
                </a:lnTo>
                <a:lnTo>
                  <a:pt x="102454" y="202766"/>
                </a:lnTo>
                <a:lnTo>
                  <a:pt x="105342" y="204458"/>
                </a:lnTo>
                <a:lnTo>
                  <a:pt x="108338" y="205918"/>
                </a:lnTo>
                <a:lnTo>
                  <a:pt x="111396" y="207128"/>
                </a:lnTo>
                <a:lnTo>
                  <a:pt x="114516" y="208091"/>
                </a:lnTo>
                <a:lnTo>
                  <a:pt x="117683" y="208820"/>
                </a:lnTo>
                <a:lnTo>
                  <a:pt x="120896" y="209302"/>
                </a:lnTo>
                <a:lnTo>
                  <a:pt x="124125" y="209550"/>
                </a:lnTo>
                <a:lnTo>
                  <a:pt x="127354" y="209550"/>
                </a:lnTo>
                <a:lnTo>
                  <a:pt x="130583" y="209302"/>
                </a:lnTo>
                <a:lnTo>
                  <a:pt x="133796" y="208820"/>
                </a:lnTo>
                <a:lnTo>
                  <a:pt x="136963" y="208091"/>
                </a:lnTo>
                <a:lnTo>
                  <a:pt x="140098" y="207128"/>
                </a:lnTo>
                <a:lnTo>
                  <a:pt x="143156" y="205918"/>
                </a:lnTo>
                <a:lnTo>
                  <a:pt x="146137" y="204458"/>
                </a:lnTo>
                <a:lnTo>
                  <a:pt x="149024" y="202766"/>
                </a:lnTo>
                <a:lnTo>
                  <a:pt x="150421" y="201819"/>
                </a:lnTo>
                <a:lnTo>
                  <a:pt x="154038" y="199289"/>
                </a:lnTo>
                <a:lnTo>
                  <a:pt x="161769" y="193670"/>
                </a:lnTo>
                <a:lnTo>
                  <a:pt x="169981" y="187414"/>
                </a:lnTo>
                <a:lnTo>
                  <a:pt x="176361" y="182306"/>
                </a:lnTo>
                <a:lnTo>
                  <a:pt x="180676" y="178736"/>
                </a:lnTo>
                <a:lnTo>
                  <a:pt x="185023" y="175042"/>
                </a:lnTo>
                <a:lnTo>
                  <a:pt x="189385" y="171192"/>
                </a:lnTo>
                <a:lnTo>
                  <a:pt x="193763" y="167233"/>
                </a:lnTo>
                <a:lnTo>
                  <a:pt x="198094" y="163151"/>
                </a:lnTo>
                <a:lnTo>
                  <a:pt x="202394" y="158944"/>
                </a:lnTo>
                <a:lnTo>
                  <a:pt x="206647" y="154613"/>
                </a:lnTo>
                <a:lnTo>
                  <a:pt x="210807" y="150189"/>
                </a:lnTo>
                <a:lnTo>
                  <a:pt x="214874" y="145656"/>
                </a:lnTo>
                <a:lnTo>
                  <a:pt x="218817" y="141014"/>
                </a:lnTo>
                <a:lnTo>
                  <a:pt x="222636" y="136280"/>
                </a:lnTo>
                <a:lnTo>
                  <a:pt x="226300" y="131467"/>
                </a:lnTo>
                <a:lnTo>
                  <a:pt x="229792" y="126562"/>
                </a:lnTo>
                <a:lnTo>
                  <a:pt x="233083" y="121579"/>
                </a:lnTo>
                <a:lnTo>
                  <a:pt x="236173" y="116518"/>
                </a:lnTo>
                <a:lnTo>
                  <a:pt x="239044" y="111380"/>
                </a:lnTo>
                <a:lnTo>
                  <a:pt x="241652" y="106180"/>
                </a:lnTo>
                <a:lnTo>
                  <a:pt x="243996" y="100917"/>
                </a:lnTo>
                <a:lnTo>
                  <a:pt x="245564" y="96928"/>
                </a:lnTo>
                <a:lnTo>
                  <a:pt x="246527" y="94258"/>
                </a:lnTo>
                <a:lnTo>
                  <a:pt x="247396" y="91572"/>
                </a:lnTo>
                <a:lnTo>
                  <a:pt x="248203" y="88871"/>
                </a:lnTo>
                <a:lnTo>
                  <a:pt x="248917" y="86155"/>
                </a:lnTo>
                <a:lnTo>
                  <a:pt x="249554" y="83438"/>
                </a:lnTo>
                <a:lnTo>
                  <a:pt x="250112" y="80706"/>
                </a:lnTo>
                <a:lnTo>
                  <a:pt x="250563" y="77958"/>
                </a:lnTo>
                <a:lnTo>
                  <a:pt x="250935" y="75211"/>
                </a:lnTo>
                <a:lnTo>
                  <a:pt x="251215" y="72448"/>
                </a:lnTo>
                <a:lnTo>
                  <a:pt x="251385" y="69684"/>
                </a:lnTo>
                <a:lnTo>
                  <a:pt x="251479" y="66906"/>
                </a:lnTo>
                <a:lnTo>
                  <a:pt x="251463" y="64127"/>
                </a:lnTo>
                <a:lnTo>
                  <a:pt x="251339" y="61333"/>
                </a:lnTo>
                <a:lnTo>
                  <a:pt x="251230" y="59936"/>
                </a:lnTo>
                <a:lnTo>
                  <a:pt x="251199" y="59610"/>
                </a:lnTo>
                <a:lnTo>
                  <a:pt x="251184" y="59268"/>
                </a:lnTo>
                <a:lnTo>
                  <a:pt x="250966" y="57235"/>
                </a:lnTo>
                <a:lnTo>
                  <a:pt x="250361" y="53199"/>
                </a:lnTo>
                <a:lnTo>
                  <a:pt x="249507" y="49256"/>
                </a:lnTo>
                <a:lnTo>
                  <a:pt x="248436" y="45421"/>
                </a:lnTo>
                <a:lnTo>
                  <a:pt x="247132" y="41665"/>
                </a:lnTo>
                <a:lnTo>
                  <a:pt x="245626" y="38032"/>
                </a:lnTo>
                <a:lnTo>
                  <a:pt x="243919" y="34508"/>
                </a:lnTo>
                <a:lnTo>
                  <a:pt x="242009" y="31124"/>
                </a:lnTo>
                <a:lnTo>
                  <a:pt x="240969" y="29479"/>
                </a:lnTo>
                <a:lnTo>
                  <a:pt x="240209" y="28299"/>
                </a:lnTo>
                <a:lnTo>
                  <a:pt x="239401" y="27135"/>
                </a:lnTo>
                <a:lnTo>
                  <a:pt x="238594" y="26110"/>
                </a:lnTo>
                <a:lnTo>
                  <a:pt x="237244" y="24667"/>
                </a:lnTo>
                <a:lnTo>
                  <a:pt x="236281" y="23766"/>
                </a:lnTo>
                <a:lnTo>
                  <a:pt x="235784" y="23332"/>
                </a:lnTo>
                <a:lnTo>
                  <a:pt x="234837" y="22571"/>
                </a:lnTo>
                <a:lnTo>
                  <a:pt x="232882" y="21236"/>
                </a:lnTo>
                <a:lnTo>
                  <a:pt x="230832" y="20134"/>
                </a:lnTo>
                <a:lnTo>
                  <a:pt x="228690" y="19233"/>
                </a:lnTo>
                <a:lnTo>
                  <a:pt x="226517" y="18566"/>
                </a:lnTo>
                <a:lnTo>
                  <a:pt x="224297" y="18116"/>
                </a:lnTo>
                <a:lnTo>
                  <a:pt x="222046" y="17883"/>
                </a:lnTo>
                <a:lnTo>
                  <a:pt x="219795" y="17867"/>
                </a:lnTo>
                <a:lnTo>
                  <a:pt x="217544" y="18069"/>
                </a:lnTo>
                <a:lnTo>
                  <a:pt x="215325" y="18473"/>
                </a:lnTo>
                <a:lnTo>
                  <a:pt x="213167" y="19094"/>
                </a:lnTo>
                <a:lnTo>
                  <a:pt x="211056" y="19916"/>
                </a:lnTo>
                <a:lnTo>
                  <a:pt x="209007" y="20957"/>
                </a:lnTo>
                <a:lnTo>
                  <a:pt x="207082" y="22214"/>
                </a:lnTo>
                <a:lnTo>
                  <a:pt x="205250" y="23658"/>
                </a:lnTo>
                <a:lnTo>
                  <a:pt x="203542" y="25319"/>
                </a:lnTo>
                <a:lnTo>
                  <a:pt x="202751" y="26219"/>
                </a:lnTo>
                <a:lnTo>
                  <a:pt x="185504" y="46787"/>
                </a:lnTo>
                <a:lnTo>
                  <a:pt x="141775" y="98899"/>
                </a:lnTo>
                <a:lnTo>
                  <a:pt x="141232" y="99567"/>
                </a:lnTo>
                <a:lnTo>
                  <a:pt x="140285" y="100964"/>
                </a:lnTo>
                <a:lnTo>
                  <a:pt x="139508" y="102439"/>
                </a:lnTo>
                <a:lnTo>
                  <a:pt x="138903" y="103976"/>
                </a:lnTo>
                <a:lnTo>
                  <a:pt x="138468" y="105543"/>
                </a:lnTo>
                <a:lnTo>
                  <a:pt x="138189" y="107142"/>
                </a:lnTo>
                <a:lnTo>
                  <a:pt x="138065" y="108741"/>
                </a:lnTo>
                <a:lnTo>
                  <a:pt x="138111" y="110356"/>
                </a:lnTo>
                <a:lnTo>
                  <a:pt x="138329" y="111955"/>
                </a:lnTo>
                <a:lnTo>
                  <a:pt x="138701" y="113522"/>
                </a:lnTo>
                <a:lnTo>
                  <a:pt x="139229" y="115044"/>
                </a:lnTo>
                <a:lnTo>
                  <a:pt x="139912" y="116518"/>
                </a:lnTo>
                <a:lnTo>
                  <a:pt x="140750" y="117931"/>
                </a:lnTo>
                <a:lnTo>
                  <a:pt x="141759" y="119266"/>
                </a:lnTo>
                <a:lnTo>
                  <a:pt x="142908" y="120492"/>
                </a:lnTo>
                <a:lnTo>
                  <a:pt x="144212" y="121626"/>
                </a:lnTo>
                <a:lnTo>
                  <a:pt x="144926" y="122138"/>
                </a:lnTo>
                <a:lnTo>
                  <a:pt x="145438" y="122479"/>
                </a:lnTo>
                <a:lnTo>
                  <a:pt x="146494" y="123085"/>
                </a:lnTo>
                <a:lnTo>
                  <a:pt x="147581" y="123613"/>
                </a:lnTo>
                <a:lnTo>
                  <a:pt x="148698" y="124063"/>
                </a:lnTo>
                <a:lnTo>
                  <a:pt x="149863" y="124420"/>
                </a:lnTo>
                <a:lnTo>
                  <a:pt x="151042" y="124684"/>
                </a:lnTo>
                <a:lnTo>
                  <a:pt x="152238" y="124854"/>
                </a:lnTo>
                <a:lnTo>
                  <a:pt x="153448" y="124932"/>
                </a:lnTo>
                <a:lnTo>
                  <a:pt x="154069" y="124932"/>
                </a:lnTo>
                <a:lnTo>
                  <a:pt x="154939" y="124901"/>
                </a:lnTo>
                <a:lnTo>
                  <a:pt x="156662" y="124699"/>
                </a:lnTo>
                <a:lnTo>
                  <a:pt x="158338" y="124311"/>
                </a:lnTo>
                <a:lnTo>
                  <a:pt x="159937" y="123752"/>
                </a:lnTo>
                <a:lnTo>
                  <a:pt x="161459" y="123038"/>
                </a:lnTo>
                <a:lnTo>
                  <a:pt x="162902" y="122153"/>
                </a:lnTo>
                <a:lnTo>
                  <a:pt x="164253" y="121113"/>
                </a:lnTo>
                <a:lnTo>
                  <a:pt x="165495" y="119918"/>
                </a:lnTo>
                <a:lnTo>
                  <a:pt x="166053" y="119266"/>
                </a:lnTo>
                <a:lnTo>
                  <a:pt x="210357" y="66471"/>
                </a:lnTo>
                <a:lnTo>
                  <a:pt x="210668" y="66130"/>
                </a:lnTo>
                <a:lnTo>
                  <a:pt x="211366" y="65586"/>
                </a:lnTo>
                <a:lnTo>
                  <a:pt x="212142" y="65183"/>
                </a:lnTo>
                <a:lnTo>
                  <a:pt x="212965" y="64950"/>
                </a:lnTo>
                <a:lnTo>
                  <a:pt x="213819" y="64872"/>
                </a:lnTo>
                <a:lnTo>
                  <a:pt x="214673" y="64965"/>
                </a:lnTo>
                <a:lnTo>
                  <a:pt x="215495" y="65214"/>
                </a:lnTo>
                <a:lnTo>
                  <a:pt x="216272" y="65633"/>
                </a:lnTo>
                <a:lnTo>
                  <a:pt x="216644" y="65928"/>
                </a:lnTo>
                <a:lnTo>
                  <a:pt x="219252" y="68117"/>
                </a:lnTo>
                <a:lnTo>
                  <a:pt x="219578" y="68412"/>
                </a:lnTo>
                <a:lnTo>
                  <a:pt x="220137" y="69110"/>
                </a:lnTo>
                <a:lnTo>
                  <a:pt x="220525" y="69886"/>
                </a:lnTo>
                <a:lnTo>
                  <a:pt x="220773" y="70709"/>
                </a:lnTo>
                <a:lnTo>
                  <a:pt x="220835" y="71563"/>
                </a:lnTo>
                <a:lnTo>
                  <a:pt x="220758" y="72417"/>
                </a:lnTo>
                <a:lnTo>
                  <a:pt x="220494" y="73239"/>
                </a:lnTo>
                <a:lnTo>
                  <a:pt x="220075" y="74031"/>
                </a:lnTo>
                <a:lnTo>
                  <a:pt x="219795" y="74388"/>
                </a:lnTo>
                <a:lnTo>
                  <a:pt x="175492" y="127183"/>
                </a:lnTo>
                <a:lnTo>
                  <a:pt x="174560" y="128239"/>
                </a:lnTo>
                <a:lnTo>
                  <a:pt x="172573" y="130195"/>
                </a:lnTo>
                <a:lnTo>
                  <a:pt x="170431" y="131918"/>
                </a:lnTo>
                <a:lnTo>
                  <a:pt x="168134" y="133423"/>
                </a:lnTo>
                <a:lnTo>
                  <a:pt x="165696" y="134681"/>
                </a:lnTo>
                <a:lnTo>
                  <a:pt x="163151" y="135705"/>
                </a:lnTo>
                <a:lnTo>
                  <a:pt x="160512" y="136481"/>
                </a:lnTo>
                <a:lnTo>
                  <a:pt x="157764" y="136994"/>
                </a:lnTo>
                <a:lnTo>
                  <a:pt x="156367" y="137133"/>
                </a:lnTo>
                <a:lnTo>
                  <a:pt x="155109" y="137227"/>
                </a:lnTo>
                <a:lnTo>
                  <a:pt x="153868" y="137242"/>
                </a:lnTo>
                <a:lnTo>
                  <a:pt x="152626" y="137227"/>
                </a:lnTo>
                <a:lnTo>
                  <a:pt x="150189" y="137009"/>
                </a:lnTo>
                <a:lnTo>
                  <a:pt x="147782" y="136590"/>
                </a:lnTo>
                <a:lnTo>
                  <a:pt x="145438" y="135954"/>
                </a:lnTo>
                <a:lnTo>
                  <a:pt x="143141" y="135131"/>
                </a:lnTo>
                <a:lnTo>
                  <a:pt x="140937" y="134091"/>
                </a:lnTo>
                <a:lnTo>
                  <a:pt x="138810" y="132865"/>
                </a:lnTo>
                <a:lnTo>
                  <a:pt x="136776" y="131436"/>
                </a:lnTo>
                <a:lnTo>
                  <a:pt x="135814" y="130645"/>
                </a:lnTo>
                <a:lnTo>
                  <a:pt x="135255" y="130179"/>
                </a:lnTo>
                <a:lnTo>
                  <a:pt x="134200" y="129201"/>
                </a:lnTo>
                <a:lnTo>
                  <a:pt x="132725" y="127649"/>
                </a:lnTo>
                <a:lnTo>
                  <a:pt x="130986" y="125460"/>
                </a:lnTo>
                <a:lnTo>
                  <a:pt x="129496" y="123131"/>
                </a:lnTo>
                <a:lnTo>
                  <a:pt x="128254" y="120679"/>
                </a:lnTo>
                <a:lnTo>
                  <a:pt x="127245" y="118148"/>
                </a:lnTo>
                <a:lnTo>
                  <a:pt x="126500" y="115540"/>
                </a:lnTo>
                <a:lnTo>
                  <a:pt x="126019" y="112870"/>
                </a:lnTo>
                <a:lnTo>
                  <a:pt x="125786" y="110185"/>
                </a:lnTo>
                <a:lnTo>
                  <a:pt x="125801" y="107468"/>
                </a:lnTo>
                <a:lnTo>
                  <a:pt x="126081" y="104783"/>
                </a:lnTo>
                <a:lnTo>
                  <a:pt x="126624" y="102113"/>
                </a:lnTo>
                <a:lnTo>
                  <a:pt x="127431" y="99489"/>
                </a:lnTo>
                <a:lnTo>
                  <a:pt x="128487" y="96928"/>
                </a:lnTo>
                <a:lnTo>
                  <a:pt x="129822" y="94460"/>
                </a:lnTo>
                <a:lnTo>
                  <a:pt x="131017" y="92690"/>
                </a:lnTo>
                <a:lnTo>
                  <a:pt x="131887" y="91541"/>
                </a:lnTo>
                <a:lnTo>
                  <a:pt x="132337" y="90967"/>
                </a:lnTo>
                <a:lnTo>
                  <a:pt x="157966" y="60432"/>
                </a:lnTo>
                <a:lnTo>
                  <a:pt x="193312" y="18302"/>
                </a:lnTo>
                <a:lnTo>
                  <a:pt x="193856" y="17681"/>
                </a:lnTo>
                <a:lnTo>
                  <a:pt x="194958" y="16470"/>
                </a:lnTo>
                <a:lnTo>
                  <a:pt x="196697" y="14778"/>
                </a:lnTo>
                <a:lnTo>
                  <a:pt x="199149" y="12745"/>
                </a:lnTo>
                <a:lnTo>
                  <a:pt x="201757" y="10960"/>
                </a:lnTo>
                <a:lnTo>
                  <a:pt x="204474" y="9423"/>
                </a:lnTo>
                <a:lnTo>
                  <a:pt x="207299" y="8134"/>
                </a:lnTo>
                <a:lnTo>
                  <a:pt x="210217" y="7110"/>
                </a:lnTo>
                <a:lnTo>
                  <a:pt x="213198" y="6334"/>
                </a:lnTo>
                <a:lnTo>
                  <a:pt x="214704" y="6054"/>
                </a:lnTo>
                <a:lnTo>
                  <a:pt x="213105" y="5309"/>
                </a:lnTo>
                <a:lnTo>
                  <a:pt x="209860" y="3958"/>
                </a:lnTo>
                <a:lnTo>
                  <a:pt x="206523" y="2810"/>
                </a:lnTo>
                <a:lnTo>
                  <a:pt x="203108" y="1832"/>
                </a:lnTo>
                <a:lnTo>
                  <a:pt x="199630" y="1056"/>
                </a:lnTo>
                <a:lnTo>
                  <a:pt x="196091" y="497"/>
                </a:lnTo>
                <a:lnTo>
                  <a:pt x="192505" y="140"/>
                </a:lnTo>
                <a:lnTo>
                  <a:pt x="188857" y="0"/>
                </a:lnTo>
                <a:lnTo>
                  <a:pt x="187010" y="16"/>
                </a:lnTo>
                <a:lnTo>
                  <a:pt x="185737" y="47"/>
                </a:lnTo>
                <a:lnTo>
                  <a:pt x="183222" y="202"/>
                </a:lnTo>
                <a:lnTo>
                  <a:pt x="180723" y="450"/>
                </a:lnTo>
                <a:lnTo>
                  <a:pt x="178255" y="776"/>
                </a:lnTo>
                <a:lnTo>
                  <a:pt x="175802" y="1195"/>
                </a:lnTo>
                <a:lnTo>
                  <a:pt x="173380" y="1708"/>
                </a:lnTo>
                <a:lnTo>
                  <a:pt x="171005" y="2313"/>
                </a:lnTo>
                <a:lnTo>
                  <a:pt x="168646" y="2996"/>
                </a:lnTo>
                <a:lnTo>
                  <a:pt x="166317" y="3757"/>
                </a:lnTo>
                <a:lnTo>
                  <a:pt x="164035" y="4610"/>
                </a:lnTo>
                <a:lnTo>
                  <a:pt x="161800" y="5542"/>
                </a:lnTo>
                <a:lnTo>
                  <a:pt x="159596" y="6551"/>
                </a:lnTo>
                <a:lnTo>
                  <a:pt x="157422" y="7638"/>
                </a:lnTo>
                <a:lnTo>
                  <a:pt x="155311" y="8786"/>
                </a:lnTo>
                <a:lnTo>
                  <a:pt x="153247" y="10028"/>
                </a:lnTo>
                <a:lnTo>
                  <a:pt x="151213" y="11332"/>
                </a:lnTo>
                <a:lnTo>
                  <a:pt x="149257" y="12714"/>
                </a:lnTo>
                <a:lnTo>
                  <a:pt x="147332" y="14157"/>
                </a:lnTo>
                <a:lnTo>
                  <a:pt x="145469" y="15679"/>
                </a:lnTo>
                <a:lnTo>
                  <a:pt x="143669" y="17262"/>
                </a:lnTo>
                <a:lnTo>
                  <a:pt x="141930" y="18907"/>
                </a:lnTo>
                <a:lnTo>
                  <a:pt x="140254" y="20615"/>
                </a:lnTo>
                <a:lnTo>
                  <a:pt x="138624" y="22385"/>
                </a:lnTo>
                <a:lnTo>
                  <a:pt x="137071" y="24216"/>
                </a:lnTo>
                <a:lnTo>
                  <a:pt x="135597" y="26095"/>
                </a:lnTo>
                <a:lnTo>
                  <a:pt x="134184" y="28035"/>
                </a:lnTo>
                <a:lnTo>
                  <a:pt x="132833" y="30038"/>
                </a:lnTo>
                <a:lnTo>
                  <a:pt x="131561" y="32102"/>
                </a:lnTo>
                <a:lnTo>
                  <a:pt x="130381" y="34198"/>
                </a:lnTo>
                <a:lnTo>
                  <a:pt x="129263" y="36356"/>
                </a:lnTo>
                <a:lnTo>
                  <a:pt x="128223" y="38560"/>
                </a:lnTo>
                <a:lnTo>
                  <a:pt x="127276" y="40826"/>
                </a:lnTo>
                <a:lnTo>
                  <a:pt x="126841" y="41960"/>
                </a:lnTo>
                <a:lnTo>
                  <a:pt x="126717" y="42270"/>
                </a:lnTo>
                <a:lnTo>
                  <a:pt x="126469" y="42720"/>
                </a:lnTo>
                <a:lnTo>
                  <a:pt x="126205" y="42969"/>
                </a:lnTo>
                <a:lnTo>
                  <a:pt x="125910" y="43062"/>
                </a:lnTo>
                <a:lnTo>
                  <a:pt x="125739" y="43077"/>
                </a:lnTo>
                <a:lnTo>
                  <a:pt x="125569" y="43062"/>
                </a:lnTo>
                <a:lnTo>
                  <a:pt x="125274" y="42969"/>
                </a:lnTo>
                <a:lnTo>
                  <a:pt x="125010" y="42720"/>
                </a:lnTo>
                <a:lnTo>
                  <a:pt x="124761" y="42270"/>
                </a:lnTo>
                <a:lnTo>
                  <a:pt x="124637" y="41960"/>
                </a:lnTo>
                <a:lnTo>
                  <a:pt x="124202" y="40826"/>
                </a:lnTo>
                <a:lnTo>
                  <a:pt x="123256" y="38560"/>
                </a:lnTo>
                <a:lnTo>
                  <a:pt x="122215" y="36356"/>
                </a:lnTo>
                <a:lnTo>
                  <a:pt x="121098" y="34198"/>
                </a:lnTo>
                <a:lnTo>
                  <a:pt x="119918" y="32102"/>
                </a:lnTo>
                <a:lnTo>
                  <a:pt x="118645" y="30038"/>
                </a:lnTo>
                <a:lnTo>
                  <a:pt x="117295" y="28035"/>
                </a:lnTo>
                <a:lnTo>
                  <a:pt x="115882" y="26095"/>
                </a:lnTo>
                <a:lnTo>
                  <a:pt x="114407" y="24216"/>
                </a:lnTo>
                <a:lnTo>
                  <a:pt x="112855" y="22385"/>
                </a:lnTo>
                <a:lnTo>
                  <a:pt x="111225" y="20615"/>
                </a:lnTo>
                <a:lnTo>
                  <a:pt x="109548" y="18907"/>
                </a:lnTo>
                <a:lnTo>
                  <a:pt x="107810" y="17262"/>
                </a:lnTo>
                <a:lnTo>
                  <a:pt x="106009" y="15679"/>
                </a:lnTo>
                <a:lnTo>
                  <a:pt x="104146" y="14157"/>
                </a:lnTo>
                <a:lnTo>
                  <a:pt x="102221" y="12714"/>
                </a:lnTo>
                <a:lnTo>
                  <a:pt x="100265" y="11332"/>
                </a:lnTo>
                <a:lnTo>
                  <a:pt x="98232" y="10028"/>
                </a:lnTo>
                <a:lnTo>
                  <a:pt x="96167" y="8786"/>
                </a:lnTo>
                <a:lnTo>
                  <a:pt x="94056" y="7638"/>
                </a:lnTo>
                <a:lnTo>
                  <a:pt x="91883" y="6551"/>
                </a:lnTo>
                <a:lnTo>
                  <a:pt x="89678" y="5542"/>
                </a:lnTo>
                <a:lnTo>
                  <a:pt x="87443" y="4610"/>
                </a:lnTo>
                <a:lnTo>
                  <a:pt x="85161" y="3757"/>
                </a:lnTo>
                <a:lnTo>
                  <a:pt x="82833" y="2996"/>
                </a:lnTo>
                <a:lnTo>
                  <a:pt x="80473" y="2313"/>
                </a:lnTo>
                <a:lnTo>
                  <a:pt x="78098" y="1708"/>
                </a:lnTo>
                <a:lnTo>
                  <a:pt x="75676" y="1195"/>
                </a:lnTo>
                <a:lnTo>
                  <a:pt x="73224" y="776"/>
                </a:lnTo>
                <a:lnTo>
                  <a:pt x="70756" y="450"/>
                </a:lnTo>
                <a:lnTo>
                  <a:pt x="68256" y="202"/>
                </a:lnTo>
                <a:lnTo>
                  <a:pt x="65741" y="47"/>
                </a:lnTo>
                <a:lnTo>
                  <a:pt x="64469" y="16"/>
                </a:lnTo>
                <a:lnTo>
                  <a:pt x="62932" y="0"/>
                </a:lnTo>
                <a:close/>
              </a:path>
            </a:pathLst>
          </a:custGeom>
          <a:solidFill>
            <a:srgbClr val="F7224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99745612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White with logo">
  <p:cSld name="Blank White with logo">
    <p:bg>
      <p:bgPr>
        <a:solidFill>
          <a:schemeClr val="lt1"/>
        </a:solidFill>
        <a:effectLst/>
      </p:bgPr>
    </p:bg>
    <p:spTree>
      <p:nvGrpSpPr>
        <p:cNvPr id="1" name="Shape 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4" name="Google Shape;684;p56"/>
          <p:cNvSpPr txBox="1">
            <a:spLocks noGrp="1"/>
          </p:cNvSpPr>
          <p:nvPr>
            <p:ph type="sldNum" idx="12"/>
          </p:nvPr>
        </p:nvSpPr>
        <p:spPr>
          <a:xfrm>
            <a:off x="11044810" y="6091622"/>
            <a:ext cx="7317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2pPr>
            <a:lvl3pPr lvl="2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3pPr>
            <a:lvl4pPr lvl="3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4pPr>
            <a:lvl5pPr lvl="4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5pPr>
            <a:lvl6pPr lvl="5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6pPr>
            <a:lvl7pPr lvl="6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7pPr>
            <a:lvl8pPr lvl="7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8pPr>
            <a:lvl9pPr lvl="8" algn="r" rtl="0">
              <a:buNone/>
              <a:defRPr sz="11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685" name="Google Shape;685;p56"/>
          <p:cNvSpPr/>
          <p:nvPr/>
        </p:nvSpPr>
        <p:spPr>
          <a:xfrm>
            <a:off x="11525533" y="364133"/>
            <a:ext cx="365273" cy="304371"/>
          </a:xfrm>
          <a:custGeom>
            <a:avLst/>
            <a:gdLst/>
            <a:ahLst/>
            <a:cxnLst/>
            <a:rect l="l" t="t" r="r" b="b"/>
            <a:pathLst>
              <a:path w="251479" h="209550" extrusionOk="0">
                <a:moveTo>
                  <a:pt x="62932" y="0"/>
                </a:moveTo>
                <a:lnTo>
                  <a:pt x="59858" y="78"/>
                </a:lnTo>
                <a:lnTo>
                  <a:pt x="56847" y="326"/>
                </a:lnTo>
                <a:lnTo>
                  <a:pt x="53851" y="714"/>
                </a:lnTo>
                <a:lnTo>
                  <a:pt x="50901" y="1257"/>
                </a:lnTo>
                <a:lnTo>
                  <a:pt x="47998" y="1925"/>
                </a:lnTo>
                <a:lnTo>
                  <a:pt x="45142" y="2748"/>
                </a:lnTo>
                <a:lnTo>
                  <a:pt x="42348" y="3695"/>
                </a:lnTo>
                <a:lnTo>
                  <a:pt x="39600" y="4781"/>
                </a:lnTo>
                <a:lnTo>
                  <a:pt x="36915" y="5992"/>
                </a:lnTo>
                <a:lnTo>
                  <a:pt x="34291" y="7327"/>
                </a:lnTo>
                <a:lnTo>
                  <a:pt x="31730" y="8786"/>
                </a:lnTo>
                <a:lnTo>
                  <a:pt x="29246" y="10354"/>
                </a:lnTo>
                <a:lnTo>
                  <a:pt x="26840" y="12031"/>
                </a:lnTo>
                <a:lnTo>
                  <a:pt x="24511" y="13831"/>
                </a:lnTo>
                <a:lnTo>
                  <a:pt x="22261" y="15741"/>
                </a:lnTo>
                <a:lnTo>
                  <a:pt x="20087" y="17743"/>
                </a:lnTo>
                <a:lnTo>
                  <a:pt x="18023" y="19839"/>
                </a:lnTo>
                <a:lnTo>
                  <a:pt x="16036" y="22043"/>
                </a:lnTo>
                <a:lnTo>
                  <a:pt x="14157" y="24325"/>
                </a:lnTo>
                <a:lnTo>
                  <a:pt x="12372" y="26716"/>
                </a:lnTo>
                <a:lnTo>
                  <a:pt x="10696" y="29168"/>
                </a:lnTo>
                <a:lnTo>
                  <a:pt x="9112" y="31714"/>
                </a:lnTo>
                <a:lnTo>
                  <a:pt x="7653" y="34338"/>
                </a:lnTo>
                <a:lnTo>
                  <a:pt x="6318" y="37039"/>
                </a:lnTo>
                <a:lnTo>
                  <a:pt x="5092" y="39802"/>
                </a:lnTo>
                <a:lnTo>
                  <a:pt x="3990" y="42643"/>
                </a:lnTo>
                <a:lnTo>
                  <a:pt x="3012" y="45546"/>
                </a:lnTo>
                <a:lnTo>
                  <a:pt x="2173" y="48495"/>
                </a:lnTo>
                <a:lnTo>
                  <a:pt x="1459" y="51507"/>
                </a:lnTo>
                <a:lnTo>
                  <a:pt x="885" y="54580"/>
                </a:lnTo>
                <a:lnTo>
                  <a:pt x="450" y="57700"/>
                </a:lnTo>
                <a:lnTo>
                  <a:pt x="310" y="59268"/>
                </a:lnTo>
                <a:lnTo>
                  <a:pt x="186" y="60665"/>
                </a:lnTo>
                <a:lnTo>
                  <a:pt x="31" y="63475"/>
                </a:lnTo>
                <a:lnTo>
                  <a:pt x="0" y="66269"/>
                </a:lnTo>
                <a:lnTo>
                  <a:pt x="62" y="69063"/>
                </a:lnTo>
                <a:lnTo>
                  <a:pt x="217" y="71842"/>
                </a:lnTo>
                <a:lnTo>
                  <a:pt x="466" y="74605"/>
                </a:lnTo>
                <a:lnTo>
                  <a:pt x="823" y="77368"/>
                </a:lnTo>
                <a:lnTo>
                  <a:pt x="1257" y="80132"/>
                </a:lnTo>
                <a:lnTo>
                  <a:pt x="1801" y="82864"/>
                </a:lnTo>
                <a:lnTo>
                  <a:pt x="2422" y="85611"/>
                </a:lnTo>
                <a:lnTo>
                  <a:pt x="3120" y="88328"/>
                </a:lnTo>
                <a:lnTo>
                  <a:pt x="3912" y="91045"/>
                </a:lnTo>
                <a:lnTo>
                  <a:pt x="4781" y="93730"/>
                </a:lnTo>
                <a:lnTo>
                  <a:pt x="5728" y="96416"/>
                </a:lnTo>
                <a:lnTo>
                  <a:pt x="7280" y="100436"/>
                </a:lnTo>
                <a:lnTo>
                  <a:pt x="9609" y="105714"/>
                </a:lnTo>
                <a:lnTo>
                  <a:pt x="12201" y="110946"/>
                </a:lnTo>
                <a:lnTo>
                  <a:pt x="15058" y="116099"/>
                </a:lnTo>
                <a:lnTo>
                  <a:pt x="18147" y="121191"/>
                </a:lnTo>
                <a:lnTo>
                  <a:pt x="21438" y="126205"/>
                </a:lnTo>
                <a:lnTo>
                  <a:pt x="24931" y="131126"/>
                </a:lnTo>
                <a:lnTo>
                  <a:pt x="28594" y="135969"/>
                </a:lnTo>
                <a:lnTo>
                  <a:pt x="32413" y="140719"/>
                </a:lnTo>
                <a:lnTo>
                  <a:pt x="36371" y="145392"/>
                </a:lnTo>
                <a:lnTo>
                  <a:pt x="40454" y="149940"/>
                </a:lnTo>
                <a:lnTo>
                  <a:pt x="44630" y="154395"/>
                </a:lnTo>
                <a:lnTo>
                  <a:pt x="48883" y="158742"/>
                </a:lnTo>
                <a:lnTo>
                  <a:pt x="53199" y="162964"/>
                </a:lnTo>
                <a:lnTo>
                  <a:pt x="57545" y="167078"/>
                </a:lnTo>
                <a:lnTo>
                  <a:pt x="61938" y="171068"/>
                </a:lnTo>
                <a:lnTo>
                  <a:pt x="66316" y="174917"/>
                </a:lnTo>
                <a:lnTo>
                  <a:pt x="70678" y="178643"/>
                </a:lnTo>
                <a:lnTo>
                  <a:pt x="75024" y="182229"/>
                </a:lnTo>
                <a:lnTo>
                  <a:pt x="81420" y="187352"/>
                </a:lnTo>
                <a:lnTo>
                  <a:pt x="89663" y="193639"/>
                </a:lnTo>
                <a:lnTo>
                  <a:pt x="97425" y="199274"/>
                </a:lnTo>
                <a:lnTo>
                  <a:pt x="101057" y="201819"/>
                </a:lnTo>
                <a:lnTo>
                  <a:pt x="102454" y="202766"/>
                </a:lnTo>
                <a:lnTo>
                  <a:pt x="105342" y="204458"/>
                </a:lnTo>
                <a:lnTo>
                  <a:pt x="108338" y="205918"/>
                </a:lnTo>
                <a:lnTo>
                  <a:pt x="111396" y="207128"/>
                </a:lnTo>
                <a:lnTo>
                  <a:pt x="114516" y="208091"/>
                </a:lnTo>
                <a:lnTo>
                  <a:pt x="117683" y="208820"/>
                </a:lnTo>
                <a:lnTo>
                  <a:pt x="120896" y="209302"/>
                </a:lnTo>
                <a:lnTo>
                  <a:pt x="124125" y="209550"/>
                </a:lnTo>
                <a:lnTo>
                  <a:pt x="127354" y="209550"/>
                </a:lnTo>
                <a:lnTo>
                  <a:pt x="130583" y="209302"/>
                </a:lnTo>
                <a:lnTo>
                  <a:pt x="133796" y="208820"/>
                </a:lnTo>
                <a:lnTo>
                  <a:pt x="136963" y="208091"/>
                </a:lnTo>
                <a:lnTo>
                  <a:pt x="140098" y="207128"/>
                </a:lnTo>
                <a:lnTo>
                  <a:pt x="143156" y="205918"/>
                </a:lnTo>
                <a:lnTo>
                  <a:pt x="146137" y="204458"/>
                </a:lnTo>
                <a:lnTo>
                  <a:pt x="149024" y="202766"/>
                </a:lnTo>
                <a:lnTo>
                  <a:pt x="150421" y="201819"/>
                </a:lnTo>
                <a:lnTo>
                  <a:pt x="154038" y="199289"/>
                </a:lnTo>
                <a:lnTo>
                  <a:pt x="161769" y="193670"/>
                </a:lnTo>
                <a:lnTo>
                  <a:pt x="169981" y="187414"/>
                </a:lnTo>
                <a:lnTo>
                  <a:pt x="176361" y="182306"/>
                </a:lnTo>
                <a:lnTo>
                  <a:pt x="180676" y="178736"/>
                </a:lnTo>
                <a:lnTo>
                  <a:pt x="185023" y="175042"/>
                </a:lnTo>
                <a:lnTo>
                  <a:pt x="189385" y="171192"/>
                </a:lnTo>
                <a:lnTo>
                  <a:pt x="193763" y="167233"/>
                </a:lnTo>
                <a:lnTo>
                  <a:pt x="198094" y="163151"/>
                </a:lnTo>
                <a:lnTo>
                  <a:pt x="202394" y="158944"/>
                </a:lnTo>
                <a:lnTo>
                  <a:pt x="206647" y="154613"/>
                </a:lnTo>
                <a:lnTo>
                  <a:pt x="210807" y="150189"/>
                </a:lnTo>
                <a:lnTo>
                  <a:pt x="214874" y="145656"/>
                </a:lnTo>
                <a:lnTo>
                  <a:pt x="218817" y="141014"/>
                </a:lnTo>
                <a:lnTo>
                  <a:pt x="222636" y="136280"/>
                </a:lnTo>
                <a:lnTo>
                  <a:pt x="226300" y="131467"/>
                </a:lnTo>
                <a:lnTo>
                  <a:pt x="229792" y="126562"/>
                </a:lnTo>
                <a:lnTo>
                  <a:pt x="233083" y="121579"/>
                </a:lnTo>
                <a:lnTo>
                  <a:pt x="236173" y="116518"/>
                </a:lnTo>
                <a:lnTo>
                  <a:pt x="239044" y="111380"/>
                </a:lnTo>
                <a:lnTo>
                  <a:pt x="241652" y="106180"/>
                </a:lnTo>
                <a:lnTo>
                  <a:pt x="243996" y="100917"/>
                </a:lnTo>
                <a:lnTo>
                  <a:pt x="245564" y="96928"/>
                </a:lnTo>
                <a:lnTo>
                  <a:pt x="246527" y="94258"/>
                </a:lnTo>
                <a:lnTo>
                  <a:pt x="247396" y="91572"/>
                </a:lnTo>
                <a:lnTo>
                  <a:pt x="248203" y="88871"/>
                </a:lnTo>
                <a:lnTo>
                  <a:pt x="248917" y="86155"/>
                </a:lnTo>
                <a:lnTo>
                  <a:pt x="249554" y="83438"/>
                </a:lnTo>
                <a:lnTo>
                  <a:pt x="250112" y="80706"/>
                </a:lnTo>
                <a:lnTo>
                  <a:pt x="250563" y="77958"/>
                </a:lnTo>
                <a:lnTo>
                  <a:pt x="250935" y="75211"/>
                </a:lnTo>
                <a:lnTo>
                  <a:pt x="251215" y="72448"/>
                </a:lnTo>
                <a:lnTo>
                  <a:pt x="251385" y="69684"/>
                </a:lnTo>
                <a:lnTo>
                  <a:pt x="251479" y="66906"/>
                </a:lnTo>
                <a:lnTo>
                  <a:pt x="251463" y="64127"/>
                </a:lnTo>
                <a:lnTo>
                  <a:pt x="251339" y="61333"/>
                </a:lnTo>
                <a:lnTo>
                  <a:pt x="251230" y="59936"/>
                </a:lnTo>
                <a:lnTo>
                  <a:pt x="251199" y="59610"/>
                </a:lnTo>
                <a:lnTo>
                  <a:pt x="251184" y="59268"/>
                </a:lnTo>
                <a:lnTo>
                  <a:pt x="250966" y="57235"/>
                </a:lnTo>
                <a:lnTo>
                  <a:pt x="250361" y="53199"/>
                </a:lnTo>
                <a:lnTo>
                  <a:pt x="249507" y="49256"/>
                </a:lnTo>
                <a:lnTo>
                  <a:pt x="248436" y="45421"/>
                </a:lnTo>
                <a:lnTo>
                  <a:pt x="247132" y="41665"/>
                </a:lnTo>
                <a:lnTo>
                  <a:pt x="245626" y="38032"/>
                </a:lnTo>
                <a:lnTo>
                  <a:pt x="243919" y="34508"/>
                </a:lnTo>
                <a:lnTo>
                  <a:pt x="242009" y="31124"/>
                </a:lnTo>
                <a:lnTo>
                  <a:pt x="240969" y="29479"/>
                </a:lnTo>
                <a:lnTo>
                  <a:pt x="240209" y="28299"/>
                </a:lnTo>
                <a:lnTo>
                  <a:pt x="239401" y="27135"/>
                </a:lnTo>
                <a:lnTo>
                  <a:pt x="238594" y="26110"/>
                </a:lnTo>
                <a:lnTo>
                  <a:pt x="237244" y="24667"/>
                </a:lnTo>
                <a:lnTo>
                  <a:pt x="236281" y="23766"/>
                </a:lnTo>
                <a:lnTo>
                  <a:pt x="235784" y="23332"/>
                </a:lnTo>
                <a:lnTo>
                  <a:pt x="234837" y="22571"/>
                </a:lnTo>
                <a:lnTo>
                  <a:pt x="232882" y="21236"/>
                </a:lnTo>
                <a:lnTo>
                  <a:pt x="230832" y="20134"/>
                </a:lnTo>
                <a:lnTo>
                  <a:pt x="228690" y="19233"/>
                </a:lnTo>
                <a:lnTo>
                  <a:pt x="226517" y="18566"/>
                </a:lnTo>
                <a:lnTo>
                  <a:pt x="224297" y="18116"/>
                </a:lnTo>
                <a:lnTo>
                  <a:pt x="222046" y="17883"/>
                </a:lnTo>
                <a:lnTo>
                  <a:pt x="219795" y="17867"/>
                </a:lnTo>
                <a:lnTo>
                  <a:pt x="217544" y="18069"/>
                </a:lnTo>
                <a:lnTo>
                  <a:pt x="215325" y="18473"/>
                </a:lnTo>
                <a:lnTo>
                  <a:pt x="213167" y="19094"/>
                </a:lnTo>
                <a:lnTo>
                  <a:pt x="211056" y="19916"/>
                </a:lnTo>
                <a:lnTo>
                  <a:pt x="209007" y="20957"/>
                </a:lnTo>
                <a:lnTo>
                  <a:pt x="207082" y="22214"/>
                </a:lnTo>
                <a:lnTo>
                  <a:pt x="205250" y="23658"/>
                </a:lnTo>
                <a:lnTo>
                  <a:pt x="203542" y="25319"/>
                </a:lnTo>
                <a:lnTo>
                  <a:pt x="202751" y="26219"/>
                </a:lnTo>
                <a:lnTo>
                  <a:pt x="185504" y="46787"/>
                </a:lnTo>
                <a:lnTo>
                  <a:pt x="141775" y="98899"/>
                </a:lnTo>
                <a:lnTo>
                  <a:pt x="141232" y="99567"/>
                </a:lnTo>
                <a:lnTo>
                  <a:pt x="140285" y="100964"/>
                </a:lnTo>
                <a:lnTo>
                  <a:pt x="139508" y="102439"/>
                </a:lnTo>
                <a:lnTo>
                  <a:pt x="138903" y="103976"/>
                </a:lnTo>
                <a:lnTo>
                  <a:pt x="138468" y="105543"/>
                </a:lnTo>
                <a:lnTo>
                  <a:pt x="138189" y="107142"/>
                </a:lnTo>
                <a:lnTo>
                  <a:pt x="138065" y="108741"/>
                </a:lnTo>
                <a:lnTo>
                  <a:pt x="138111" y="110356"/>
                </a:lnTo>
                <a:lnTo>
                  <a:pt x="138329" y="111955"/>
                </a:lnTo>
                <a:lnTo>
                  <a:pt x="138701" y="113522"/>
                </a:lnTo>
                <a:lnTo>
                  <a:pt x="139229" y="115044"/>
                </a:lnTo>
                <a:lnTo>
                  <a:pt x="139912" y="116518"/>
                </a:lnTo>
                <a:lnTo>
                  <a:pt x="140750" y="117931"/>
                </a:lnTo>
                <a:lnTo>
                  <a:pt x="141759" y="119266"/>
                </a:lnTo>
                <a:lnTo>
                  <a:pt x="142908" y="120492"/>
                </a:lnTo>
                <a:lnTo>
                  <a:pt x="144212" y="121626"/>
                </a:lnTo>
                <a:lnTo>
                  <a:pt x="144926" y="122138"/>
                </a:lnTo>
                <a:lnTo>
                  <a:pt x="145438" y="122479"/>
                </a:lnTo>
                <a:lnTo>
                  <a:pt x="146494" y="123085"/>
                </a:lnTo>
                <a:lnTo>
                  <a:pt x="147581" y="123613"/>
                </a:lnTo>
                <a:lnTo>
                  <a:pt x="148698" y="124063"/>
                </a:lnTo>
                <a:lnTo>
                  <a:pt x="149863" y="124420"/>
                </a:lnTo>
                <a:lnTo>
                  <a:pt x="151042" y="124684"/>
                </a:lnTo>
                <a:lnTo>
                  <a:pt x="152238" y="124854"/>
                </a:lnTo>
                <a:lnTo>
                  <a:pt x="153448" y="124932"/>
                </a:lnTo>
                <a:lnTo>
                  <a:pt x="154069" y="124932"/>
                </a:lnTo>
                <a:lnTo>
                  <a:pt x="154939" y="124901"/>
                </a:lnTo>
                <a:lnTo>
                  <a:pt x="156662" y="124699"/>
                </a:lnTo>
                <a:lnTo>
                  <a:pt x="158338" y="124311"/>
                </a:lnTo>
                <a:lnTo>
                  <a:pt x="159937" y="123752"/>
                </a:lnTo>
                <a:lnTo>
                  <a:pt x="161459" y="123038"/>
                </a:lnTo>
                <a:lnTo>
                  <a:pt x="162902" y="122153"/>
                </a:lnTo>
                <a:lnTo>
                  <a:pt x="164253" y="121113"/>
                </a:lnTo>
                <a:lnTo>
                  <a:pt x="165495" y="119918"/>
                </a:lnTo>
                <a:lnTo>
                  <a:pt x="166053" y="119266"/>
                </a:lnTo>
                <a:lnTo>
                  <a:pt x="210357" y="66471"/>
                </a:lnTo>
                <a:lnTo>
                  <a:pt x="210668" y="66130"/>
                </a:lnTo>
                <a:lnTo>
                  <a:pt x="211366" y="65586"/>
                </a:lnTo>
                <a:lnTo>
                  <a:pt x="212142" y="65183"/>
                </a:lnTo>
                <a:lnTo>
                  <a:pt x="212965" y="64950"/>
                </a:lnTo>
                <a:lnTo>
                  <a:pt x="213819" y="64872"/>
                </a:lnTo>
                <a:lnTo>
                  <a:pt x="214673" y="64965"/>
                </a:lnTo>
                <a:lnTo>
                  <a:pt x="215495" y="65214"/>
                </a:lnTo>
                <a:lnTo>
                  <a:pt x="216272" y="65633"/>
                </a:lnTo>
                <a:lnTo>
                  <a:pt x="216644" y="65928"/>
                </a:lnTo>
                <a:lnTo>
                  <a:pt x="219252" y="68117"/>
                </a:lnTo>
                <a:lnTo>
                  <a:pt x="219578" y="68412"/>
                </a:lnTo>
                <a:lnTo>
                  <a:pt x="220137" y="69110"/>
                </a:lnTo>
                <a:lnTo>
                  <a:pt x="220525" y="69886"/>
                </a:lnTo>
                <a:lnTo>
                  <a:pt x="220773" y="70709"/>
                </a:lnTo>
                <a:lnTo>
                  <a:pt x="220835" y="71563"/>
                </a:lnTo>
                <a:lnTo>
                  <a:pt x="220758" y="72417"/>
                </a:lnTo>
                <a:lnTo>
                  <a:pt x="220494" y="73239"/>
                </a:lnTo>
                <a:lnTo>
                  <a:pt x="220075" y="74031"/>
                </a:lnTo>
                <a:lnTo>
                  <a:pt x="219795" y="74388"/>
                </a:lnTo>
                <a:lnTo>
                  <a:pt x="175492" y="127183"/>
                </a:lnTo>
                <a:lnTo>
                  <a:pt x="174560" y="128239"/>
                </a:lnTo>
                <a:lnTo>
                  <a:pt x="172573" y="130195"/>
                </a:lnTo>
                <a:lnTo>
                  <a:pt x="170431" y="131918"/>
                </a:lnTo>
                <a:lnTo>
                  <a:pt x="168134" y="133423"/>
                </a:lnTo>
                <a:lnTo>
                  <a:pt x="165696" y="134681"/>
                </a:lnTo>
                <a:lnTo>
                  <a:pt x="163151" y="135705"/>
                </a:lnTo>
                <a:lnTo>
                  <a:pt x="160512" y="136481"/>
                </a:lnTo>
                <a:lnTo>
                  <a:pt x="157764" y="136994"/>
                </a:lnTo>
                <a:lnTo>
                  <a:pt x="156367" y="137133"/>
                </a:lnTo>
                <a:lnTo>
                  <a:pt x="155109" y="137227"/>
                </a:lnTo>
                <a:lnTo>
                  <a:pt x="153868" y="137242"/>
                </a:lnTo>
                <a:lnTo>
                  <a:pt x="152626" y="137227"/>
                </a:lnTo>
                <a:lnTo>
                  <a:pt x="150189" y="137009"/>
                </a:lnTo>
                <a:lnTo>
                  <a:pt x="147782" y="136590"/>
                </a:lnTo>
                <a:lnTo>
                  <a:pt x="145438" y="135954"/>
                </a:lnTo>
                <a:lnTo>
                  <a:pt x="143141" y="135131"/>
                </a:lnTo>
                <a:lnTo>
                  <a:pt x="140937" y="134091"/>
                </a:lnTo>
                <a:lnTo>
                  <a:pt x="138810" y="132865"/>
                </a:lnTo>
                <a:lnTo>
                  <a:pt x="136776" y="131436"/>
                </a:lnTo>
                <a:lnTo>
                  <a:pt x="135814" y="130645"/>
                </a:lnTo>
                <a:lnTo>
                  <a:pt x="135255" y="130179"/>
                </a:lnTo>
                <a:lnTo>
                  <a:pt x="134200" y="129201"/>
                </a:lnTo>
                <a:lnTo>
                  <a:pt x="132725" y="127649"/>
                </a:lnTo>
                <a:lnTo>
                  <a:pt x="130986" y="125460"/>
                </a:lnTo>
                <a:lnTo>
                  <a:pt x="129496" y="123131"/>
                </a:lnTo>
                <a:lnTo>
                  <a:pt x="128254" y="120679"/>
                </a:lnTo>
                <a:lnTo>
                  <a:pt x="127245" y="118148"/>
                </a:lnTo>
                <a:lnTo>
                  <a:pt x="126500" y="115540"/>
                </a:lnTo>
                <a:lnTo>
                  <a:pt x="126019" y="112870"/>
                </a:lnTo>
                <a:lnTo>
                  <a:pt x="125786" y="110185"/>
                </a:lnTo>
                <a:lnTo>
                  <a:pt x="125801" y="107468"/>
                </a:lnTo>
                <a:lnTo>
                  <a:pt x="126081" y="104783"/>
                </a:lnTo>
                <a:lnTo>
                  <a:pt x="126624" y="102113"/>
                </a:lnTo>
                <a:lnTo>
                  <a:pt x="127431" y="99489"/>
                </a:lnTo>
                <a:lnTo>
                  <a:pt x="128487" y="96928"/>
                </a:lnTo>
                <a:lnTo>
                  <a:pt x="129822" y="94460"/>
                </a:lnTo>
                <a:lnTo>
                  <a:pt x="131017" y="92690"/>
                </a:lnTo>
                <a:lnTo>
                  <a:pt x="131887" y="91541"/>
                </a:lnTo>
                <a:lnTo>
                  <a:pt x="132337" y="90967"/>
                </a:lnTo>
                <a:lnTo>
                  <a:pt x="157966" y="60432"/>
                </a:lnTo>
                <a:lnTo>
                  <a:pt x="193312" y="18302"/>
                </a:lnTo>
                <a:lnTo>
                  <a:pt x="193856" y="17681"/>
                </a:lnTo>
                <a:lnTo>
                  <a:pt x="194958" y="16470"/>
                </a:lnTo>
                <a:lnTo>
                  <a:pt x="196697" y="14778"/>
                </a:lnTo>
                <a:lnTo>
                  <a:pt x="199149" y="12745"/>
                </a:lnTo>
                <a:lnTo>
                  <a:pt x="201757" y="10960"/>
                </a:lnTo>
                <a:lnTo>
                  <a:pt x="204474" y="9423"/>
                </a:lnTo>
                <a:lnTo>
                  <a:pt x="207299" y="8134"/>
                </a:lnTo>
                <a:lnTo>
                  <a:pt x="210217" y="7110"/>
                </a:lnTo>
                <a:lnTo>
                  <a:pt x="213198" y="6334"/>
                </a:lnTo>
                <a:lnTo>
                  <a:pt x="214704" y="6054"/>
                </a:lnTo>
                <a:lnTo>
                  <a:pt x="213105" y="5309"/>
                </a:lnTo>
                <a:lnTo>
                  <a:pt x="209860" y="3958"/>
                </a:lnTo>
                <a:lnTo>
                  <a:pt x="206523" y="2810"/>
                </a:lnTo>
                <a:lnTo>
                  <a:pt x="203108" y="1832"/>
                </a:lnTo>
                <a:lnTo>
                  <a:pt x="199630" y="1056"/>
                </a:lnTo>
                <a:lnTo>
                  <a:pt x="196091" y="497"/>
                </a:lnTo>
                <a:lnTo>
                  <a:pt x="192505" y="140"/>
                </a:lnTo>
                <a:lnTo>
                  <a:pt x="188857" y="0"/>
                </a:lnTo>
                <a:lnTo>
                  <a:pt x="187010" y="16"/>
                </a:lnTo>
                <a:lnTo>
                  <a:pt x="185737" y="47"/>
                </a:lnTo>
                <a:lnTo>
                  <a:pt x="183222" y="202"/>
                </a:lnTo>
                <a:lnTo>
                  <a:pt x="180723" y="450"/>
                </a:lnTo>
                <a:lnTo>
                  <a:pt x="178255" y="776"/>
                </a:lnTo>
                <a:lnTo>
                  <a:pt x="175802" y="1195"/>
                </a:lnTo>
                <a:lnTo>
                  <a:pt x="173380" y="1708"/>
                </a:lnTo>
                <a:lnTo>
                  <a:pt x="171005" y="2313"/>
                </a:lnTo>
                <a:lnTo>
                  <a:pt x="168646" y="2996"/>
                </a:lnTo>
                <a:lnTo>
                  <a:pt x="166317" y="3757"/>
                </a:lnTo>
                <a:lnTo>
                  <a:pt x="164035" y="4610"/>
                </a:lnTo>
                <a:lnTo>
                  <a:pt x="161800" y="5542"/>
                </a:lnTo>
                <a:lnTo>
                  <a:pt x="159596" y="6551"/>
                </a:lnTo>
                <a:lnTo>
                  <a:pt x="157422" y="7638"/>
                </a:lnTo>
                <a:lnTo>
                  <a:pt x="155311" y="8786"/>
                </a:lnTo>
                <a:lnTo>
                  <a:pt x="153247" y="10028"/>
                </a:lnTo>
                <a:lnTo>
                  <a:pt x="151213" y="11332"/>
                </a:lnTo>
                <a:lnTo>
                  <a:pt x="149257" y="12714"/>
                </a:lnTo>
                <a:lnTo>
                  <a:pt x="147332" y="14157"/>
                </a:lnTo>
                <a:lnTo>
                  <a:pt x="145469" y="15679"/>
                </a:lnTo>
                <a:lnTo>
                  <a:pt x="143669" y="17262"/>
                </a:lnTo>
                <a:lnTo>
                  <a:pt x="141930" y="18907"/>
                </a:lnTo>
                <a:lnTo>
                  <a:pt x="140254" y="20615"/>
                </a:lnTo>
                <a:lnTo>
                  <a:pt x="138624" y="22385"/>
                </a:lnTo>
                <a:lnTo>
                  <a:pt x="137071" y="24216"/>
                </a:lnTo>
                <a:lnTo>
                  <a:pt x="135597" y="26095"/>
                </a:lnTo>
                <a:lnTo>
                  <a:pt x="134184" y="28035"/>
                </a:lnTo>
                <a:lnTo>
                  <a:pt x="132833" y="30038"/>
                </a:lnTo>
                <a:lnTo>
                  <a:pt x="131561" y="32102"/>
                </a:lnTo>
                <a:lnTo>
                  <a:pt x="130381" y="34198"/>
                </a:lnTo>
                <a:lnTo>
                  <a:pt x="129263" y="36356"/>
                </a:lnTo>
                <a:lnTo>
                  <a:pt x="128223" y="38560"/>
                </a:lnTo>
                <a:lnTo>
                  <a:pt x="127276" y="40826"/>
                </a:lnTo>
                <a:lnTo>
                  <a:pt x="126841" y="41960"/>
                </a:lnTo>
                <a:lnTo>
                  <a:pt x="126717" y="42270"/>
                </a:lnTo>
                <a:lnTo>
                  <a:pt x="126469" y="42720"/>
                </a:lnTo>
                <a:lnTo>
                  <a:pt x="126205" y="42969"/>
                </a:lnTo>
                <a:lnTo>
                  <a:pt x="125910" y="43062"/>
                </a:lnTo>
                <a:lnTo>
                  <a:pt x="125739" y="43077"/>
                </a:lnTo>
                <a:lnTo>
                  <a:pt x="125569" y="43062"/>
                </a:lnTo>
                <a:lnTo>
                  <a:pt x="125274" y="42969"/>
                </a:lnTo>
                <a:lnTo>
                  <a:pt x="125010" y="42720"/>
                </a:lnTo>
                <a:lnTo>
                  <a:pt x="124761" y="42270"/>
                </a:lnTo>
                <a:lnTo>
                  <a:pt x="124637" y="41960"/>
                </a:lnTo>
                <a:lnTo>
                  <a:pt x="124202" y="40826"/>
                </a:lnTo>
                <a:lnTo>
                  <a:pt x="123256" y="38560"/>
                </a:lnTo>
                <a:lnTo>
                  <a:pt x="122215" y="36356"/>
                </a:lnTo>
                <a:lnTo>
                  <a:pt x="121098" y="34198"/>
                </a:lnTo>
                <a:lnTo>
                  <a:pt x="119918" y="32102"/>
                </a:lnTo>
                <a:lnTo>
                  <a:pt x="118645" y="30038"/>
                </a:lnTo>
                <a:lnTo>
                  <a:pt x="117295" y="28035"/>
                </a:lnTo>
                <a:lnTo>
                  <a:pt x="115882" y="26095"/>
                </a:lnTo>
                <a:lnTo>
                  <a:pt x="114407" y="24216"/>
                </a:lnTo>
                <a:lnTo>
                  <a:pt x="112855" y="22385"/>
                </a:lnTo>
                <a:lnTo>
                  <a:pt x="111225" y="20615"/>
                </a:lnTo>
                <a:lnTo>
                  <a:pt x="109548" y="18907"/>
                </a:lnTo>
                <a:lnTo>
                  <a:pt x="107810" y="17262"/>
                </a:lnTo>
                <a:lnTo>
                  <a:pt x="106009" y="15679"/>
                </a:lnTo>
                <a:lnTo>
                  <a:pt x="104146" y="14157"/>
                </a:lnTo>
                <a:lnTo>
                  <a:pt x="102221" y="12714"/>
                </a:lnTo>
                <a:lnTo>
                  <a:pt x="100265" y="11332"/>
                </a:lnTo>
                <a:lnTo>
                  <a:pt x="98232" y="10028"/>
                </a:lnTo>
                <a:lnTo>
                  <a:pt x="96167" y="8786"/>
                </a:lnTo>
                <a:lnTo>
                  <a:pt x="94056" y="7638"/>
                </a:lnTo>
                <a:lnTo>
                  <a:pt x="91883" y="6551"/>
                </a:lnTo>
                <a:lnTo>
                  <a:pt x="89678" y="5542"/>
                </a:lnTo>
                <a:lnTo>
                  <a:pt x="87443" y="4610"/>
                </a:lnTo>
                <a:lnTo>
                  <a:pt x="85161" y="3757"/>
                </a:lnTo>
                <a:lnTo>
                  <a:pt x="82833" y="2996"/>
                </a:lnTo>
                <a:lnTo>
                  <a:pt x="80473" y="2313"/>
                </a:lnTo>
                <a:lnTo>
                  <a:pt x="78098" y="1708"/>
                </a:lnTo>
                <a:lnTo>
                  <a:pt x="75676" y="1195"/>
                </a:lnTo>
                <a:lnTo>
                  <a:pt x="73224" y="776"/>
                </a:lnTo>
                <a:lnTo>
                  <a:pt x="70756" y="450"/>
                </a:lnTo>
                <a:lnTo>
                  <a:pt x="68256" y="202"/>
                </a:lnTo>
                <a:lnTo>
                  <a:pt x="65741" y="47"/>
                </a:lnTo>
                <a:lnTo>
                  <a:pt x="64469" y="16"/>
                </a:lnTo>
                <a:lnTo>
                  <a:pt x="62932" y="0"/>
                </a:lnTo>
                <a:close/>
              </a:path>
            </a:pathLst>
          </a:custGeom>
          <a:solidFill>
            <a:srgbClr val="F72246"/>
          </a:solidFill>
          <a:ln>
            <a:noFill/>
          </a:ln>
        </p:spPr>
        <p:txBody>
          <a:bodyPr spcFirstLastPara="1" wrap="square" lIns="121875" tIns="121875" rIns="121875" bIns="12187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94864697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9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Play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13;p9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4" name="Google Shape;14;p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fld id="{A524DCA3-6A6E-4D7C-8602-C9F536656E99}" type="datetime1">
              <a:rPr lang="en-US" smtClean="0"/>
              <a:t>6/27/2024</a:t>
            </a:fld>
            <a:endParaRPr/>
          </a:p>
        </p:txBody>
      </p:sp>
      <p:sp>
        <p:nvSpPr>
          <p:cNvPr id="15" name="Google Shape;15;p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" name="Google Shape;16;p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0637290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1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fld id="{65EE17DA-F572-4616-97CF-FFF8EA610C5A}" type="datetime1">
              <a:rPr lang="en-US" smtClean="0"/>
              <a:t>6/27/2024</a:t>
            </a:fld>
            <a:endParaRPr/>
          </a:p>
        </p:txBody>
      </p:sp>
      <p:sp>
        <p:nvSpPr>
          <p:cNvPr id="19" name="Google Shape;19;p1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" name="Google Shape;20;p1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1756551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1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1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" name="Google Shape;24;p1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fld id="{881DCD54-DFD4-4BAC-92EC-7701267350EA}" type="datetime1">
              <a:rPr lang="en-US" smtClean="0"/>
              <a:t>6/27/2024</a:t>
            </a:fld>
            <a:endParaRPr/>
          </a:p>
        </p:txBody>
      </p:sp>
      <p:sp>
        <p:nvSpPr>
          <p:cNvPr id="25" name="Google Shape;25;p1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1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947503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415370-7C34-4097-BE05-72FB3FFF9475}" type="datetime1">
              <a:rPr lang="en-US" smtClean="0"/>
              <a:t>6/27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oogle Shape;28;p12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Play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12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757575"/>
              </a:buClr>
              <a:buSzPts val="2400"/>
              <a:buNone/>
              <a:defRPr sz="2400">
                <a:solidFill>
                  <a:srgbClr val="757575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757575"/>
              </a:buClr>
              <a:buSzPts val="2000"/>
              <a:buNone/>
              <a:defRPr sz="2000">
                <a:solidFill>
                  <a:srgbClr val="757575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757575"/>
              </a:buClr>
              <a:buSzPts val="1800"/>
              <a:buNone/>
              <a:defRPr sz="1800">
                <a:solidFill>
                  <a:srgbClr val="757575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757575"/>
              </a:buClr>
              <a:buSzPts val="1600"/>
              <a:buNone/>
              <a:defRPr sz="1600">
                <a:solidFill>
                  <a:srgbClr val="757575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757575"/>
              </a:buClr>
              <a:buSzPts val="1600"/>
              <a:buNone/>
              <a:defRPr sz="1600">
                <a:solidFill>
                  <a:srgbClr val="757575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757575"/>
              </a:buClr>
              <a:buSzPts val="1600"/>
              <a:buNone/>
              <a:defRPr sz="1600">
                <a:solidFill>
                  <a:srgbClr val="757575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757575"/>
              </a:buClr>
              <a:buSzPts val="1600"/>
              <a:buNone/>
              <a:defRPr sz="1600">
                <a:solidFill>
                  <a:srgbClr val="757575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757575"/>
              </a:buClr>
              <a:buSzPts val="1600"/>
              <a:buNone/>
              <a:defRPr sz="1600">
                <a:solidFill>
                  <a:srgbClr val="757575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757575"/>
              </a:buClr>
              <a:buSzPts val="1600"/>
              <a:buNone/>
              <a:defRPr sz="1600">
                <a:solidFill>
                  <a:srgbClr val="757575"/>
                </a:solidFill>
              </a:defRPr>
            </a:lvl9pPr>
          </a:lstStyle>
          <a:p>
            <a:endParaRPr/>
          </a:p>
        </p:txBody>
      </p:sp>
      <p:sp>
        <p:nvSpPr>
          <p:cNvPr id="30" name="Google Shape;30;p1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fld id="{717B8C0E-84C4-4794-86EE-27203F642FC6}" type="datetime1">
              <a:rPr lang="en-US" smtClean="0"/>
              <a:t>6/27/2024</a:t>
            </a:fld>
            <a:endParaRPr/>
          </a:p>
        </p:txBody>
      </p:sp>
      <p:sp>
        <p:nvSpPr>
          <p:cNvPr id="31" name="Google Shape;31;p1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1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3945599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 Content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13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13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" name="Google Shape;36;p13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1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fld id="{75C145B2-1BD3-437E-A6A8-571F6B0CC69F}" type="datetime1">
              <a:rPr lang="en-US" smtClean="0"/>
              <a:t>6/27/2024</a:t>
            </a:fld>
            <a:endParaRPr/>
          </a:p>
        </p:txBody>
      </p:sp>
      <p:sp>
        <p:nvSpPr>
          <p:cNvPr id="38" name="Google Shape;38;p1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1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7888017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Comparison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14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14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3" name="Google Shape;43;p14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" name="Google Shape;44;p1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5" name="Google Shape;45;p1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" name="Google Shape;46;p1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fld id="{23E11309-7672-46B0-97E3-80B892BB0DBF}" type="datetime1">
              <a:rPr lang="en-US" smtClean="0"/>
              <a:t>6/27/2024</a:t>
            </a:fld>
            <a:endParaRPr/>
          </a:p>
        </p:txBody>
      </p:sp>
      <p:sp>
        <p:nvSpPr>
          <p:cNvPr id="47" name="Google Shape;47;p1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" name="Google Shape;48;p1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867700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15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" name="Google Shape;51;p1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fld id="{BB0357A7-CAC5-4B06-B32D-D5946EA6114F}" type="datetime1">
              <a:rPr lang="en-US" smtClean="0"/>
              <a:t>6/27/2024</a:t>
            </a:fld>
            <a:endParaRPr/>
          </a:p>
        </p:txBody>
      </p:sp>
      <p:sp>
        <p:nvSpPr>
          <p:cNvPr id="52" name="Google Shape;52;p1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1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4061986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Content with Caption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16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Play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16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57" name="Google Shape;57;p16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58" name="Google Shape;58;p1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fld id="{F5C5BC13-FED0-4C90-B8F8-5CD560E239B6}" type="datetime1">
              <a:rPr lang="en-US" smtClean="0"/>
              <a:t>6/27/2024</a:t>
            </a:fld>
            <a:endParaRPr/>
          </a:p>
        </p:txBody>
      </p:sp>
      <p:sp>
        <p:nvSpPr>
          <p:cNvPr id="59" name="Google Shape;59;p1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1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4324352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 with Caption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p17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Play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17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</p:sp>
      <p:sp>
        <p:nvSpPr>
          <p:cNvPr id="64" name="Google Shape;64;p17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5" name="Google Shape;65;p1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fld id="{3D834B50-A51B-45DF-9389-BDD9D3B4A940}" type="datetime1">
              <a:rPr lang="en-US" smtClean="0"/>
              <a:t>6/27/2024</a:t>
            </a:fld>
            <a:endParaRPr/>
          </a:p>
        </p:txBody>
      </p:sp>
      <p:sp>
        <p:nvSpPr>
          <p:cNvPr id="66" name="Google Shape;66;p1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1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1231581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Title and Vertical Tex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18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18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" name="Google Shape;71;p1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fld id="{91734F7C-1F25-4D96-95E0-B45EB88451A9}" type="datetime1">
              <a:rPr lang="en-US" smtClean="0"/>
              <a:t>6/27/2024</a:t>
            </a:fld>
            <a:endParaRPr/>
          </a:p>
        </p:txBody>
      </p:sp>
      <p:sp>
        <p:nvSpPr>
          <p:cNvPr id="72" name="Google Shape;72;p1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" name="Google Shape;73;p1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884099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 Title and Text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19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19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1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fld id="{EA161976-7A68-44EA-84B2-8959E46942E7}" type="datetime1">
              <a:rPr lang="en-US" smtClean="0"/>
              <a:t>6/27/2024</a:t>
            </a:fld>
            <a:endParaRPr/>
          </a:p>
        </p:txBody>
      </p:sp>
      <p:sp>
        <p:nvSpPr>
          <p:cNvPr id="78" name="Google Shape;78;p1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" name="Google Shape;79;p1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4742942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-1587" y="0"/>
            <a:ext cx="12195175" cy="6858000"/>
          </a:xfrm>
          <a:solidFill>
            <a:schemeClr val="bg1">
              <a:lumMod val="75000"/>
            </a:schemeClr>
          </a:solidFill>
        </p:spPr>
        <p:txBody>
          <a:bodyPr rIns="457200"/>
          <a:lstStyle>
            <a:lvl1pPr algn="r">
              <a:defRPr sz="2000" b="1" baseline="0">
                <a:solidFill>
                  <a:schemeClr val="bg1"/>
                </a:solidFill>
              </a:defRPr>
            </a:lvl1pPr>
          </a:lstStyle>
          <a:p>
            <a:br>
              <a:rPr lang="en-US"/>
            </a:br>
            <a:br>
              <a:rPr lang="en-US"/>
            </a:br>
            <a:br>
              <a:rPr lang="en-US"/>
            </a:br>
            <a:r>
              <a:rPr lang="en-US"/>
              <a:t>Click icon to add picture</a:t>
            </a:r>
          </a:p>
        </p:txBody>
      </p:sp>
      <p:sp>
        <p:nvSpPr>
          <p:cNvPr id="24" name="Title 1"/>
          <p:cNvSpPr>
            <a:spLocks noGrp="1"/>
          </p:cNvSpPr>
          <p:nvPr>
            <p:ph type="ctrTitle" hasCustomPrompt="1"/>
          </p:nvPr>
        </p:nvSpPr>
        <p:spPr>
          <a:xfrm>
            <a:off x="568818" y="850392"/>
            <a:ext cx="4179897" cy="5157216"/>
          </a:xfrm>
          <a:solidFill>
            <a:srgbClr val="FFFFFF">
              <a:alpha val="89804"/>
            </a:srgbClr>
          </a:solidFill>
        </p:spPr>
        <p:txBody>
          <a:bodyPr lIns="402336" tIns="457200" rIns="365760" bIns="182880" anchor="t">
            <a:noAutofit/>
          </a:bodyPr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Presentation title here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77A45137-D954-4F74-A043-F7DE2DC22D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1016991" y="2679062"/>
            <a:ext cx="393699" cy="0"/>
          </a:xfrm>
          <a:prstGeom prst="line">
            <a:avLst/>
          </a:prstGeom>
          <a:ln w="25400" cmpd="sng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989552" y="3063240"/>
            <a:ext cx="3283551" cy="1262324"/>
          </a:xfrm>
        </p:spPr>
        <p:txBody>
          <a:bodyPr/>
          <a:lstStyle>
            <a:lvl1pPr>
              <a:defRPr sz="15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3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  <a:p>
            <a:pPr lvl="1"/>
            <a:r>
              <a:rPr lang="en-US"/>
              <a:t>Presenter title</a:t>
            </a:r>
          </a:p>
          <a:p>
            <a:pPr lvl="2"/>
            <a:r>
              <a:rPr lang="en-US"/>
              <a:t>Date</a:t>
            </a:r>
          </a:p>
        </p:txBody>
      </p:sp>
      <p:pic>
        <p:nvPicPr>
          <p:cNvPr id="15" name="Graphic 14" descr="CVS Health logo.">
            <a:extLst>
              <a:ext uri="{FF2B5EF4-FFF2-40B4-BE49-F238E27FC236}">
                <a16:creationId xmlns:a16="http://schemas.microsoft.com/office/drawing/2014/main" id="{20283CA7-E5C8-1743-B657-BA1BA157B5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231" y="5243838"/>
            <a:ext cx="2277449" cy="27785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0DE109-DC8C-5769-803C-E8C879EC6B4C}"/>
              </a:ext>
            </a:extLst>
          </p:cNvPr>
          <p:cNvSpPr txBox="1"/>
          <p:nvPr userDrawn="1"/>
        </p:nvSpPr>
        <p:spPr>
          <a:xfrm>
            <a:off x="557929" y="6428233"/>
            <a:ext cx="8048816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800" b="0">
                <a:solidFill>
                  <a:schemeClr val="bg1"/>
                </a:solidFill>
              </a:rPr>
              <a:t>©2024 CVS Health and/or one of its affiliates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305143508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BB677A6A-314F-4768-92AA-99253747CD4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587" y="0"/>
            <a:ext cx="12195175" cy="6858000"/>
          </a:xfrm>
          <a:solidFill>
            <a:schemeClr val="bg1">
              <a:lumMod val="75000"/>
            </a:schemeClr>
          </a:solidFill>
        </p:spPr>
        <p:txBody>
          <a:bodyPr rIns="457200"/>
          <a:lstStyle>
            <a:lvl1pPr algn="r">
              <a:defRPr sz="2000" b="1" baseline="0">
                <a:solidFill>
                  <a:schemeClr val="bg1"/>
                </a:solidFill>
              </a:defRPr>
            </a:lvl1pPr>
          </a:lstStyle>
          <a:p>
            <a:br>
              <a:rPr lang="en-US"/>
            </a:br>
            <a:br>
              <a:rPr lang="en-US"/>
            </a:br>
            <a:br>
              <a:rPr lang="en-US"/>
            </a:br>
            <a:r>
              <a:rPr lang="en-US"/>
              <a:t>Click icon to add pictu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4B09DFE-84A9-4941-96E5-5279EBA20FE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68818" y="850392"/>
            <a:ext cx="4179897" cy="5157216"/>
          </a:xfrm>
          <a:solidFill>
            <a:srgbClr val="0B315E">
              <a:alpha val="74902"/>
            </a:srgbClr>
          </a:solidFill>
        </p:spPr>
        <p:txBody>
          <a:bodyPr lIns="402336" tIns="457200" rIns="365760" bIns="182880" anchor="t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 her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0835A51-F022-4658-9565-961412679D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1016991" y="2679062"/>
            <a:ext cx="393699" cy="0"/>
          </a:xfrm>
          <a:prstGeom prst="line">
            <a:avLst/>
          </a:prstGeom>
          <a:ln w="25400" cmpd="sng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C3116CB-B94C-4385-9DC5-8379D7EE2E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91965" y="3063240"/>
            <a:ext cx="3283551" cy="1262324"/>
          </a:xfrm>
        </p:spPr>
        <p:txBody>
          <a:bodyPr/>
          <a:lstStyle>
            <a:lvl1pPr>
              <a:defRPr sz="15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300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  <a:p>
            <a:pPr lvl="1"/>
            <a:r>
              <a:rPr lang="en-US"/>
              <a:t>Presenter title</a:t>
            </a:r>
          </a:p>
          <a:p>
            <a:pPr lvl="2"/>
            <a:r>
              <a:rPr lang="en-US"/>
              <a:t>Date</a:t>
            </a:r>
          </a:p>
        </p:txBody>
      </p:sp>
      <p:pic>
        <p:nvPicPr>
          <p:cNvPr id="7" name="Graphic 6" descr="CVS Health logo in white.">
            <a:extLst>
              <a:ext uri="{FF2B5EF4-FFF2-40B4-BE49-F238E27FC236}">
                <a16:creationId xmlns:a16="http://schemas.microsoft.com/office/drawing/2014/main" id="{485D685C-603C-4241-A7A2-5C0CCBDF02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231" y="5243838"/>
            <a:ext cx="2277449" cy="27785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78F1E3A-7632-3D07-66C0-74D6EFDB02BC}"/>
              </a:ext>
            </a:extLst>
          </p:cNvPr>
          <p:cNvSpPr txBox="1"/>
          <p:nvPr userDrawn="1"/>
        </p:nvSpPr>
        <p:spPr>
          <a:xfrm>
            <a:off x="557929" y="6428233"/>
            <a:ext cx="8048816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800" b="0">
                <a:solidFill>
                  <a:schemeClr val="bg1"/>
                </a:solidFill>
              </a:rPr>
              <a:t>©2024 CVS Health and/or one of its affiliates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35314304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3A51C6-3AD9-4375-80EF-C9ECAD799BE1}" type="datetime1">
              <a:rPr lang="en-US" smtClean="0"/>
              <a:t>6/27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-1587" y="0"/>
            <a:ext cx="12195175" cy="6858000"/>
          </a:xfrm>
          <a:solidFill>
            <a:schemeClr val="bg1">
              <a:lumMod val="75000"/>
            </a:schemeClr>
          </a:solidFill>
        </p:spPr>
        <p:txBody>
          <a:bodyPr rIns="457200"/>
          <a:lstStyle>
            <a:lvl1pPr algn="r">
              <a:defRPr sz="2000" b="1" baseline="0">
                <a:solidFill>
                  <a:schemeClr val="bg1"/>
                </a:solidFill>
              </a:defRPr>
            </a:lvl1pPr>
          </a:lstStyle>
          <a:p>
            <a:br>
              <a:rPr lang="en-US"/>
            </a:br>
            <a:br>
              <a:rPr lang="en-US"/>
            </a:br>
            <a:br>
              <a:rPr lang="en-US"/>
            </a:br>
            <a:r>
              <a:rPr lang="en-US"/>
              <a:t>Click icon to add picture</a:t>
            </a:r>
          </a:p>
        </p:txBody>
      </p:sp>
      <p:sp>
        <p:nvSpPr>
          <p:cNvPr id="29" name="Title 1"/>
          <p:cNvSpPr>
            <a:spLocks noGrp="1"/>
          </p:cNvSpPr>
          <p:nvPr>
            <p:ph type="ctrTitle" hasCustomPrompt="1"/>
          </p:nvPr>
        </p:nvSpPr>
        <p:spPr>
          <a:xfrm>
            <a:off x="568818" y="850392"/>
            <a:ext cx="4179897" cy="5157216"/>
          </a:xfrm>
          <a:solidFill>
            <a:srgbClr val="CC0000">
              <a:alpha val="74902"/>
            </a:srgbClr>
          </a:solidFill>
        </p:spPr>
        <p:txBody>
          <a:bodyPr lIns="402336" tIns="457200" rIns="365760" bIns="182880" anchor="t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 here</a:t>
            </a:r>
          </a:p>
        </p:txBody>
      </p:sp>
      <p:cxnSp>
        <p:nvCxnSpPr>
          <p:cNvPr id="13" name="Straight Connector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1016991" y="2679062"/>
            <a:ext cx="393699" cy="0"/>
          </a:xfrm>
          <a:prstGeom prst="line">
            <a:avLst/>
          </a:prstGeom>
          <a:ln w="25400" cmpd="sng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991965" y="3063240"/>
            <a:ext cx="3283551" cy="1262324"/>
          </a:xfrm>
        </p:spPr>
        <p:txBody>
          <a:bodyPr/>
          <a:lstStyle>
            <a:lvl1pPr>
              <a:defRPr sz="15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2400"/>
              </a:spcAft>
              <a:buFontTx/>
              <a:buNone/>
              <a:defRPr sz="1300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  <a:p>
            <a:pPr lvl="1"/>
            <a:r>
              <a:rPr lang="en-US"/>
              <a:t>Presenter title</a:t>
            </a:r>
          </a:p>
          <a:p>
            <a:pPr lvl="2"/>
            <a:r>
              <a:rPr lang="en-US"/>
              <a:t>Date</a:t>
            </a:r>
          </a:p>
        </p:txBody>
      </p:sp>
      <p:pic>
        <p:nvPicPr>
          <p:cNvPr id="15" name="Graphic 14" descr="CVS Health logo in white.">
            <a:extLst>
              <a:ext uri="{FF2B5EF4-FFF2-40B4-BE49-F238E27FC236}">
                <a16:creationId xmlns:a16="http://schemas.microsoft.com/office/drawing/2014/main" id="{DCA7CAE5-6AC5-9442-BDF8-6E9A04A35E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4231" y="5243838"/>
            <a:ext cx="2277449" cy="27785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A4B3EC3-027F-B921-5D18-359B5560CF69}"/>
              </a:ext>
            </a:extLst>
          </p:cNvPr>
          <p:cNvSpPr txBox="1"/>
          <p:nvPr userDrawn="1"/>
        </p:nvSpPr>
        <p:spPr>
          <a:xfrm>
            <a:off x="557929" y="6428233"/>
            <a:ext cx="8048816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800" b="0">
                <a:solidFill>
                  <a:schemeClr val="bg1"/>
                </a:solidFill>
              </a:rPr>
              <a:t>©2024 CVS Health and/or one of its affiliates. Confidential and proprietary.</a:t>
            </a:r>
          </a:p>
        </p:txBody>
      </p:sp>
    </p:spTree>
    <p:extLst>
      <p:ext uri="{BB962C8B-B14F-4D97-AF65-F5344CB8AC3E}">
        <p14:creationId xmlns:p14="http://schemas.microsoft.com/office/powerpoint/2010/main" val="92077713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2717805" y="389319"/>
            <a:ext cx="9101035" cy="5724144"/>
          </a:xfrm>
          <a:prstGeom prst="rect">
            <a:avLst/>
          </a:prstGeom>
          <a:solidFill>
            <a:srgbClr val="E9E9E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182880" rIns="2743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>
              <a:solidFill>
                <a:schemeClr val="accent5"/>
              </a:solidFill>
            </a:endParaRPr>
          </a:p>
        </p:txBody>
      </p:sp>
      <p:sp>
        <p:nvSpPr>
          <p:cNvPr id="6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384048" y="1024128"/>
            <a:ext cx="5806440" cy="444398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223762" y="1167898"/>
            <a:ext cx="3685665" cy="890028"/>
          </a:xfrm>
        </p:spPr>
        <p:txBody>
          <a:bodyPr anchor="b">
            <a:noAutofit/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7223761" y="2825587"/>
            <a:ext cx="3682432" cy="2407316"/>
          </a:xfrm>
        </p:spPr>
        <p:txBody>
          <a:bodyPr>
            <a:noAutofit/>
          </a:bodyPr>
          <a:lstStyle>
            <a:lvl1pPr>
              <a:defRPr sz="15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ext here 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94767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649224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one-column layout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74880"/>
            <a:ext cx="8588453" cy="3987745"/>
          </a:xfrm>
        </p:spPr>
        <p:txBody>
          <a:bodyPr/>
          <a:lstStyle>
            <a:lvl1pPr>
              <a:defRPr sz="2000" b="1" cap="none" baseline="0">
                <a:solidFill>
                  <a:schemeClr val="tx2"/>
                </a:solidFill>
              </a:defRPr>
            </a:lvl1pPr>
            <a:lvl2pPr marL="0" indent="0">
              <a:buFontTx/>
              <a:buNone/>
              <a:defRPr sz="1500">
                <a:solidFill>
                  <a:schemeClr val="tx2"/>
                </a:solidFill>
              </a:defRPr>
            </a:lvl2pPr>
            <a:lvl3pPr marL="173038" indent="-173038">
              <a:spcBef>
                <a:spcPts val="1200"/>
              </a:spcBef>
              <a:buFont typeface="Arial" panose="020B0604020202020204" pitchFamily="34" charset="0"/>
              <a:buChar char="•"/>
              <a:defRPr sz="1500">
                <a:solidFill>
                  <a:schemeClr val="tx2"/>
                </a:solidFill>
              </a:defRPr>
            </a:lvl3pPr>
            <a:lvl4pPr marL="347663" indent="-174625">
              <a:spcBef>
                <a:spcPts val="600"/>
              </a:spcBef>
              <a:buFont typeface="Arial" panose="020B0604020202020204" pitchFamily="34" charset="0"/>
              <a:buChar char="–"/>
              <a:defRPr sz="1500">
                <a:solidFill>
                  <a:schemeClr val="tx2"/>
                </a:solidFill>
              </a:defRPr>
            </a:lvl4pPr>
            <a:lvl5pPr marL="509588" indent="-161925">
              <a:spcBef>
                <a:spcPts val="600"/>
              </a:spcBef>
              <a:buFont typeface="Arial" panose="020B0604020202020204" pitchFamily="34" charset="0"/>
              <a:buChar char="•"/>
              <a:defRPr sz="1500">
                <a:solidFill>
                  <a:schemeClr val="tx2"/>
                </a:solidFill>
              </a:defRPr>
            </a:lvl5pPr>
            <a:lvl6pPr marL="682625" indent="-173038">
              <a:buFont typeface="Arial" panose="020B0604020202020204" pitchFamily="34" charset="0"/>
              <a:buChar char="–"/>
              <a:defRPr sz="1500" baseline="0"/>
            </a:lvl6pPr>
            <a:lvl7pPr marL="857250" indent="-174625">
              <a:spcBef>
                <a:spcPts val="600"/>
              </a:spcBef>
              <a:buFont typeface="Arial" panose="020B0604020202020204" pitchFamily="34" charset="0"/>
              <a:buChar char="•"/>
              <a:defRPr sz="1500" baseline="0">
                <a:solidFill>
                  <a:schemeClr val="tx2"/>
                </a:solidFill>
              </a:defRPr>
            </a:lvl7pPr>
            <a:lvl8pPr marL="1030288" indent="-173038">
              <a:spcBef>
                <a:spcPts val="600"/>
              </a:spcBef>
              <a:buFont typeface="Arial" panose="020B0604020202020204" pitchFamily="34" charset="0"/>
              <a:buChar char="–"/>
              <a:defRPr sz="1500" baseline="0">
                <a:solidFill>
                  <a:schemeClr val="tx2"/>
                </a:solidFill>
              </a:defRPr>
            </a:lvl8pPr>
            <a:lvl9pPr marL="1203325" indent="-173038">
              <a:spcBef>
                <a:spcPts val="600"/>
              </a:spcBef>
              <a:buFont typeface="Arial" panose="020B0604020202020204" pitchFamily="34" charset="0"/>
              <a:buChar char="•"/>
              <a:defRPr sz="1500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12166084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out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649224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one-column layout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76585"/>
            <a:ext cx="8588453" cy="3977640"/>
          </a:xfrm>
        </p:spPr>
        <p:txBody>
          <a:bodyPr/>
          <a:lstStyle>
            <a:lvl1pPr>
              <a:defRPr sz="1500" cap="none" baseline="0">
                <a:solidFill>
                  <a:schemeClr val="tx2"/>
                </a:solidFill>
              </a:defRPr>
            </a:lvl1pPr>
            <a:lvl2pPr marL="171450" indent="-171450">
              <a:defRPr sz="1500">
                <a:solidFill>
                  <a:schemeClr val="tx2"/>
                </a:solidFill>
              </a:defRPr>
            </a:lvl2pPr>
            <a:lvl3pPr marL="347663" indent="-176213">
              <a:spcBef>
                <a:spcPts val="600"/>
              </a:spcBef>
              <a:buFont typeface="Arial" panose="020B0604020202020204" pitchFamily="34" charset="0"/>
              <a:buChar char="–"/>
              <a:defRPr sz="1500">
                <a:solidFill>
                  <a:schemeClr val="tx2"/>
                </a:solidFill>
              </a:defRPr>
            </a:lvl3pPr>
            <a:lvl4pPr marL="509588" indent="-161925">
              <a:spcBef>
                <a:spcPts val="600"/>
              </a:spcBef>
              <a:defRPr sz="1500">
                <a:solidFill>
                  <a:schemeClr val="tx2"/>
                </a:solidFill>
              </a:defRPr>
            </a:lvl4pPr>
            <a:lvl5pPr marL="682625" indent="-173038">
              <a:spcBef>
                <a:spcPts val="600"/>
              </a:spcBef>
              <a:defRPr sz="1500">
                <a:solidFill>
                  <a:schemeClr val="tx2"/>
                </a:solidFill>
              </a:defRPr>
            </a:lvl5pPr>
            <a:lvl6pPr marL="857250" indent="-174625">
              <a:defRPr sz="1500"/>
            </a:lvl6pPr>
            <a:lvl7pPr marL="1030288" indent="-173038">
              <a:spcBef>
                <a:spcPts val="600"/>
              </a:spcBef>
              <a:buFont typeface="Arial" panose="020B0604020202020204" pitchFamily="34" charset="0"/>
              <a:buChar char="–"/>
              <a:defRPr sz="1500" baseline="0">
                <a:solidFill>
                  <a:schemeClr val="tx2"/>
                </a:solidFill>
              </a:defRPr>
            </a:lvl7pPr>
            <a:lvl8pPr marL="1203325" indent="-174625">
              <a:spcBef>
                <a:spcPts val="600"/>
              </a:spcBef>
              <a:buFont typeface="Arial" panose="020B0604020202020204" pitchFamily="34" charset="0"/>
              <a:buChar char="•"/>
              <a:defRPr sz="1500">
                <a:solidFill>
                  <a:schemeClr val="tx2"/>
                </a:solidFill>
              </a:defRPr>
            </a:lvl8pPr>
            <a:lvl9pPr marL="1377950" indent="-174625">
              <a:spcBef>
                <a:spcPts val="600"/>
              </a:spcBef>
              <a:buFont typeface="Arial" panose="020B0604020202020204" pitchFamily="34" charset="0"/>
              <a:buChar char="–"/>
              <a:defRPr sz="1500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43076375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649224"/>
            <a:ext cx="9667726" cy="7132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5395855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4297274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ssi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80C78D-4F6B-45F8-AB04-A56A0B1F36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929" y="-347472"/>
            <a:ext cx="9667726" cy="262719"/>
          </a:xfrm>
        </p:spPr>
        <p:txBody>
          <a:bodyPr anchor="b"/>
          <a:lstStyle>
            <a:lvl1pPr>
              <a:defRPr sz="1400"/>
            </a:lvl1pPr>
          </a:lstStyle>
          <a:p>
            <a:r>
              <a:rPr lang="en-US"/>
              <a:t>Title for slide built on the blank accessibility master</a:t>
            </a:r>
          </a:p>
        </p:txBody>
      </p:sp>
    </p:spTree>
    <p:extLst>
      <p:ext uri="{BB962C8B-B14F-4D97-AF65-F5344CB8AC3E}">
        <p14:creationId xmlns:p14="http://schemas.microsoft.com/office/powerpoint/2010/main" val="128447229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649224"/>
            <a:ext cx="9667726" cy="7132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for two-column layout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5" hasCustomPrompt="1"/>
          </p:nvPr>
        </p:nvSpPr>
        <p:spPr bwMode="gray">
          <a:xfrm>
            <a:off x="557929" y="1773937"/>
            <a:ext cx="5030510" cy="3984133"/>
          </a:xfrm>
        </p:spPr>
        <p:txBody>
          <a:bodyPr/>
          <a:lstStyle>
            <a:lvl1pPr>
              <a:defRPr sz="2000" b="1" cap="none" baseline="0">
                <a:solidFill>
                  <a:schemeClr val="tx2"/>
                </a:solidFill>
              </a:defRPr>
            </a:lvl1pPr>
            <a:lvl2pPr marL="0" indent="0">
              <a:buFontTx/>
              <a:buNone/>
              <a:defRPr sz="1500">
                <a:solidFill>
                  <a:schemeClr val="tx2"/>
                </a:solidFill>
              </a:defRPr>
            </a:lvl2pPr>
            <a:lvl3pPr marL="173038" indent="-173038">
              <a:spcBef>
                <a:spcPts val="1200"/>
              </a:spcBef>
              <a:buFont typeface="Arial" panose="020B0604020202020204" pitchFamily="34" charset="0"/>
              <a:buChar char="•"/>
              <a:defRPr sz="1500">
                <a:solidFill>
                  <a:schemeClr val="tx2"/>
                </a:solidFill>
              </a:defRPr>
            </a:lvl3pPr>
            <a:lvl4pPr marL="347663" indent="-174625">
              <a:spcBef>
                <a:spcPts val="600"/>
              </a:spcBef>
              <a:buFont typeface="Arial" panose="020B0604020202020204" pitchFamily="34" charset="0"/>
              <a:buChar char="–"/>
              <a:defRPr sz="1500">
                <a:solidFill>
                  <a:schemeClr val="tx2"/>
                </a:solidFill>
              </a:defRPr>
            </a:lvl4pPr>
            <a:lvl5pPr marL="509588" indent="-161925">
              <a:spcBef>
                <a:spcPts val="600"/>
              </a:spcBef>
              <a:buFont typeface="Arial" panose="020B0604020202020204" pitchFamily="34" charset="0"/>
              <a:buChar char="•"/>
              <a:defRPr sz="1500">
                <a:solidFill>
                  <a:schemeClr val="tx2"/>
                </a:solidFill>
              </a:defRPr>
            </a:lvl5pPr>
            <a:lvl6pPr marL="682625" indent="-173038">
              <a:buFont typeface="Arial" panose="020B0604020202020204" pitchFamily="34" charset="0"/>
              <a:buChar char="–"/>
              <a:defRPr sz="1500" baseline="0"/>
            </a:lvl6pPr>
            <a:lvl7pPr marL="857250" indent="-174625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7pPr>
            <a:lvl8pPr marL="1030288" indent="-173038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8pPr>
            <a:lvl9pPr marL="1203325" indent="-173038">
              <a:spcBef>
                <a:spcPts val="600"/>
              </a:spcBef>
              <a:buFont typeface="Arial" panose="020B0604020202020204" pitchFamily="34" charset="0"/>
              <a:buChar char="•"/>
              <a:defRPr sz="1600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6" hasCustomPrompt="1"/>
          </p:nvPr>
        </p:nvSpPr>
        <p:spPr bwMode="gray">
          <a:xfrm>
            <a:off x="6393321" y="1773937"/>
            <a:ext cx="5030510" cy="3984133"/>
          </a:xfrm>
        </p:spPr>
        <p:txBody>
          <a:bodyPr/>
          <a:lstStyle>
            <a:lvl1pPr>
              <a:defRPr sz="2000" b="1" cap="none" baseline="0">
                <a:solidFill>
                  <a:schemeClr val="tx2"/>
                </a:solidFill>
              </a:defRPr>
            </a:lvl1pPr>
            <a:lvl2pPr marL="0" indent="0">
              <a:buFontTx/>
              <a:buNone/>
              <a:defRPr sz="1500">
                <a:solidFill>
                  <a:schemeClr val="tx2"/>
                </a:solidFill>
              </a:defRPr>
            </a:lvl2pPr>
            <a:lvl3pPr marL="173038" indent="-173038">
              <a:spcBef>
                <a:spcPts val="1200"/>
              </a:spcBef>
              <a:buFont typeface="Arial" panose="020B0604020202020204" pitchFamily="34" charset="0"/>
              <a:buChar char="•"/>
              <a:defRPr sz="1500">
                <a:solidFill>
                  <a:schemeClr val="tx2"/>
                </a:solidFill>
              </a:defRPr>
            </a:lvl3pPr>
            <a:lvl4pPr marL="347663" indent="-174625">
              <a:spcBef>
                <a:spcPts val="600"/>
              </a:spcBef>
              <a:buFont typeface="Arial" panose="020B0604020202020204" pitchFamily="34" charset="0"/>
              <a:buChar char="–"/>
              <a:defRPr sz="1500">
                <a:solidFill>
                  <a:schemeClr val="tx2"/>
                </a:solidFill>
              </a:defRPr>
            </a:lvl4pPr>
            <a:lvl5pPr marL="509588" indent="-161925">
              <a:spcBef>
                <a:spcPts val="600"/>
              </a:spcBef>
              <a:buFont typeface="Arial" panose="020B0604020202020204" pitchFamily="34" charset="0"/>
              <a:buChar char="•"/>
              <a:defRPr sz="1500">
                <a:solidFill>
                  <a:schemeClr val="tx2"/>
                </a:solidFill>
              </a:defRPr>
            </a:lvl5pPr>
            <a:lvl6pPr marL="682625" indent="-173038">
              <a:buFont typeface="Arial" panose="020B0604020202020204" pitchFamily="34" charset="0"/>
              <a:buChar char="–"/>
              <a:defRPr sz="1500" baseline="0"/>
            </a:lvl6pPr>
            <a:lvl7pPr marL="857250" indent="-174625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7pPr>
            <a:lvl8pPr marL="857250" indent="0">
              <a:spcBef>
                <a:spcPts val="6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8pPr>
            <a:lvl9pPr marL="1203325" indent="-173038">
              <a:spcBef>
                <a:spcPts val="600"/>
              </a:spcBef>
              <a:buFont typeface="Arial" panose="020B0604020202020204" pitchFamily="34" charset="0"/>
              <a:buChar char="•"/>
              <a:defRPr sz="1600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291283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649224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three-column layou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5" hasCustomPrompt="1"/>
          </p:nvPr>
        </p:nvSpPr>
        <p:spPr bwMode="gray">
          <a:xfrm>
            <a:off x="570062" y="1773936"/>
            <a:ext cx="3461080" cy="3975080"/>
          </a:xfrm>
        </p:spPr>
        <p:txBody>
          <a:bodyPr/>
          <a:lstStyle>
            <a:lvl1pPr>
              <a:defRPr sz="2000" b="1" cap="none" baseline="0">
                <a:solidFill>
                  <a:schemeClr val="tx2"/>
                </a:solidFill>
              </a:defRPr>
            </a:lvl1pPr>
            <a:lvl2pPr marL="0" indent="0">
              <a:buFontTx/>
              <a:buNone/>
              <a:defRPr sz="1500">
                <a:solidFill>
                  <a:schemeClr val="tx2"/>
                </a:solidFill>
              </a:defRPr>
            </a:lvl2pPr>
            <a:lvl3pPr marL="173038" indent="-173038">
              <a:spcBef>
                <a:spcPts val="1200"/>
              </a:spcBef>
              <a:buFont typeface="Arial" panose="020B0604020202020204" pitchFamily="34" charset="0"/>
              <a:buChar char="•"/>
              <a:defRPr sz="1500">
                <a:solidFill>
                  <a:schemeClr val="tx2"/>
                </a:solidFill>
              </a:defRPr>
            </a:lvl3pPr>
            <a:lvl4pPr marL="347663" indent="-174625">
              <a:spcBef>
                <a:spcPts val="600"/>
              </a:spcBef>
              <a:buFont typeface="Arial" panose="020B0604020202020204" pitchFamily="34" charset="0"/>
              <a:buChar char="–"/>
              <a:defRPr sz="1500">
                <a:solidFill>
                  <a:schemeClr val="tx2"/>
                </a:solidFill>
              </a:defRPr>
            </a:lvl4pPr>
            <a:lvl5pPr marL="509588" indent="-161925">
              <a:spcBef>
                <a:spcPts val="600"/>
              </a:spcBef>
              <a:buFont typeface="Arial" panose="020B0604020202020204" pitchFamily="34" charset="0"/>
              <a:buChar char="•"/>
              <a:defRPr sz="1500">
                <a:solidFill>
                  <a:schemeClr val="tx2"/>
                </a:solidFill>
              </a:defRPr>
            </a:lvl5pPr>
            <a:lvl6pPr marL="682625" indent="-173038">
              <a:buFont typeface="Arial" panose="020B0604020202020204" pitchFamily="34" charset="0"/>
              <a:buChar char="–"/>
              <a:defRPr sz="1500"/>
            </a:lvl6pPr>
            <a:lvl7pPr marL="857250" indent="-174625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7pPr>
            <a:lvl8pPr marL="1030288" indent="-173038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8pPr>
            <a:lvl9pPr marL="1203325" indent="-173038">
              <a:spcBef>
                <a:spcPts val="600"/>
              </a:spcBef>
              <a:buFont typeface="Arial" panose="020B0604020202020204" pitchFamily="34" charset="0"/>
              <a:buChar char="•"/>
              <a:defRPr sz="1600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6" hasCustomPrompt="1"/>
          </p:nvPr>
        </p:nvSpPr>
        <p:spPr bwMode="gray">
          <a:xfrm>
            <a:off x="4362277" y="1773936"/>
            <a:ext cx="3461080" cy="3975080"/>
          </a:xfrm>
        </p:spPr>
        <p:txBody>
          <a:bodyPr/>
          <a:lstStyle>
            <a:lvl1pPr>
              <a:defRPr sz="2000" b="1" cap="none" baseline="0">
                <a:solidFill>
                  <a:schemeClr val="tx2"/>
                </a:solidFill>
              </a:defRPr>
            </a:lvl1pPr>
            <a:lvl2pPr marL="0" indent="0">
              <a:buFontTx/>
              <a:buNone/>
              <a:defRPr sz="1500">
                <a:solidFill>
                  <a:schemeClr val="tx2"/>
                </a:solidFill>
              </a:defRPr>
            </a:lvl2pPr>
            <a:lvl3pPr marL="173038" indent="-173038">
              <a:spcBef>
                <a:spcPts val="1200"/>
              </a:spcBef>
              <a:buFont typeface="Arial" panose="020B0604020202020204" pitchFamily="34" charset="0"/>
              <a:buChar char="•"/>
              <a:defRPr sz="1500">
                <a:solidFill>
                  <a:schemeClr val="tx2"/>
                </a:solidFill>
              </a:defRPr>
            </a:lvl3pPr>
            <a:lvl4pPr marL="347663" indent="-174625">
              <a:spcBef>
                <a:spcPts val="600"/>
              </a:spcBef>
              <a:buFont typeface="Arial" panose="020B0604020202020204" pitchFamily="34" charset="0"/>
              <a:buChar char="–"/>
              <a:defRPr sz="1500">
                <a:solidFill>
                  <a:schemeClr val="tx2"/>
                </a:solidFill>
              </a:defRPr>
            </a:lvl4pPr>
            <a:lvl5pPr marL="509588" indent="-161925">
              <a:spcBef>
                <a:spcPts val="600"/>
              </a:spcBef>
              <a:buFont typeface="Arial" panose="020B0604020202020204" pitchFamily="34" charset="0"/>
              <a:buChar char="•"/>
              <a:defRPr sz="1500">
                <a:solidFill>
                  <a:schemeClr val="tx2"/>
                </a:solidFill>
              </a:defRPr>
            </a:lvl5pPr>
            <a:lvl6pPr marL="682625" indent="-173038">
              <a:buFont typeface="Arial" panose="020B0604020202020204" pitchFamily="34" charset="0"/>
              <a:buChar char="–"/>
              <a:defRPr sz="1500" baseline="0"/>
            </a:lvl6pPr>
            <a:lvl7pPr marL="857250" indent="-174625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7pPr>
            <a:lvl8pPr marL="1030288" indent="-173038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8pPr>
            <a:lvl9pPr marL="1203325" indent="-174625">
              <a:spcBef>
                <a:spcPts val="600"/>
              </a:spcBef>
              <a:buFont typeface="Arial" panose="020B0604020202020204" pitchFamily="34" charset="0"/>
              <a:buChar char="•"/>
              <a:defRPr sz="1600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7" hasCustomPrompt="1"/>
          </p:nvPr>
        </p:nvSpPr>
        <p:spPr bwMode="gray">
          <a:xfrm>
            <a:off x="8154491" y="1773936"/>
            <a:ext cx="3461080" cy="3975080"/>
          </a:xfrm>
        </p:spPr>
        <p:txBody>
          <a:bodyPr/>
          <a:lstStyle>
            <a:lvl1pPr>
              <a:defRPr sz="2000" b="1" cap="none" baseline="0">
                <a:solidFill>
                  <a:schemeClr val="tx2"/>
                </a:solidFill>
              </a:defRPr>
            </a:lvl1pPr>
            <a:lvl2pPr marL="0" indent="0">
              <a:buFontTx/>
              <a:buNone/>
              <a:defRPr sz="1500">
                <a:solidFill>
                  <a:schemeClr val="tx2"/>
                </a:solidFill>
              </a:defRPr>
            </a:lvl2pPr>
            <a:lvl3pPr marL="173038" indent="-173038">
              <a:spcBef>
                <a:spcPts val="1200"/>
              </a:spcBef>
              <a:buFont typeface="Arial" panose="020B0604020202020204" pitchFamily="34" charset="0"/>
              <a:buChar char="•"/>
              <a:defRPr sz="1500">
                <a:solidFill>
                  <a:schemeClr val="tx2"/>
                </a:solidFill>
              </a:defRPr>
            </a:lvl3pPr>
            <a:lvl4pPr marL="347663" indent="-174625">
              <a:spcBef>
                <a:spcPts val="600"/>
              </a:spcBef>
              <a:buFont typeface="Arial" panose="020B0604020202020204" pitchFamily="34" charset="0"/>
              <a:buChar char="–"/>
              <a:defRPr sz="1500">
                <a:solidFill>
                  <a:schemeClr val="tx2"/>
                </a:solidFill>
              </a:defRPr>
            </a:lvl4pPr>
            <a:lvl5pPr marL="509588" indent="-161925">
              <a:spcBef>
                <a:spcPts val="600"/>
              </a:spcBef>
              <a:buFont typeface="Arial" panose="020B0604020202020204" pitchFamily="34" charset="0"/>
              <a:buChar char="•"/>
              <a:defRPr sz="1500">
                <a:solidFill>
                  <a:schemeClr val="tx2"/>
                </a:solidFill>
              </a:defRPr>
            </a:lvl5pPr>
            <a:lvl6pPr marL="682625" indent="-173038">
              <a:buFont typeface="Arial" panose="020B0604020202020204" pitchFamily="34" charset="0"/>
              <a:buChar char="–"/>
              <a:defRPr sz="1500"/>
            </a:lvl6pPr>
            <a:lvl7pPr marL="682625" indent="0">
              <a:spcBef>
                <a:spcPts val="6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7pPr>
            <a:lvl8pPr marL="1030288" indent="-173038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8pPr>
            <a:lvl9pPr marL="1203325" indent="-174625">
              <a:spcBef>
                <a:spcPts val="600"/>
              </a:spcBef>
              <a:buFont typeface="Arial" panose="020B0604020202020204" pitchFamily="34" charset="0"/>
              <a:buChar char="•"/>
              <a:defRPr sz="1600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75757263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649224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four-column layou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29" y="1773845"/>
            <a:ext cx="2506109" cy="3988781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20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sz="1500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5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sz="1500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sz="1500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 sz="1500">
                <a:solidFill>
                  <a:schemeClr val="tx2"/>
                </a:solidFill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2" hasCustomPrompt="1"/>
          </p:nvPr>
        </p:nvSpPr>
        <p:spPr bwMode="gray">
          <a:xfrm>
            <a:off x="3406743" y="1773845"/>
            <a:ext cx="2506109" cy="3988781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2000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sz="1500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5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sz="1500" dirty="0" smtClean="0">
                <a:solidFill>
                  <a:schemeClr val="tx2"/>
                </a:solidFill>
              </a:defRPr>
            </a:lvl4pPr>
            <a:lvl5pPr marL="511175" indent="-163513">
              <a:buClr>
                <a:schemeClr val="tx1"/>
              </a:buClr>
              <a:buFont typeface="Arial" panose="020B0604020202020204" pitchFamily="34" charset="0"/>
              <a:buChar char="•"/>
              <a:defRPr lang="en-US" sz="1500" baseline="0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 sz="1500">
                <a:solidFill>
                  <a:schemeClr val="tx2"/>
                </a:solidFill>
              </a:defRPr>
            </a:lvl6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8" hasCustomPrompt="1"/>
          </p:nvPr>
        </p:nvSpPr>
        <p:spPr bwMode="gray">
          <a:xfrm>
            <a:off x="6255557" y="1773845"/>
            <a:ext cx="2506109" cy="3988781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2000" b="1" cap="none" baseline="0" dirty="0" smtClean="0">
                <a:solidFill>
                  <a:schemeClr val="tx2"/>
                </a:solidFill>
              </a:defRPr>
            </a:lvl1pPr>
            <a:lvl2pPr marL="0" indent="0" algn="l">
              <a:buClr>
                <a:schemeClr val="tx1"/>
              </a:buClr>
              <a:buNone/>
              <a:defRPr lang="en-US" sz="1500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5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sz="1500" dirty="0" smtClean="0">
                <a:solidFill>
                  <a:schemeClr val="tx2"/>
                </a:solidFill>
              </a:defRPr>
            </a:lvl4pPr>
            <a:lvl5pPr marL="511175" indent="-165100">
              <a:buClr>
                <a:schemeClr val="tx1"/>
              </a:buClr>
              <a:buFont typeface="Arial" panose="020B0604020202020204" pitchFamily="34" charset="0"/>
              <a:buChar char="•"/>
              <a:defRPr lang="en-US" sz="1500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 sz="1500">
                <a:solidFill>
                  <a:schemeClr val="tx2"/>
                </a:solidFill>
              </a:defRPr>
            </a:lvl6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half" idx="23" hasCustomPrompt="1"/>
          </p:nvPr>
        </p:nvSpPr>
        <p:spPr bwMode="gray">
          <a:xfrm>
            <a:off x="9104371" y="1773845"/>
            <a:ext cx="2506109" cy="3988781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2000" b="1" cap="none" baseline="0" dirty="0" smtClean="0">
                <a:solidFill>
                  <a:schemeClr val="tx2"/>
                </a:solidFill>
              </a:defRPr>
            </a:lvl1pPr>
            <a:lvl2pPr marL="0" indent="0" algn="l">
              <a:buClr>
                <a:schemeClr val="tx1"/>
              </a:buClr>
              <a:buNone/>
              <a:defRPr lang="en-US" sz="1500" dirty="0" smtClean="0">
                <a:solidFill>
                  <a:schemeClr val="tx2"/>
                </a:solidFill>
              </a:defRPr>
            </a:lvl2pPr>
            <a:lvl3pPr marL="174625" indent="-174625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500" dirty="0" smtClean="0">
                <a:solidFill>
                  <a:schemeClr val="tx2"/>
                </a:solidFill>
              </a:defRPr>
            </a:lvl3pPr>
            <a:lvl4pPr marL="347663" indent="-173038">
              <a:buClr>
                <a:schemeClr val="tx1"/>
              </a:buClr>
              <a:buFont typeface="Arial" panose="020B0604020202020204" pitchFamily="34" charset="0"/>
              <a:buChar char="–"/>
              <a:defRPr lang="en-US" sz="1500" dirty="0" smtClean="0">
                <a:solidFill>
                  <a:schemeClr val="tx2"/>
                </a:solidFill>
              </a:defRPr>
            </a:lvl4pPr>
            <a:lvl5pPr marL="511175" indent="-165100">
              <a:buClr>
                <a:schemeClr val="tx1"/>
              </a:buClr>
              <a:buFont typeface="Arial" panose="020B0604020202020204" pitchFamily="34" charset="0"/>
              <a:buChar char="•"/>
              <a:defRPr lang="en-US" sz="1500" dirty="0">
                <a:solidFill>
                  <a:schemeClr val="tx2"/>
                </a:solidFill>
              </a:defRPr>
            </a:lvl5pPr>
            <a:lvl6pPr marL="685800" indent="-174625">
              <a:buClr>
                <a:schemeClr val="tx1"/>
              </a:buClr>
              <a:buFont typeface="Arial" panose="020B0604020202020204" pitchFamily="34" charset="0"/>
              <a:buChar char="–"/>
              <a:defRPr sz="1500">
                <a:solidFill>
                  <a:schemeClr val="tx2"/>
                </a:solidFill>
              </a:defRPr>
            </a:lvl6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8252169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B315D-49DF-4CF2-B662-DA3921EAFB06}" type="datetime1">
              <a:rPr lang="en-US" smtClean="0"/>
              <a:t>6/27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- Gra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81001" y="384048"/>
            <a:ext cx="11430000" cy="5724144"/>
          </a:xfrm>
          <a:prstGeom prst="rect">
            <a:avLst/>
          </a:prstGeom>
          <a:solidFill>
            <a:srgbClr val="E9E9E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182880" rIns="2743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>
              <a:solidFill>
                <a:schemeClr val="accent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3418" y="649224"/>
            <a:ext cx="9667726" cy="7132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1182845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6EB6C09C-1569-4654-BB41-00C9680D23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929" y="649224"/>
            <a:ext cx="10382997" cy="767080"/>
          </a:xfrm>
        </p:spPr>
        <p:txBody>
          <a:bodyPr anchor="t"/>
          <a:lstStyle>
            <a:lvl1pPr>
              <a:defRPr baseline="0"/>
            </a:lvl1pPr>
          </a:lstStyle>
          <a:p>
            <a:r>
              <a:rPr lang="en-US"/>
              <a:t>Click to add title for three-column with text and pictograms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876397E4-B71C-46AA-956F-3D980F86C3D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114332" y="3474720"/>
            <a:ext cx="2926080" cy="2278380"/>
          </a:xfrm>
        </p:spPr>
        <p:txBody>
          <a:bodyPr/>
          <a:lstStyle>
            <a:lvl1pPr algn="ctr">
              <a:spcBef>
                <a:spcPts val="1200"/>
              </a:spcBef>
              <a:defRPr sz="2000" b="1"/>
            </a:lvl1pPr>
            <a:lvl2pPr marL="0" indent="0" algn="ctr">
              <a:spcBef>
                <a:spcPts val="1200"/>
              </a:spcBef>
              <a:buFontTx/>
              <a:buNone/>
              <a:defRPr sz="1500" baseline="0"/>
            </a:lvl2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Desc	</a:t>
            </a:r>
            <a:r>
              <a:rPr lang="en-US" err="1"/>
              <a:t>riptor</a:t>
            </a:r>
            <a:r>
              <a:rPr lang="en-US"/>
              <a:t> text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69553113-2B4B-401B-B370-4B3C744FACE9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629476" y="3474720"/>
            <a:ext cx="2926080" cy="2278380"/>
          </a:xfrm>
        </p:spPr>
        <p:txBody>
          <a:bodyPr/>
          <a:lstStyle>
            <a:lvl1pPr algn="ctr">
              <a:spcBef>
                <a:spcPts val="1200"/>
              </a:spcBef>
              <a:defRPr sz="2000" b="1"/>
            </a:lvl1pPr>
            <a:lvl2pPr marL="0" indent="0" algn="ctr">
              <a:spcBef>
                <a:spcPts val="1200"/>
              </a:spcBef>
              <a:buFontTx/>
              <a:buNone/>
              <a:defRPr sz="1500"/>
            </a:lvl2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Descriptor text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357CE74-CA0B-4C5C-9F24-0A4DDE0192E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144620" y="3474720"/>
            <a:ext cx="2926080" cy="2278380"/>
          </a:xfrm>
        </p:spPr>
        <p:txBody>
          <a:bodyPr/>
          <a:lstStyle>
            <a:lvl1pPr algn="ctr">
              <a:spcBef>
                <a:spcPts val="1200"/>
              </a:spcBef>
              <a:defRPr sz="2000" b="1"/>
            </a:lvl1pPr>
            <a:lvl2pPr marL="0" indent="0" algn="ctr">
              <a:spcBef>
                <a:spcPts val="1200"/>
              </a:spcBef>
              <a:buFontTx/>
              <a:buNone/>
              <a:defRPr sz="1500"/>
            </a:lvl2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Descriptor text</a:t>
            </a:r>
          </a:p>
        </p:txBody>
      </p:sp>
    </p:spTree>
    <p:extLst>
      <p:ext uri="{BB962C8B-B14F-4D97-AF65-F5344CB8AC3E}">
        <p14:creationId xmlns:p14="http://schemas.microsoft.com/office/powerpoint/2010/main" val="149357071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 with Journ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5">
            <a:extLst>
              <a:ext uri="{FF2B5EF4-FFF2-40B4-BE49-F238E27FC236}">
                <a16:creationId xmlns:a16="http://schemas.microsoft.com/office/drawing/2014/main" id="{36CF014F-B23E-4DD0-8A88-40A65BDAD14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1001" y="384048"/>
            <a:ext cx="11430000" cy="5723065"/>
          </a:xfr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26009B7-5F33-4D7E-A4F7-6CA681DDEE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3417" y="645676"/>
            <a:ext cx="9590735" cy="501558"/>
          </a:xfrm>
        </p:spPr>
        <p:txBody>
          <a:bodyPr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 for five-column journey layout</a:t>
            </a:r>
          </a:p>
        </p:txBody>
      </p:sp>
      <p:sp>
        <p:nvSpPr>
          <p:cNvPr id="10" name="Text Placeholder 26">
            <a:extLst>
              <a:ext uri="{FF2B5EF4-FFF2-40B4-BE49-F238E27FC236}">
                <a16:creationId xmlns:a16="http://schemas.microsoft.com/office/drawing/2014/main" id="{956EEDF9-B18F-4AFB-9E04-CA990EBDD6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3418" y="1147235"/>
            <a:ext cx="4502150" cy="663575"/>
          </a:xfrm>
        </p:spPr>
        <p:txBody>
          <a:bodyPr>
            <a:noAutofit/>
          </a:bodyPr>
          <a:lstStyle>
            <a:lvl1pPr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7C11469D-9EC8-4519-836A-687F6608159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75002" y="3794760"/>
            <a:ext cx="11442124" cy="2312352"/>
          </a:xfrm>
          <a:solidFill>
            <a:srgbClr val="FFFFFF">
              <a:alpha val="89804"/>
            </a:srgbClr>
          </a:solidFill>
        </p:spPr>
        <p:txBody>
          <a:bodyPr lIns="731520" tIns="292608" rIns="9144000" bIns="365760"/>
          <a:lstStyle>
            <a:lvl1pPr>
              <a:defRPr sz="2000" b="1"/>
            </a:lvl1pPr>
            <a:lvl2pPr marL="0" indent="0">
              <a:buFontTx/>
              <a:buNone/>
              <a:defRPr sz="1500"/>
            </a:lvl2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Descriptor text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0A75E45-8148-442F-822D-E9C73BA8CBE6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181494" y="4087368"/>
            <a:ext cx="1554480" cy="1647866"/>
          </a:xfrm>
        </p:spPr>
        <p:txBody>
          <a:bodyPr/>
          <a:lstStyle>
            <a:lvl1pPr>
              <a:defRPr sz="2000" b="1"/>
            </a:lvl1pPr>
            <a:lvl2pPr marL="0" indent="0">
              <a:buFontTx/>
              <a:buNone/>
              <a:defRPr sz="1500"/>
            </a:lvl2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Descriptor text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1E5F229D-5445-4481-B37A-7C803D7A4E2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292104" y="4087368"/>
            <a:ext cx="1554480" cy="1647866"/>
          </a:xfrm>
        </p:spPr>
        <p:txBody>
          <a:bodyPr/>
          <a:lstStyle>
            <a:lvl1pPr>
              <a:defRPr sz="2000" b="1"/>
            </a:lvl1pPr>
            <a:lvl2pPr marL="0" indent="0">
              <a:buFontTx/>
              <a:buNone/>
              <a:defRPr sz="1500"/>
            </a:lvl2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Descriptor text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13FBD4EE-F77B-494E-85B2-43537170634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7410332" y="4087368"/>
            <a:ext cx="1552597" cy="1647866"/>
          </a:xfrm>
        </p:spPr>
        <p:txBody>
          <a:bodyPr/>
          <a:lstStyle>
            <a:lvl1pPr>
              <a:defRPr sz="2000" b="1"/>
            </a:lvl1pPr>
            <a:lvl2pPr marL="0" indent="0">
              <a:buFontTx/>
              <a:buNone/>
              <a:defRPr sz="1500"/>
            </a:lvl2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Descriptor text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ABAA180E-9385-446C-8FE0-5A75D6AC5FA7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9522127" y="4087368"/>
            <a:ext cx="1600200" cy="1647866"/>
          </a:xfrm>
        </p:spPr>
        <p:txBody>
          <a:bodyPr/>
          <a:lstStyle>
            <a:lvl1pPr>
              <a:defRPr sz="2000" b="1"/>
            </a:lvl1pPr>
            <a:lvl2pPr marL="0" indent="0">
              <a:buFontTx/>
              <a:buNone/>
              <a:defRPr sz="1500"/>
            </a:lvl2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Descriptor text</a:t>
            </a:r>
          </a:p>
        </p:txBody>
      </p:sp>
    </p:spTree>
    <p:extLst>
      <p:ext uri="{BB962C8B-B14F-4D97-AF65-F5344CB8AC3E}">
        <p14:creationId xmlns:p14="http://schemas.microsoft.com/office/powerpoint/2010/main" val="234050712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imag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1" y="1"/>
            <a:ext cx="12192000" cy="610711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2127" cy="6108192"/>
          </a:xfrm>
          <a:solidFill>
            <a:srgbClr val="0B315E">
              <a:alpha val="69804"/>
            </a:srgbClr>
          </a:solidFill>
        </p:spPr>
        <p:txBody>
          <a:bodyPr rIns="0" anchor="ctr"/>
          <a:lstStyle>
            <a:lvl1pPr algn="ctr"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title for divider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A488A55-A1E3-4589-84A6-891A58FB06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5899151" y="2270492"/>
            <a:ext cx="393699" cy="1554480"/>
            <a:chOff x="5897615" y="2231631"/>
            <a:chExt cx="393596" cy="155448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A3CD6507-4329-43F1-9783-C7A1ED84BBC5}"/>
                </a:ext>
              </a:extLst>
            </p:cNvPr>
            <p:cNvCxnSpPr/>
            <p:nvPr/>
          </p:nvCxnSpPr>
          <p:spPr>
            <a:xfrm>
              <a:off x="5897615" y="2231631"/>
              <a:ext cx="393596" cy="0"/>
            </a:xfrm>
            <a:prstGeom prst="line">
              <a:avLst/>
            </a:prstGeom>
            <a:ln w="25400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2CA169C1-F273-430E-82C8-6CC1089786DA}"/>
                </a:ext>
              </a:extLst>
            </p:cNvPr>
            <p:cNvCxnSpPr/>
            <p:nvPr/>
          </p:nvCxnSpPr>
          <p:spPr>
            <a:xfrm>
              <a:off x="5897615" y="3786111"/>
              <a:ext cx="393596" cy="0"/>
            </a:xfrm>
            <a:prstGeom prst="line">
              <a:avLst/>
            </a:prstGeom>
            <a:ln w="25400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Rectangle 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1" y="6261904"/>
            <a:ext cx="4445836" cy="596096"/>
          </a:xfrm>
          <a:prstGeom prst="rect">
            <a:avLst/>
          </a:prstGeom>
          <a:solidFill>
            <a:schemeClr val="bg1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622379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image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1" y="1"/>
            <a:ext cx="12192000" cy="610711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2127" cy="6108192"/>
          </a:xfrm>
          <a:solidFill>
            <a:schemeClr val="accent6">
              <a:alpha val="69804"/>
            </a:schemeClr>
          </a:solidFill>
        </p:spPr>
        <p:txBody>
          <a:bodyPr rIns="0" anchor="ctr"/>
          <a:lstStyle>
            <a:lvl1pPr algn="ctr"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title for divider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A488A55-A1E3-4589-84A6-891A58FB06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5899151" y="2270492"/>
            <a:ext cx="393699" cy="1554480"/>
            <a:chOff x="5897615" y="2231631"/>
            <a:chExt cx="393596" cy="155448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A3CD6507-4329-43F1-9783-C7A1ED84BBC5}"/>
                </a:ext>
              </a:extLst>
            </p:cNvPr>
            <p:cNvCxnSpPr/>
            <p:nvPr/>
          </p:nvCxnSpPr>
          <p:spPr>
            <a:xfrm>
              <a:off x="5897615" y="2231631"/>
              <a:ext cx="393596" cy="0"/>
            </a:xfrm>
            <a:prstGeom prst="line">
              <a:avLst/>
            </a:prstGeom>
            <a:ln w="25400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2CA169C1-F273-430E-82C8-6CC1089786DA}"/>
                </a:ext>
              </a:extLst>
            </p:cNvPr>
            <p:cNvCxnSpPr/>
            <p:nvPr/>
          </p:nvCxnSpPr>
          <p:spPr>
            <a:xfrm>
              <a:off x="5897615" y="3786111"/>
              <a:ext cx="393596" cy="0"/>
            </a:xfrm>
            <a:prstGeom prst="line">
              <a:avLst/>
            </a:prstGeom>
            <a:ln w="25400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Rectangle 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1" y="6261904"/>
            <a:ext cx="4445836" cy="596096"/>
          </a:xfrm>
          <a:prstGeom prst="rect">
            <a:avLst/>
          </a:prstGeom>
          <a:solidFill>
            <a:schemeClr val="bg1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295539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imag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1" y="1"/>
            <a:ext cx="12192000" cy="610711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2127" cy="6108192"/>
          </a:xfrm>
          <a:solidFill>
            <a:srgbClr val="CC0000">
              <a:alpha val="69804"/>
            </a:srgbClr>
          </a:solidFill>
        </p:spPr>
        <p:txBody>
          <a:bodyPr rIns="0" anchor="ctr"/>
          <a:lstStyle>
            <a:lvl1pPr algn="ctr"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title for divider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A488A55-A1E3-4589-84A6-891A58FB06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5899151" y="2270492"/>
            <a:ext cx="393699" cy="1554480"/>
            <a:chOff x="5897615" y="2231631"/>
            <a:chExt cx="393596" cy="155448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A3CD6507-4329-43F1-9783-C7A1ED84BBC5}"/>
                </a:ext>
              </a:extLst>
            </p:cNvPr>
            <p:cNvCxnSpPr/>
            <p:nvPr/>
          </p:nvCxnSpPr>
          <p:spPr>
            <a:xfrm>
              <a:off x="5897615" y="2231631"/>
              <a:ext cx="393596" cy="0"/>
            </a:xfrm>
            <a:prstGeom prst="line">
              <a:avLst/>
            </a:prstGeom>
            <a:ln w="25400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2CA169C1-F273-430E-82C8-6CC1089786DA}"/>
                </a:ext>
              </a:extLst>
            </p:cNvPr>
            <p:cNvCxnSpPr/>
            <p:nvPr/>
          </p:nvCxnSpPr>
          <p:spPr>
            <a:xfrm>
              <a:off x="5897615" y="3786111"/>
              <a:ext cx="393596" cy="0"/>
            </a:xfrm>
            <a:prstGeom prst="line">
              <a:avLst/>
            </a:prstGeom>
            <a:ln w="25400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Rectangle 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1" y="6261904"/>
            <a:ext cx="4445836" cy="596096"/>
          </a:xfrm>
          <a:prstGeom prst="rect">
            <a:avLst/>
          </a:prstGeom>
          <a:solidFill>
            <a:schemeClr val="bg1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113717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ACFC0F26-4E67-4EDB-ACED-2ED5F906E1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2111" y="3022967"/>
            <a:ext cx="5727776" cy="812066"/>
          </a:xfrm>
        </p:spPr>
        <p:txBody>
          <a:bodyPr rIns="0" anchor="ctr"/>
          <a:lstStyle>
            <a:lvl1pPr algn="ctr">
              <a:defRPr sz="3200" b="1">
                <a:solidFill>
                  <a:srgbClr val="CC0000"/>
                </a:solidFill>
                <a:latin typeface="+mj-lt"/>
              </a:defRPr>
            </a:lvl1pPr>
          </a:lstStyle>
          <a:p>
            <a:r>
              <a:rPr lang="en-US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171665548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D9B9F9A-FCC1-487F-A35A-27946C6D369F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B31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9A4C26F9-22AB-4BCE-80DC-4FD8A04F1C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2111" y="3022967"/>
            <a:ext cx="5727776" cy="812066"/>
          </a:xfrm>
        </p:spPr>
        <p:txBody>
          <a:bodyPr rIns="0" anchor="ctr"/>
          <a:lstStyle>
            <a:lvl1pPr algn="ctr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106502436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D332E9A-2793-4275-87C3-72545F39F056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2007753-D7EB-4BFE-A27E-3FBBFEDE22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2111" y="3022967"/>
            <a:ext cx="5727776" cy="812066"/>
          </a:xfrm>
        </p:spPr>
        <p:txBody>
          <a:bodyPr rIns="0" anchor="ctr"/>
          <a:lstStyle>
            <a:lvl1pPr algn="ctr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title for divider</a:t>
            </a:r>
          </a:p>
        </p:txBody>
      </p:sp>
    </p:spTree>
    <p:extLst>
      <p:ext uri="{BB962C8B-B14F-4D97-AF65-F5344CB8AC3E}">
        <p14:creationId xmlns:p14="http://schemas.microsoft.com/office/powerpoint/2010/main" val="376263370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left red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5">
            <a:extLst>
              <a:ext uri="{FF2B5EF4-FFF2-40B4-BE49-F238E27FC236}">
                <a16:creationId xmlns:a16="http://schemas.microsoft.com/office/drawing/2014/main" id="{D01347EA-A5E7-49A1-A514-68318CFEBCF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4148" y="384048"/>
            <a:ext cx="11432977" cy="5724144"/>
          </a:xfrm>
          <a:solidFill>
            <a:schemeClr val="bg1">
              <a:lumMod val="75000"/>
            </a:schemeClr>
          </a:solidFill>
        </p:spPr>
        <p:txBody>
          <a:bodyPr rIns="228600"/>
          <a:lstStyle>
            <a:lvl1pPr algn="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02D166E-0ECA-42FC-92B4-4E1210F30C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442" y="0"/>
            <a:ext cx="5318557" cy="5724144"/>
          </a:xfrm>
          <a:solidFill>
            <a:srgbClr val="CC0000">
              <a:alpha val="74902"/>
            </a:srgbClr>
          </a:solidFill>
        </p:spPr>
        <p:txBody>
          <a:bodyPr lIns="566928" tIns="822960" rIns="182880" bIns="182880" anchor="t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1844AFB-2CD7-4A47-A791-8BD9C1F3A6E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1344518" y="2103120"/>
            <a:ext cx="4115872" cy="3154680"/>
          </a:xfrm>
        </p:spPr>
        <p:txBody>
          <a:bodyPr/>
          <a:lstStyle>
            <a:lvl1pPr>
              <a:defRPr sz="1500" cap="none" baseline="0">
                <a:solidFill>
                  <a:schemeClr val="bg1"/>
                </a:solidFill>
              </a:defRPr>
            </a:lvl1pPr>
            <a:lvl2pPr marL="171450" indent="-171450">
              <a:defRPr sz="1500">
                <a:solidFill>
                  <a:schemeClr val="bg1"/>
                </a:solidFill>
              </a:defRPr>
            </a:lvl2pPr>
            <a:lvl3pPr marL="347663" indent="-176213">
              <a:spcBef>
                <a:spcPts val="600"/>
              </a:spcBef>
              <a:buFont typeface="Arial" panose="020B0604020202020204" pitchFamily="34" charset="0"/>
              <a:buChar char="–"/>
              <a:defRPr sz="1500">
                <a:solidFill>
                  <a:schemeClr val="bg1"/>
                </a:solidFill>
              </a:defRPr>
            </a:lvl3pPr>
            <a:lvl4pPr marL="509588" indent="-161925">
              <a:spcBef>
                <a:spcPts val="600"/>
              </a:spcBef>
              <a:defRPr sz="1500">
                <a:solidFill>
                  <a:schemeClr val="bg1"/>
                </a:solidFill>
              </a:defRPr>
            </a:lvl4pPr>
            <a:lvl5pPr marL="682625" indent="-173038">
              <a:spcBef>
                <a:spcPts val="600"/>
              </a:spcBef>
              <a:defRPr sz="1500">
                <a:solidFill>
                  <a:schemeClr val="bg1"/>
                </a:solidFill>
              </a:defRPr>
            </a:lvl5pPr>
            <a:lvl6pPr marL="857250" indent="-174625">
              <a:defRPr sz="1500">
                <a:solidFill>
                  <a:schemeClr val="bg1"/>
                </a:solidFill>
              </a:defRPr>
            </a:lvl6pPr>
            <a:lvl7pPr marL="1030288" indent="-173038">
              <a:spcBef>
                <a:spcPts val="600"/>
              </a:spcBef>
              <a:buFont typeface="Arial" panose="020B0604020202020204" pitchFamily="34" charset="0"/>
              <a:buChar char="–"/>
              <a:defRPr sz="1500" baseline="0">
                <a:solidFill>
                  <a:schemeClr val="bg1"/>
                </a:solidFill>
              </a:defRPr>
            </a:lvl7pPr>
            <a:lvl8pPr marL="1203325" indent="-174625">
              <a:spcBef>
                <a:spcPts val="600"/>
              </a:spcBef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</a:defRPr>
            </a:lvl8pPr>
            <a:lvl9pPr marL="1377950" indent="-174625">
              <a:spcBef>
                <a:spcPts val="600"/>
              </a:spcBef>
              <a:buFont typeface="Arial" panose="020B0604020202020204" pitchFamily="34" charset="0"/>
              <a:buChar char="–"/>
              <a:defRPr sz="1500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6270248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50" Type="http://schemas.openxmlformats.org/officeDocument/2006/relationships/slideLayout" Target="../slideLayouts/slideLayout61.xml"/><Relationship Id="rId55" Type="http://schemas.openxmlformats.org/officeDocument/2006/relationships/slideLayout" Target="../slideLayouts/slideLayout66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slideLayout" Target="../slideLayouts/slideLayout64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slideLayout" Target="../slideLayouts/slideLayout63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56" Type="http://schemas.openxmlformats.org/officeDocument/2006/relationships/theme" Target="../theme/theme2.xml"/><Relationship Id="rId8" Type="http://schemas.openxmlformats.org/officeDocument/2006/relationships/slideLayout" Target="../slideLayouts/slideLayout19.xml"/><Relationship Id="rId51" Type="http://schemas.openxmlformats.org/officeDocument/2006/relationships/slideLayout" Target="../slideLayouts/slideLayout62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54" Type="http://schemas.openxmlformats.org/officeDocument/2006/relationships/slideLayout" Target="../slideLayouts/slideLayout65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0.xml"/><Relationship Id="rId18" Type="http://schemas.openxmlformats.org/officeDocument/2006/relationships/slideLayout" Target="../slideLayouts/slideLayout95.xml"/><Relationship Id="rId26" Type="http://schemas.openxmlformats.org/officeDocument/2006/relationships/slideLayout" Target="../slideLayouts/slideLayout103.xml"/><Relationship Id="rId39" Type="http://schemas.openxmlformats.org/officeDocument/2006/relationships/slideLayout" Target="../slideLayouts/slideLayout116.xml"/><Relationship Id="rId21" Type="http://schemas.openxmlformats.org/officeDocument/2006/relationships/slideLayout" Target="../slideLayouts/slideLayout98.xml"/><Relationship Id="rId34" Type="http://schemas.openxmlformats.org/officeDocument/2006/relationships/slideLayout" Target="../slideLayouts/slideLayout111.xml"/><Relationship Id="rId42" Type="http://schemas.openxmlformats.org/officeDocument/2006/relationships/slideLayout" Target="../slideLayouts/slideLayout119.xml"/><Relationship Id="rId47" Type="http://schemas.openxmlformats.org/officeDocument/2006/relationships/oleObject" Target="../embeddings/oleObject1.bin"/><Relationship Id="rId50" Type="http://schemas.openxmlformats.org/officeDocument/2006/relationships/image" Target="../media/image13.svg"/><Relationship Id="rId7" Type="http://schemas.openxmlformats.org/officeDocument/2006/relationships/slideLayout" Target="../slideLayouts/slideLayout84.xml"/><Relationship Id="rId2" Type="http://schemas.openxmlformats.org/officeDocument/2006/relationships/slideLayout" Target="../slideLayouts/slideLayout79.xml"/><Relationship Id="rId16" Type="http://schemas.openxmlformats.org/officeDocument/2006/relationships/slideLayout" Target="../slideLayouts/slideLayout93.xml"/><Relationship Id="rId29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88.xml"/><Relationship Id="rId24" Type="http://schemas.openxmlformats.org/officeDocument/2006/relationships/slideLayout" Target="../slideLayouts/slideLayout101.xml"/><Relationship Id="rId32" Type="http://schemas.openxmlformats.org/officeDocument/2006/relationships/slideLayout" Target="../slideLayouts/slideLayout109.xml"/><Relationship Id="rId37" Type="http://schemas.openxmlformats.org/officeDocument/2006/relationships/slideLayout" Target="../slideLayouts/slideLayout114.xml"/><Relationship Id="rId40" Type="http://schemas.openxmlformats.org/officeDocument/2006/relationships/slideLayout" Target="../slideLayouts/slideLayout117.xml"/><Relationship Id="rId45" Type="http://schemas.openxmlformats.org/officeDocument/2006/relationships/theme" Target="../theme/theme4.xml"/><Relationship Id="rId5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2.xml"/><Relationship Id="rId23" Type="http://schemas.openxmlformats.org/officeDocument/2006/relationships/slideLayout" Target="../slideLayouts/slideLayout100.xml"/><Relationship Id="rId28" Type="http://schemas.openxmlformats.org/officeDocument/2006/relationships/slideLayout" Target="../slideLayouts/slideLayout105.xml"/><Relationship Id="rId36" Type="http://schemas.openxmlformats.org/officeDocument/2006/relationships/slideLayout" Target="../slideLayouts/slideLayout113.xml"/><Relationship Id="rId49" Type="http://schemas.openxmlformats.org/officeDocument/2006/relationships/image" Target="../media/image12.png"/><Relationship Id="rId10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96.xml"/><Relationship Id="rId31" Type="http://schemas.openxmlformats.org/officeDocument/2006/relationships/slideLayout" Target="../slideLayouts/slideLayout108.xml"/><Relationship Id="rId44" Type="http://schemas.openxmlformats.org/officeDocument/2006/relationships/slideLayout" Target="../slideLayouts/slideLayout121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Relationship Id="rId22" Type="http://schemas.openxmlformats.org/officeDocument/2006/relationships/slideLayout" Target="../slideLayouts/slideLayout99.xml"/><Relationship Id="rId27" Type="http://schemas.openxmlformats.org/officeDocument/2006/relationships/slideLayout" Target="../slideLayouts/slideLayout104.xml"/><Relationship Id="rId30" Type="http://schemas.openxmlformats.org/officeDocument/2006/relationships/slideLayout" Target="../slideLayouts/slideLayout107.xml"/><Relationship Id="rId35" Type="http://schemas.openxmlformats.org/officeDocument/2006/relationships/slideLayout" Target="../slideLayouts/slideLayout112.xml"/><Relationship Id="rId43" Type="http://schemas.openxmlformats.org/officeDocument/2006/relationships/slideLayout" Target="../slideLayouts/slideLayout120.xml"/><Relationship Id="rId48" Type="http://schemas.openxmlformats.org/officeDocument/2006/relationships/image" Target="../media/image11.emf"/><Relationship Id="rId8" Type="http://schemas.openxmlformats.org/officeDocument/2006/relationships/slideLayout" Target="../slideLayouts/slideLayout85.xml"/><Relationship Id="rId3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9.xml"/><Relationship Id="rId17" Type="http://schemas.openxmlformats.org/officeDocument/2006/relationships/slideLayout" Target="../slideLayouts/slideLayout94.xml"/><Relationship Id="rId25" Type="http://schemas.openxmlformats.org/officeDocument/2006/relationships/slideLayout" Target="../slideLayouts/slideLayout102.xml"/><Relationship Id="rId33" Type="http://schemas.openxmlformats.org/officeDocument/2006/relationships/slideLayout" Target="../slideLayouts/slideLayout110.xml"/><Relationship Id="rId38" Type="http://schemas.openxmlformats.org/officeDocument/2006/relationships/slideLayout" Target="../slideLayouts/slideLayout115.xml"/><Relationship Id="rId46" Type="http://schemas.openxmlformats.org/officeDocument/2006/relationships/tags" Target="../tags/tag1.xml"/><Relationship Id="rId20" Type="http://schemas.openxmlformats.org/officeDocument/2006/relationships/slideLayout" Target="../slideLayouts/slideLayout97.xml"/><Relationship Id="rId41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EA1B7EB-76F9-41E6-AEF1-EDAE26ADA901}" type="datetime1">
              <a:rPr lang="en-US" smtClean="0"/>
              <a:t>6/2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2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"/>
          <p:cNvSpPr txBox="1">
            <a:spLocks noGrp="1"/>
          </p:cNvSpPr>
          <p:nvPr>
            <p:ph type="title"/>
          </p:nvPr>
        </p:nvSpPr>
        <p:spPr>
          <a:xfrm>
            <a:off x="415600" y="249567"/>
            <a:ext cx="11360700" cy="97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900"/>
              <a:buFont typeface="Lato Black"/>
              <a:buNone/>
              <a:defRPr sz="2900">
                <a:solidFill>
                  <a:schemeClr val="dk1"/>
                </a:solidFill>
                <a:latin typeface="Lato Black"/>
                <a:ea typeface="Lato Black"/>
                <a:cs typeface="Lato Black"/>
                <a:sym typeface="Lato Black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F72546"/>
              </a:buClr>
              <a:buSzPts val="3200"/>
              <a:buFont typeface="Lato Black"/>
              <a:buNone/>
              <a:defRPr sz="3200">
                <a:solidFill>
                  <a:srgbClr val="F72546"/>
                </a:solidFill>
                <a:latin typeface="Lato Black"/>
                <a:ea typeface="Lato Black"/>
                <a:cs typeface="Lato Black"/>
                <a:sym typeface="Lato Black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F72546"/>
              </a:buClr>
              <a:buSzPts val="3200"/>
              <a:buFont typeface="Lato Black"/>
              <a:buNone/>
              <a:defRPr sz="3200">
                <a:solidFill>
                  <a:srgbClr val="F72546"/>
                </a:solidFill>
                <a:latin typeface="Lato Black"/>
                <a:ea typeface="Lato Black"/>
                <a:cs typeface="Lato Black"/>
                <a:sym typeface="Lato Black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F72546"/>
              </a:buClr>
              <a:buSzPts val="3200"/>
              <a:buFont typeface="Lato Black"/>
              <a:buNone/>
              <a:defRPr sz="3200">
                <a:solidFill>
                  <a:srgbClr val="F72546"/>
                </a:solidFill>
                <a:latin typeface="Lato Black"/>
                <a:ea typeface="Lato Black"/>
                <a:cs typeface="Lato Black"/>
                <a:sym typeface="Lato Black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F72546"/>
              </a:buClr>
              <a:buSzPts val="3200"/>
              <a:buFont typeface="Lato Black"/>
              <a:buNone/>
              <a:defRPr sz="3200">
                <a:solidFill>
                  <a:srgbClr val="F72546"/>
                </a:solidFill>
                <a:latin typeface="Lato Black"/>
                <a:ea typeface="Lato Black"/>
                <a:cs typeface="Lato Black"/>
                <a:sym typeface="Lato Black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F72546"/>
              </a:buClr>
              <a:buSzPts val="3200"/>
              <a:buFont typeface="Lato Black"/>
              <a:buNone/>
              <a:defRPr sz="3200">
                <a:solidFill>
                  <a:srgbClr val="F72546"/>
                </a:solidFill>
                <a:latin typeface="Lato Black"/>
                <a:ea typeface="Lato Black"/>
                <a:cs typeface="Lato Black"/>
                <a:sym typeface="Lato Black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F72546"/>
              </a:buClr>
              <a:buSzPts val="3200"/>
              <a:buFont typeface="Lato Black"/>
              <a:buNone/>
              <a:defRPr sz="3200">
                <a:solidFill>
                  <a:srgbClr val="F72546"/>
                </a:solidFill>
                <a:latin typeface="Lato Black"/>
                <a:ea typeface="Lato Black"/>
                <a:cs typeface="Lato Black"/>
                <a:sym typeface="Lato Black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F72546"/>
              </a:buClr>
              <a:buSzPts val="3200"/>
              <a:buFont typeface="Lato Black"/>
              <a:buNone/>
              <a:defRPr sz="3200">
                <a:solidFill>
                  <a:srgbClr val="F72546"/>
                </a:solidFill>
                <a:latin typeface="Lato Black"/>
                <a:ea typeface="Lato Black"/>
                <a:cs typeface="Lato Black"/>
                <a:sym typeface="Lato Black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F72546"/>
              </a:buClr>
              <a:buSzPts val="3200"/>
              <a:buFont typeface="Lato Black"/>
              <a:buNone/>
              <a:defRPr sz="3200">
                <a:solidFill>
                  <a:srgbClr val="F72546"/>
                </a:solidFill>
                <a:latin typeface="Lato Black"/>
                <a:ea typeface="Lato Black"/>
                <a:cs typeface="Lato Black"/>
                <a:sym typeface="Lato Black"/>
              </a:defRPr>
            </a:lvl9pPr>
          </a:lstStyle>
          <a:p>
            <a:endParaRPr/>
          </a:p>
        </p:txBody>
      </p:sp>
      <p:sp>
        <p:nvSpPr>
          <p:cNvPr id="11" name="Google Shape;11;p1"/>
          <p:cNvSpPr txBox="1">
            <a:spLocks noGrp="1"/>
          </p:cNvSpPr>
          <p:nvPr>
            <p:ph type="body" idx="1"/>
          </p:nvPr>
        </p:nvSpPr>
        <p:spPr>
          <a:xfrm>
            <a:off x="415600" y="1834900"/>
            <a:ext cx="11360700" cy="413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111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Lato"/>
              <a:buChar char="•"/>
              <a:defRPr sz="13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lvl="1" indent="-304800" rtl="0">
              <a:lnSpc>
                <a:spcPct val="115000"/>
              </a:lnSpc>
              <a:spcBef>
                <a:spcPts val="13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Char char="○"/>
              <a:defRPr sz="12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lvl="2" indent="-298450" rtl="0">
              <a:lnSpc>
                <a:spcPct val="115000"/>
              </a:lnSpc>
              <a:spcBef>
                <a:spcPts val="13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Lato"/>
              <a:buChar char="•"/>
              <a:defRPr sz="11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lvl="3" indent="-298450" rtl="0">
              <a:lnSpc>
                <a:spcPct val="115000"/>
              </a:lnSpc>
              <a:spcBef>
                <a:spcPts val="13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Lato"/>
              <a:buChar char="◦"/>
              <a:defRPr sz="11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lvl="4" indent="-298450" rtl="0">
              <a:lnSpc>
                <a:spcPct val="115000"/>
              </a:lnSpc>
              <a:spcBef>
                <a:spcPts val="13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Lato"/>
              <a:buChar char="•"/>
              <a:defRPr sz="11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lvl="5" indent="-298450" rtl="0">
              <a:lnSpc>
                <a:spcPct val="115000"/>
              </a:lnSpc>
              <a:spcBef>
                <a:spcPts val="13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Lato"/>
              <a:buChar char="◦"/>
              <a:defRPr sz="11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lvl="6" indent="-298450" rtl="0">
              <a:lnSpc>
                <a:spcPct val="115000"/>
              </a:lnSpc>
              <a:spcBef>
                <a:spcPts val="13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Lato"/>
              <a:buChar char="•"/>
              <a:defRPr sz="11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lvl="7" indent="-298450" rtl="0">
              <a:lnSpc>
                <a:spcPct val="115000"/>
              </a:lnSpc>
              <a:spcBef>
                <a:spcPts val="13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Lato"/>
              <a:buChar char="○"/>
              <a:defRPr sz="11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lvl="8" indent="-298450" rtl="0">
              <a:lnSpc>
                <a:spcPct val="115000"/>
              </a:lnSpc>
              <a:spcBef>
                <a:spcPts val="1300"/>
              </a:spcBef>
              <a:spcAft>
                <a:spcPts val="1300"/>
              </a:spcAft>
              <a:buClr>
                <a:schemeClr val="dk2"/>
              </a:buClr>
              <a:buSzPts val="1100"/>
              <a:buFont typeface="Lato"/>
              <a:buChar char="•"/>
              <a:defRPr sz="11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12" name="Google Shape;12;p1"/>
          <p:cNvSpPr txBox="1">
            <a:spLocks noGrp="1"/>
          </p:cNvSpPr>
          <p:nvPr>
            <p:ph type="sldNum" idx="12"/>
          </p:nvPr>
        </p:nvSpPr>
        <p:spPr>
          <a:xfrm>
            <a:off x="11044810" y="6091622"/>
            <a:ext cx="731700" cy="52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lvl="0" algn="r" rtl="0">
              <a:buNone/>
              <a:defRPr sz="11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 algn="r" rtl="0">
              <a:buNone/>
              <a:defRPr sz="11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2pPr>
            <a:lvl3pPr lvl="2" algn="r" rtl="0">
              <a:buNone/>
              <a:defRPr sz="11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3pPr>
            <a:lvl4pPr lvl="3" algn="r" rtl="0">
              <a:buNone/>
              <a:defRPr sz="11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4pPr>
            <a:lvl5pPr lvl="4" algn="r" rtl="0">
              <a:buNone/>
              <a:defRPr sz="11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5pPr>
            <a:lvl6pPr lvl="5" algn="r" rtl="0">
              <a:buNone/>
              <a:defRPr sz="11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6pPr>
            <a:lvl7pPr lvl="6" algn="r" rtl="0">
              <a:buNone/>
              <a:defRPr sz="11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7pPr>
            <a:lvl8pPr lvl="7" algn="r" rtl="0">
              <a:buNone/>
              <a:defRPr sz="11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8pPr>
            <a:lvl9pPr lvl="8" algn="r" rtl="0">
              <a:buNone/>
              <a:defRPr sz="11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28209936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  <p:sldLayoutId id="2147483705" r:id="rId33"/>
    <p:sldLayoutId id="2147483706" r:id="rId34"/>
    <p:sldLayoutId id="2147483707" r:id="rId35"/>
    <p:sldLayoutId id="2147483708" r:id="rId36"/>
    <p:sldLayoutId id="2147483709" r:id="rId37"/>
    <p:sldLayoutId id="2147483710" r:id="rId38"/>
    <p:sldLayoutId id="2147483711" r:id="rId39"/>
    <p:sldLayoutId id="2147483712" r:id="rId40"/>
    <p:sldLayoutId id="2147483713" r:id="rId41"/>
    <p:sldLayoutId id="2147483714" r:id="rId42"/>
    <p:sldLayoutId id="2147483715" r:id="rId43"/>
    <p:sldLayoutId id="2147483716" r:id="rId44"/>
    <p:sldLayoutId id="2147483717" r:id="rId45"/>
    <p:sldLayoutId id="2147483718" r:id="rId46"/>
    <p:sldLayoutId id="2147483719" r:id="rId47"/>
    <p:sldLayoutId id="2147483720" r:id="rId48"/>
    <p:sldLayoutId id="2147483721" r:id="rId49"/>
    <p:sldLayoutId id="2147483722" r:id="rId50"/>
    <p:sldLayoutId id="2147483723" r:id="rId51"/>
    <p:sldLayoutId id="2147483724" r:id="rId52"/>
    <p:sldLayoutId id="2147483725" r:id="rId53"/>
    <p:sldLayoutId id="2147483726" r:id="rId54"/>
    <p:sldLayoutId id="2147483727" r:id="rId5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920">
          <p15:clr>
            <a:srgbClr val="EA4335"/>
          </p15:clr>
        </p15:guide>
        <p15:guide id="2" orient="horz" pos="2305">
          <p15:clr>
            <a:srgbClr val="EA4335"/>
          </p15:clr>
        </p15:guide>
        <p15:guide id="3" pos="262">
          <p15:clr>
            <a:srgbClr val="EA4335"/>
          </p15:clr>
        </p15:guide>
        <p15:guide id="4" pos="7418">
          <p15:clr>
            <a:srgbClr val="EA4335"/>
          </p15:clr>
        </p15:guide>
        <p15:guide id="5" orient="horz" pos="2688">
          <p15:clr>
            <a:srgbClr val="EA4335"/>
          </p15:clr>
        </p15:guide>
        <p15:guide id="6" orient="horz" pos="1156">
          <p15:clr>
            <a:srgbClr val="EA4335"/>
          </p15:clr>
        </p15:guide>
        <p15:guide id="7" orient="horz" pos="3837">
          <p15:clr>
            <a:srgbClr val="EA4335"/>
          </p15:clr>
        </p15:guide>
        <p15:guide id="8" pos="3840">
          <p15:clr>
            <a:srgbClr val="EA4335"/>
          </p15:clr>
        </p15:guide>
        <p15:guide id="9" pos="384">
          <p15:clr>
            <a:srgbClr val="EA4335"/>
          </p15:clr>
        </p15:guide>
        <p15:guide id="10" pos="768">
          <p15:clr>
            <a:srgbClr val="EA4335"/>
          </p15:clr>
        </p15:guide>
        <p15:guide id="11" pos="1152">
          <p15:clr>
            <a:srgbClr val="EA4335"/>
          </p15:clr>
        </p15:guide>
        <p15:guide id="12" pos="1536">
          <p15:clr>
            <a:srgbClr val="EA4335"/>
          </p15:clr>
        </p15:guide>
        <p15:guide id="13" pos="1920">
          <p15:clr>
            <a:srgbClr val="EA4335"/>
          </p15:clr>
        </p15:guide>
        <p15:guide id="14" pos="2304">
          <p15:clr>
            <a:srgbClr val="EA4335"/>
          </p15:clr>
        </p15:guide>
        <p15:guide id="15" pos="2688">
          <p15:clr>
            <a:srgbClr val="EA4335"/>
          </p15:clr>
        </p15:guide>
        <p15:guide id="16" pos="3072">
          <p15:clr>
            <a:srgbClr val="EA4335"/>
          </p15:clr>
        </p15:guide>
        <p15:guide id="17" pos="3456">
          <p15:clr>
            <a:srgbClr val="EA4335"/>
          </p15:clr>
        </p15:guide>
        <p15:guide id="18" pos="4224">
          <p15:clr>
            <a:srgbClr val="EA4335"/>
          </p15:clr>
        </p15:guide>
        <p15:guide id="19" pos="4608">
          <p15:clr>
            <a:srgbClr val="EA4335"/>
          </p15:clr>
        </p15:guide>
        <p15:guide id="20" pos="4992">
          <p15:clr>
            <a:srgbClr val="EA4335"/>
          </p15:clr>
        </p15:guide>
        <p15:guide id="21" pos="5376">
          <p15:clr>
            <a:srgbClr val="EA4335"/>
          </p15:clr>
        </p15:guide>
        <p15:guide id="22" pos="5760">
          <p15:clr>
            <a:srgbClr val="EA4335"/>
          </p15:clr>
        </p15:guide>
        <p15:guide id="23" pos="6144">
          <p15:clr>
            <a:srgbClr val="EA4335"/>
          </p15:clr>
        </p15:guide>
        <p15:guide id="24" pos="6528">
          <p15:clr>
            <a:srgbClr val="EA4335"/>
          </p15:clr>
        </p15:guide>
        <p15:guide id="25" pos="6912">
          <p15:clr>
            <a:srgbClr val="EA4335"/>
          </p15:clr>
        </p15:guide>
        <p15:guide id="26" pos="7296">
          <p15:clr>
            <a:srgbClr val="EA4335"/>
          </p15:clr>
        </p15:guide>
        <p15:guide id="27" orient="horz" pos="384">
          <p15:clr>
            <a:srgbClr val="EA4335"/>
          </p15:clr>
        </p15:guide>
        <p15:guide id="28" orient="horz" pos="773">
          <p15:clr>
            <a:srgbClr val="EA4335"/>
          </p15:clr>
        </p15:guide>
        <p15:guide id="29" orient="horz" pos="1538">
          <p15:clr>
            <a:srgbClr val="EA4335"/>
          </p15:clr>
        </p15:guide>
        <p15:guide id="30" orient="horz" pos="3071">
          <p15:clr>
            <a:srgbClr val="EA4335"/>
          </p15:clr>
        </p15:guide>
        <p15:guide id="31" orient="horz" pos="3454">
          <p15:clr>
            <a:srgbClr val="EA4335"/>
          </p15:clr>
        </p15:guide>
        <p15:guide id="32" orient="horz" pos="4247">
          <p15:clr>
            <a:srgbClr val="EA4335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8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Play"/>
              <a:buNone/>
              <a:defRPr sz="4400" b="0" i="0" u="none" strike="noStrike" cap="none">
                <a:solidFill>
                  <a:schemeClr val="dk1"/>
                </a:solidFill>
                <a:latin typeface="Play"/>
                <a:ea typeface="Play"/>
                <a:cs typeface="Play"/>
                <a:sym typeface="Play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7" name="Google Shape;7;p8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757575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D4FCAD55-5E1A-4130-80A4-5007ABECAEB8}" type="datetime1">
              <a:rPr lang="en-US" smtClean="0"/>
              <a:t>6/27/2024</a:t>
            </a:fld>
            <a:endParaRPr/>
          </a:p>
        </p:txBody>
      </p:sp>
      <p:sp>
        <p:nvSpPr>
          <p:cNvPr id="9" name="Google Shape;9;p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757575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" name="Google Shape;10;p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757575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757575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757575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757575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757575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757575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757575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757575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757575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447343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D1526F1-76BD-0CF9-35CE-A2ED8486AF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2897073476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7" imgW="359" imgH="360" progId="TCLayout.ActiveDocument.1">
                  <p:embed/>
                </p:oleObj>
              </mc:Choice>
              <mc:Fallback>
                <p:oleObj name="think-cell Slide" r:id="rId47" imgW="359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D1526F1-76BD-0CF9-35CE-A2ED8486AF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7929" y="649224"/>
            <a:ext cx="9667726" cy="7132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57929" y="1773936"/>
            <a:ext cx="11048829" cy="39776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-level bullet</a:t>
            </a:r>
          </a:p>
          <a:p>
            <a:pPr marL="342900" marR="0" lvl="2" indent="-17145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Lucida Grande"/>
              <a:buChar char="–"/>
              <a:tabLst/>
              <a:defRPr/>
            </a:pPr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  <p:sp>
        <p:nvSpPr>
          <p:cNvPr id="20" name="Content Placeholder 8"/>
          <p:cNvSpPr txBox="1">
            <a:spLocks/>
          </p:cNvSpPr>
          <p:nvPr userDrawn="1"/>
        </p:nvSpPr>
        <p:spPr>
          <a:xfrm>
            <a:off x="557930" y="6367487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8743595-4496-5147-A886-7D133864DF76}" type="slidenum">
              <a:rPr lang="en-US" sz="1000" b="1" smtClean="0">
                <a:solidFill>
                  <a:schemeClr val="tx2"/>
                </a:solidFill>
                <a:latin typeface="+mn-lt"/>
                <a:ea typeface="Open Sans" panose="020B0606030504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1000" b="1">
              <a:solidFill>
                <a:schemeClr val="tx2"/>
              </a:solidFill>
              <a:latin typeface="+mn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2B9F1AC-7982-48A5-A9F4-F49F09D2E693}"/>
              </a:ext>
            </a:extLst>
          </p:cNvPr>
          <p:cNvSpPr txBox="1"/>
          <p:nvPr userDrawn="1"/>
        </p:nvSpPr>
        <p:spPr>
          <a:xfrm>
            <a:off x="859758" y="6425582"/>
            <a:ext cx="8048816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800" b="0">
                <a:solidFill>
                  <a:schemeClr val="tx2"/>
                </a:solidFill>
              </a:rPr>
              <a:t>©2024 CVS </a:t>
            </a:r>
            <a:r>
              <a:rPr lang="en-US" sz="800" b="0">
                <a:solidFill>
                  <a:schemeClr val="tx2"/>
                </a:solidFill>
                <a:latin typeface="+mn-lt"/>
              </a:rPr>
              <a:t>Health</a:t>
            </a:r>
            <a:r>
              <a:rPr lang="en-US" sz="800" b="0">
                <a:solidFill>
                  <a:schemeClr val="tx2"/>
                </a:solidFill>
              </a:rPr>
              <a:t> and/or one of its affiliates. Confidential and proprietary.</a:t>
            </a:r>
          </a:p>
        </p:txBody>
      </p:sp>
      <p:pic>
        <p:nvPicPr>
          <p:cNvPr id="14" name="Graphic 13" descr="CVS Health logo.">
            <a:extLst>
              <a:ext uri="{FF2B5EF4-FFF2-40B4-BE49-F238E27FC236}">
                <a16:creationId xmlns:a16="http://schemas.microsoft.com/office/drawing/2014/main" id="{227358BE-2134-5C4A-824D-B02F786DC512}"/>
              </a:ext>
            </a:extLst>
          </p:cNvPr>
          <p:cNvPicPr>
            <a:picLocks noChangeAspect="1"/>
          </p:cNvPicPr>
          <p:nvPr userDrawn="1"/>
        </p:nvPicPr>
        <p:blipFill>
          <a:blip r:embed="rId4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10353705" y="6373368"/>
            <a:ext cx="1274145" cy="155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209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  <p:sldLayoutId id="2147483752" r:id="rId12"/>
    <p:sldLayoutId id="2147483753" r:id="rId13"/>
    <p:sldLayoutId id="2147483754" r:id="rId14"/>
    <p:sldLayoutId id="2147483755" r:id="rId15"/>
    <p:sldLayoutId id="2147483756" r:id="rId16"/>
    <p:sldLayoutId id="2147483757" r:id="rId17"/>
    <p:sldLayoutId id="2147483758" r:id="rId18"/>
    <p:sldLayoutId id="2147483759" r:id="rId19"/>
    <p:sldLayoutId id="2147483760" r:id="rId20"/>
    <p:sldLayoutId id="2147483761" r:id="rId21"/>
    <p:sldLayoutId id="2147483762" r:id="rId22"/>
    <p:sldLayoutId id="2147483763" r:id="rId23"/>
    <p:sldLayoutId id="2147483764" r:id="rId24"/>
    <p:sldLayoutId id="2147483765" r:id="rId25"/>
    <p:sldLayoutId id="2147483766" r:id="rId26"/>
    <p:sldLayoutId id="2147483767" r:id="rId27"/>
    <p:sldLayoutId id="2147483768" r:id="rId28"/>
    <p:sldLayoutId id="2147483769" r:id="rId29"/>
    <p:sldLayoutId id="2147483770" r:id="rId30"/>
    <p:sldLayoutId id="2147483771" r:id="rId31"/>
    <p:sldLayoutId id="2147483772" r:id="rId32"/>
    <p:sldLayoutId id="2147483773" r:id="rId33"/>
    <p:sldLayoutId id="2147483774" r:id="rId34"/>
    <p:sldLayoutId id="2147483775" r:id="rId35"/>
    <p:sldLayoutId id="2147483776" r:id="rId36"/>
    <p:sldLayoutId id="2147483777" r:id="rId37"/>
    <p:sldLayoutId id="2147483778" r:id="rId38"/>
    <p:sldLayoutId id="2147483779" r:id="rId39"/>
    <p:sldLayoutId id="2147483780" r:id="rId40"/>
    <p:sldLayoutId id="2147483781" r:id="rId41"/>
    <p:sldLayoutId id="2147483782" r:id="rId42"/>
    <p:sldLayoutId id="2147483783" r:id="rId43"/>
    <p:sldLayoutId id="2147483784" r:id="rId44"/>
  </p:sldLayoutIdLst>
  <p:hf hdr="0" ft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1800"/>
        </a:spcBef>
        <a:buClrTx/>
        <a:buFont typeface="Arial"/>
        <a:buNone/>
        <a:defRPr sz="15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171450" indent="-171450" algn="l" defTabSz="457200" rtl="0" eaLnBrk="1" latinLnBrk="0" hangingPunct="1">
        <a:lnSpc>
          <a:spcPct val="100000"/>
        </a:lnSpc>
        <a:spcBef>
          <a:spcPts val="1200"/>
        </a:spcBef>
        <a:buClrTx/>
        <a:buFont typeface="Arial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2pPr>
      <a:lvl3pPr marL="171450" marR="0" indent="0" algn="l" defTabSz="4572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Lucida Grande"/>
        <a:buNone/>
        <a:tabLst/>
        <a:defRPr sz="1500" kern="1200">
          <a:solidFill>
            <a:schemeClr val="tx2"/>
          </a:solidFill>
          <a:latin typeface="+mn-lt"/>
          <a:ea typeface="+mn-ea"/>
          <a:cs typeface="+mn-cs"/>
        </a:defRPr>
      </a:lvl3pPr>
      <a:lvl4pPr marL="514350" indent="-171450" algn="l" defTabSz="457200" rtl="0" eaLnBrk="1" latinLnBrk="0" hangingPunct="1">
        <a:lnSpc>
          <a:spcPct val="100000"/>
        </a:lnSpc>
        <a:spcBef>
          <a:spcPts val="600"/>
        </a:spcBef>
        <a:buClrTx/>
        <a:buFont typeface="Arial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4pPr>
      <a:lvl5pPr marL="682625" indent="-168275" algn="l" defTabSz="457200" rtl="0" eaLnBrk="1" latinLnBrk="0" hangingPunct="1">
        <a:lnSpc>
          <a:spcPct val="100000"/>
        </a:lnSpc>
        <a:spcBef>
          <a:spcPts val="600"/>
        </a:spcBef>
        <a:buClrTx/>
        <a:buFont typeface="Arial" panose="020B0604020202020204" pitchFamily="34" charset="0"/>
        <a:buChar char="–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857250" indent="-174625" algn="l" defTabSz="4572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6pPr>
      <a:lvl7pPr marL="1030288" indent="-173038" algn="l" defTabSz="4572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1203325" indent="-173038" algn="l" defTabSz="457200" rtl="0" eaLnBrk="1" latinLnBrk="0" hangingPunct="1">
        <a:lnSpc>
          <a:spcPct val="100000"/>
        </a:lnSpc>
        <a:spcBef>
          <a:spcPts val="600"/>
        </a:spcBef>
        <a:buFont typeface="Arial"/>
        <a:buChar char="•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1377950" indent="-174625" algn="l" defTabSz="4572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fontAlgn="ctr" latinLnBrk="0" hangingPunct="1">
        <a:defRPr sz="1500" kern="1500">
          <a:solidFill>
            <a:schemeClr val="tx1"/>
          </a:solidFill>
          <a:latin typeface="+mn-lt"/>
          <a:ea typeface="+mn-ea"/>
          <a:cs typeface="+mn-cs"/>
        </a:defRPr>
      </a:lvl1pPr>
      <a:lvl2pPr marL="0" algn="r" defTabSz="457200" rtl="0" eaLnBrk="1" fontAlgn="ctr" latinLnBrk="0" hangingPunct="1">
        <a:defRPr sz="1500" kern="1500">
          <a:solidFill>
            <a:schemeClr val="tx1"/>
          </a:solidFill>
          <a:latin typeface="+mn-lt"/>
          <a:ea typeface="+mn-ea"/>
          <a:cs typeface="+mn-cs"/>
        </a:defRPr>
      </a:lvl2pPr>
      <a:lvl3pPr marL="0" algn="ctr" defTabSz="457200" rtl="0" eaLnBrk="1" fontAlgn="ctr" latinLnBrk="0" hangingPunct="1">
        <a:defRPr sz="1500" kern="1500">
          <a:solidFill>
            <a:schemeClr val="tx1"/>
          </a:solidFill>
          <a:latin typeface="+mn-lt"/>
          <a:ea typeface="+mn-ea"/>
          <a:cs typeface="+mn-cs"/>
        </a:defRPr>
      </a:lvl3pPr>
      <a:lvl4pPr marL="0" algn="l" defTabSz="457200" rtl="0" eaLnBrk="1" fontAlgn="ctr" latinLnBrk="0" hangingPunct="1">
        <a:defRPr sz="1500" kern="1500">
          <a:solidFill>
            <a:schemeClr val="tx1"/>
          </a:solidFill>
          <a:latin typeface="+mn-lt"/>
          <a:ea typeface="+mn-ea"/>
          <a:cs typeface="+mn-cs"/>
        </a:defRPr>
      </a:lvl4pPr>
      <a:lvl5pPr marL="0" algn="r" defTabSz="457200" rtl="0" eaLnBrk="1" fontAlgn="ctr" latinLnBrk="0" hangingPunct="1">
        <a:defRPr sz="1500" kern="1500">
          <a:solidFill>
            <a:schemeClr val="tx1"/>
          </a:solidFill>
          <a:latin typeface="+mn-lt"/>
          <a:ea typeface="+mn-ea"/>
          <a:cs typeface="+mn-cs"/>
        </a:defRPr>
      </a:lvl5pPr>
      <a:lvl6pPr marL="0" algn="ctr" defTabSz="457200" rtl="0" eaLnBrk="1" fontAlgn="ctr" latinLnBrk="0" hangingPunct="1">
        <a:defRPr sz="1500" kern="1500">
          <a:solidFill>
            <a:schemeClr val="tx1"/>
          </a:solidFill>
          <a:latin typeface="+mn-lt"/>
          <a:ea typeface="+mn-ea"/>
          <a:cs typeface="+mn-cs"/>
        </a:defRPr>
      </a:lvl6pPr>
      <a:lvl7pPr marL="0" algn="l" defTabSz="457200" rtl="0" eaLnBrk="1" fontAlgn="ctr" latinLnBrk="0" hangingPunct="1">
        <a:defRPr sz="1500" kern="1500">
          <a:solidFill>
            <a:schemeClr val="tx1"/>
          </a:solidFill>
          <a:latin typeface="+mn-lt"/>
          <a:ea typeface="+mn-ea"/>
          <a:cs typeface="+mn-cs"/>
        </a:defRPr>
      </a:lvl7pPr>
      <a:lvl8pPr marL="0" algn="r" defTabSz="457200" rtl="0" eaLnBrk="1" fontAlgn="ctr" latinLnBrk="0" hangingPunct="1">
        <a:defRPr sz="1500" kern="1500">
          <a:solidFill>
            <a:schemeClr val="tx1"/>
          </a:solidFill>
          <a:latin typeface="+mn-lt"/>
          <a:ea typeface="+mn-ea"/>
          <a:cs typeface="+mn-cs"/>
        </a:defRPr>
      </a:lvl8pPr>
      <a:lvl9pPr marL="0" algn="ctr" defTabSz="457200" rtl="0" eaLnBrk="1" fontAlgn="ctr" latinLnBrk="0" hangingPunct="1">
        <a:defRPr sz="1500" kern="15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59">
          <p15:clr>
            <a:srgbClr val="F26B43"/>
          </p15:clr>
        </p15:guide>
        <p15:guide id="2" pos="7319">
          <p15:clr>
            <a:srgbClr val="F26B43"/>
          </p15:clr>
        </p15:guide>
        <p15:guide id="3" orient="horz" pos="432">
          <p15:clr>
            <a:srgbClr val="F26B43"/>
          </p15:clr>
        </p15:guide>
        <p15:guide id="4" orient="horz" pos="4112">
          <p15:clr>
            <a:srgbClr val="F26B43"/>
          </p15:clr>
        </p15:guide>
        <p15:guide id="5" orient="horz" pos="111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7" Type="http://schemas.openxmlformats.org/officeDocument/2006/relationships/image" Target="../media/image30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9.jpg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image" Target="../media/image41.png"/><Relationship Id="rId18" Type="http://schemas.openxmlformats.org/officeDocument/2006/relationships/image" Target="../media/image46.pn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12" Type="http://schemas.openxmlformats.org/officeDocument/2006/relationships/image" Target="../media/image40.png"/><Relationship Id="rId17" Type="http://schemas.openxmlformats.org/officeDocument/2006/relationships/image" Target="../media/image45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44.png"/><Relationship Id="rId20" Type="http://schemas.openxmlformats.org/officeDocument/2006/relationships/image" Target="../media/image48.png"/><Relationship Id="rId1" Type="http://schemas.openxmlformats.org/officeDocument/2006/relationships/slideLayout" Target="../slideLayouts/slideLayout68.xml"/><Relationship Id="rId6" Type="http://schemas.openxmlformats.org/officeDocument/2006/relationships/image" Target="../media/image34.png"/><Relationship Id="rId11" Type="http://schemas.openxmlformats.org/officeDocument/2006/relationships/image" Target="../media/image39.png"/><Relationship Id="rId5" Type="http://schemas.openxmlformats.org/officeDocument/2006/relationships/image" Target="../media/image33.png"/><Relationship Id="rId15" Type="http://schemas.openxmlformats.org/officeDocument/2006/relationships/image" Target="../media/image43.png"/><Relationship Id="rId10" Type="http://schemas.openxmlformats.org/officeDocument/2006/relationships/image" Target="../media/image38.png"/><Relationship Id="rId19" Type="http://schemas.openxmlformats.org/officeDocument/2006/relationships/image" Target="../media/image47.png"/><Relationship Id="rId4" Type="http://schemas.openxmlformats.org/officeDocument/2006/relationships/image" Target="../media/image32.png"/><Relationship Id="rId9" Type="http://schemas.openxmlformats.org/officeDocument/2006/relationships/image" Target="../media/image37.png"/><Relationship Id="rId14" Type="http://schemas.openxmlformats.org/officeDocument/2006/relationships/image" Target="../media/image4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5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8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5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8.xml"/><Relationship Id="rId4" Type="http://schemas.openxmlformats.org/officeDocument/2006/relationships/image" Target="../media/image5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13" Type="http://schemas.openxmlformats.org/officeDocument/2006/relationships/image" Target="../media/image67.png"/><Relationship Id="rId3" Type="http://schemas.openxmlformats.org/officeDocument/2006/relationships/image" Target="../media/image57.png"/><Relationship Id="rId7" Type="http://schemas.openxmlformats.org/officeDocument/2006/relationships/image" Target="../media/image61.png"/><Relationship Id="rId12" Type="http://schemas.openxmlformats.org/officeDocument/2006/relationships/image" Target="../media/image6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60.png"/><Relationship Id="rId11" Type="http://schemas.openxmlformats.org/officeDocument/2006/relationships/image" Target="../media/image65.png"/><Relationship Id="rId5" Type="http://schemas.openxmlformats.org/officeDocument/2006/relationships/image" Target="../media/image59.png"/><Relationship Id="rId10" Type="http://schemas.openxmlformats.org/officeDocument/2006/relationships/image" Target="../media/image64.png"/><Relationship Id="rId4" Type="http://schemas.openxmlformats.org/officeDocument/2006/relationships/image" Target="../media/image58.png"/><Relationship Id="rId9" Type="http://schemas.openxmlformats.org/officeDocument/2006/relationships/image" Target="../media/image6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3" Type="http://schemas.openxmlformats.org/officeDocument/2006/relationships/image" Target="../media/image68.png"/><Relationship Id="rId7" Type="http://schemas.openxmlformats.org/officeDocument/2006/relationships/image" Target="../media/image7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6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10" Type="http://schemas.openxmlformats.org/officeDocument/2006/relationships/image" Target="../media/image75.png"/><Relationship Id="rId4" Type="http://schemas.openxmlformats.org/officeDocument/2006/relationships/image" Target="../media/image69.png"/><Relationship Id="rId9" Type="http://schemas.openxmlformats.org/officeDocument/2006/relationships/image" Target="../media/image74.gi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p1"/>
          <p:cNvSpPr/>
          <p:nvPr/>
        </p:nvSpPr>
        <p:spPr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9B7AD9F6-8CE7-4299-8FC6-328F4DCD3F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4">
            <a:extLst>
              <a:ext uri="{FF2B5EF4-FFF2-40B4-BE49-F238E27FC236}">
                <a16:creationId xmlns:a16="http://schemas.microsoft.com/office/drawing/2014/main" id="{7B49C87C-9525-8D29-51C3-424EC58E2B23}"/>
              </a:ext>
            </a:extLst>
          </p:cNvPr>
          <p:cNvSpPr txBox="1"/>
          <p:nvPr/>
        </p:nvSpPr>
        <p:spPr>
          <a:xfrm>
            <a:off x="890338" y="640080"/>
            <a:ext cx="3734014" cy="3566160"/>
          </a:xfrm>
          <a:prstGeom prst="rect">
            <a:avLst/>
          </a:prstGeom>
        </p:spPr>
        <p:txBody>
          <a:bodyPr rot="0" spcFirstLastPara="0" vert="horz" lIns="91440" tIns="45720" rIns="91440" bIns="45720" numCol="1" spcCol="0" rtlCol="0" fromWordArt="0" anchor="b" anchorCtr="0" forceAA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5400" b="1" dirty="0">
                <a:latin typeface="CVS Health Sans" panose="020B0504020202020204" pitchFamily="34" charset="0"/>
                <a:ea typeface="+mj-ea"/>
                <a:cs typeface="+mj-cs"/>
              </a:rPr>
              <a:t>Looking to Connect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6D7A9FC-0221-CBC0-6360-3BD298885BAE}"/>
              </a:ext>
            </a:extLst>
          </p:cNvPr>
          <p:cNvSpPr txBox="1"/>
          <p:nvPr/>
        </p:nvSpPr>
        <p:spPr>
          <a:xfrm>
            <a:off x="890339" y="4636008"/>
            <a:ext cx="3734014" cy="1572768"/>
          </a:xfrm>
          <a:prstGeom prst="rect">
            <a:avLst/>
          </a:prstGeom>
        </p:spPr>
        <p:txBody>
          <a:bodyPr rot="0" spcFirstLastPara="0" vert="horz" lIns="91440" tIns="45720" rIns="91440" bIns="45720" numCol="1" spcCol="0" rtlCol="0" fromWordArt="0" anchorCtr="0" forceAA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en-US" sz="2400" dirty="0"/>
              <a:t>Scan the QR to connect with our Panel Participants!</a:t>
            </a:r>
          </a:p>
        </p:txBody>
      </p:sp>
      <p:sp>
        <p:nvSpPr>
          <p:cNvPr id="13" name="sketchy line">
            <a:extLst>
              <a:ext uri="{FF2B5EF4-FFF2-40B4-BE49-F238E27FC236}">
                <a16:creationId xmlns:a16="http://schemas.microsoft.com/office/drawing/2014/main" id="{F49775AF-8896-43EE-92C6-83497D6DC5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90338" y="4409267"/>
            <a:ext cx="3474720" cy="18288"/>
          </a:xfrm>
          <a:custGeom>
            <a:avLst/>
            <a:gdLst>
              <a:gd name="connsiteX0" fmla="*/ 0 w 3474720"/>
              <a:gd name="connsiteY0" fmla="*/ 0 h 18288"/>
              <a:gd name="connsiteX1" fmla="*/ 694944 w 3474720"/>
              <a:gd name="connsiteY1" fmla="*/ 0 h 18288"/>
              <a:gd name="connsiteX2" fmla="*/ 1355141 w 3474720"/>
              <a:gd name="connsiteY2" fmla="*/ 0 h 18288"/>
              <a:gd name="connsiteX3" fmla="*/ 2015338 w 3474720"/>
              <a:gd name="connsiteY3" fmla="*/ 0 h 18288"/>
              <a:gd name="connsiteX4" fmla="*/ 2779776 w 3474720"/>
              <a:gd name="connsiteY4" fmla="*/ 0 h 18288"/>
              <a:gd name="connsiteX5" fmla="*/ 3474720 w 3474720"/>
              <a:gd name="connsiteY5" fmla="*/ 0 h 18288"/>
              <a:gd name="connsiteX6" fmla="*/ 3474720 w 3474720"/>
              <a:gd name="connsiteY6" fmla="*/ 18288 h 18288"/>
              <a:gd name="connsiteX7" fmla="*/ 2779776 w 3474720"/>
              <a:gd name="connsiteY7" fmla="*/ 18288 h 18288"/>
              <a:gd name="connsiteX8" fmla="*/ 2189074 w 3474720"/>
              <a:gd name="connsiteY8" fmla="*/ 18288 h 18288"/>
              <a:gd name="connsiteX9" fmla="*/ 1528877 w 3474720"/>
              <a:gd name="connsiteY9" fmla="*/ 18288 h 18288"/>
              <a:gd name="connsiteX10" fmla="*/ 868680 w 3474720"/>
              <a:gd name="connsiteY10" fmla="*/ 18288 h 18288"/>
              <a:gd name="connsiteX11" fmla="*/ 0 w 3474720"/>
              <a:gd name="connsiteY11" fmla="*/ 18288 h 18288"/>
              <a:gd name="connsiteX12" fmla="*/ 0 w 347472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474720" h="18288" fill="none" extrusionOk="0">
                <a:moveTo>
                  <a:pt x="0" y="0"/>
                </a:moveTo>
                <a:cubicBezTo>
                  <a:pt x="224454" y="-14544"/>
                  <a:pt x="495407" y="26540"/>
                  <a:pt x="694944" y="0"/>
                </a:cubicBezTo>
                <a:cubicBezTo>
                  <a:pt x="894481" y="-26540"/>
                  <a:pt x="1130063" y="24713"/>
                  <a:pt x="1355141" y="0"/>
                </a:cubicBezTo>
                <a:cubicBezTo>
                  <a:pt x="1580219" y="-24713"/>
                  <a:pt x="1820099" y="26695"/>
                  <a:pt x="2015338" y="0"/>
                </a:cubicBezTo>
                <a:cubicBezTo>
                  <a:pt x="2210577" y="-26695"/>
                  <a:pt x="2402045" y="165"/>
                  <a:pt x="2779776" y="0"/>
                </a:cubicBezTo>
                <a:cubicBezTo>
                  <a:pt x="3157507" y="-165"/>
                  <a:pt x="3286859" y="-15571"/>
                  <a:pt x="3474720" y="0"/>
                </a:cubicBezTo>
                <a:cubicBezTo>
                  <a:pt x="3474286" y="7551"/>
                  <a:pt x="3474253" y="9822"/>
                  <a:pt x="3474720" y="18288"/>
                </a:cubicBezTo>
                <a:cubicBezTo>
                  <a:pt x="3233904" y="29845"/>
                  <a:pt x="2945134" y="-5256"/>
                  <a:pt x="2779776" y="18288"/>
                </a:cubicBezTo>
                <a:cubicBezTo>
                  <a:pt x="2614418" y="41832"/>
                  <a:pt x="2339768" y="22709"/>
                  <a:pt x="2189074" y="18288"/>
                </a:cubicBezTo>
                <a:cubicBezTo>
                  <a:pt x="2038380" y="13867"/>
                  <a:pt x="1817434" y="-4947"/>
                  <a:pt x="1528877" y="18288"/>
                </a:cubicBezTo>
                <a:cubicBezTo>
                  <a:pt x="1240320" y="41523"/>
                  <a:pt x="1042447" y="37198"/>
                  <a:pt x="868680" y="18288"/>
                </a:cubicBezTo>
                <a:cubicBezTo>
                  <a:pt x="694913" y="-622"/>
                  <a:pt x="233232" y="44909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474720" h="18288" stroke="0" extrusionOk="0">
                <a:moveTo>
                  <a:pt x="0" y="0"/>
                </a:moveTo>
                <a:cubicBezTo>
                  <a:pt x="202328" y="-14716"/>
                  <a:pt x="332722" y="-11499"/>
                  <a:pt x="625450" y="0"/>
                </a:cubicBezTo>
                <a:cubicBezTo>
                  <a:pt x="918178" y="11499"/>
                  <a:pt x="1096688" y="5123"/>
                  <a:pt x="1389888" y="0"/>
                </a:cubicBezTo>
                <a:cubicBezTo>
                  <a:pt x="1683088" y="-5123"/>
                  <a:pt x="1835981" y="-14038"/>
                  <a:pt x="1980590" y="0"/>
                </a:cubicBezTo>
                <a:cubicBezTo>
                  <a:pt x="2125199" y="14038"/>
                  <a:pt x="2396099" y="-7203"/>
                  <a:pt x="2571293" y="0"/>
                </a:cubicBezTo>
                <a:cubicBezTo>
                  <a:pt x="2746487" y="7203"/>
                  <a:pt x="3041609" y="-12036"/>
                  <a:pt x="3474720" y="0"/>
                </a:cubicBezTo>
                <a:cubicBezTo>
                  <a:pt x="3474638" y="4406"/>
                  <a:pt x="3474631" y="9982"/>
                  <a:pt x="3474720" y="18288"/>
                </a:cubicBezTo>
                <a:cubicBezTo>
                  <a:pt x="3324873" y="21876"/>
                  <a:pt x="3136771" y="12587"/>
                  <a:pt x="2814523" y="18288"/>
                </a:cubicBezTo>
                <a:cubicBezTo>
                  <a:pt x="2492275" y="23989"/>
                  <a:pt x="2294402" y="47111"/>
                  <a:pt x="2154326" y="18288"/>
                </a:cubicBezTo>
                <a:cubicBezTo>
                  <a:pt x="2014250" y="-10535"/>
                  <a:pt x="1820317" y="33903"/>
                  <a:pt x="1494130" y="18288"/>
                </a:cubicBezTo>
                <a:cubicBezTo>
                  <a:pt x="1167943" y="2673"/>
                  <a:pt x="948432" y="14868"/>
                  <a:pt x="729691" y="18288"/>
                </a:cubicBezTo>
                <a:cubicBezTo>
                  <a:pt x="510950" y="21708"/>
                  <a:pt x="264032" y="24354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A screenshot of a qr code&#10;&#10;Description automatically generated">
            <a:extLst>
              <a:ext uri="{FF2B5EF4-FFF2-40B4-BE49-F238E27FC236}">
                <a16:creationId xmlns:a16="http://schemas.microsoft.com/office/drawing/2014/main" id="{213E093B-6958-430B-0226-DFCEFD6DE8E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956" b="2"/>
          <a:stretch/>
        </p:blipFill>
        <p:spPr>
          <a:xfrm>
            <a:off x="5311702" y="10"/>
            <a:ext cx="6878775" cy="6857990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71FBA9A-2F47-F61F-7F13-03E5279B97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4341" y="6356350"/>
            <a:ext cx="2743200" cy="365125"/>
          </a:xfrm>
        </p:spPr>
        <p:txBody>
          <a:bodyPr/>
          <a:lstStyle/>
          <a:p>
            <a:fld id="{330EA680-D336-4FF7-8B7A-9848BB0A1C32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62431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" name="TextBox 4">
            <a:extLst>
              <a:ext uri="{FF2B5EF4-FFF2-40B4-BE49-F238E27FC236}">
                <a16:creationId xmlns:a16="http://schemas.microsoft.com/office/drawing/2014/main" id="{E10CA06B-6DAA-6008-5E34-745FEB8471C5}"/>
              </a:ext>
            </a:extLst>
          </p:cNvPr>
          <p:cNvSpPr txBox="1"/>
          <p:nvPr/>
        </p:nvSpPr>
        <p:spPr>
          <a:xfrm>
            <a:off x="429470" y="932873"/>
            <a:ext cx="5269423" cy="707886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b="1" dirty="0">
                <a:latin typeface="CVS Health Sans" panose="020B0504020202020204" pitchFamily="34" charset="0"/>
                <a:cs typeface="Aharoni"/>
              </a:rPr>
              <a:t>Meet our Panelists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238BC812-C607-04EC-A7C7-22BF6020C02F}"/>
              </a:ext>
            </a:extLst>
          </p:cNvPr>
          <p:cNvCxnSpPr/>
          <p:nvPr/>
        </p:nvCxnSpPr>
        <p:spPr>
          <a:xfrm flipV="1">
            <a:off x="484751" y="1564244"/>
            <a:ext cx="2935634" cy="2582"/>
          </a:xfrm>
          <a:prstGeom prst="straightConnector1">
            <a:avLst/>
          </a:prstGeom>
          <a:ln w="28575">
            <a:solidFill>
              <a:srgbClr val="F1592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8E73EED4-D29C-BF0D-7590-0D25FD1AA2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70776" y="1141136"/>
            <a:ext cx="2145632" cy="214563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548214B-C50A-1C74-9C2E-286583E615CB}"/>
              </a:ext>
            </a:extLst>
          </p:cNvPr>
          <p:cNvSpPr txBox="1"/>
          <p:nvPr/>
        </p:nvSpPr>
        <p:spPr>
          <a:xfrm>
            <a:off x="7747935" y="3571232"/>
            <a:ext cx="4191856" cy="132343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Lee Washington, MD</a:t>
            </a:r>
          </a:p>
          <a:p>
            <a:pPr algn="ctr"/>
            <a:r>
              <a:rPr lang="en-US" sz="1600" b="1" i="1" dirty="0"/>
              <a:t>Moderator</a:t>
            </a:r>
          </a:p>
          <a:p>
            <a:pPr algn="ctr"/>
            <a:r>
              <a:rPr lang="en-US" sz="1600" i="1" dirty="0"/>
              <a:t>Senior Medical Director</a:t>
            </a:r>
          </a:p>
          <a:p>
            <a:pPr algn="ctr"/>
            <a:r>
              <a:rPr lang="en-US" sz="1600" i="1" dirty="0"/>
              <a:t>National and Public and Labor Accounts</a:t>
            </a:r>
          </a:p>
          <a:p>
            <a:pPr algn="ctr"/>
            <a:r>
              <a:rPr lang="en-US" sz="1600" b="1" i="1" dirty="0"/>
              <a:t>Aetna</a:t>
            </a:r>
            <a:endParaRPr lang="en-US" sz="2000" i="1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38D0E9B-32D6-A9B2-6B11-65BD1D865F89}"/>
              </a:ext>
            </a:extLst>
          </p:cNvPr>
          <p:cNvSpPr txBox="1"/>
          <p:nvPr/>
        </p:nvSpPr>
        <p:spPr>
          <a:xfrm>
            <a:off x="1062399" y="3347343"/>
            <a:ext cx="2687467" cy="78483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2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ichele Polgar, RPh</a:t>
            </a:r>
          </a:p>
          <a:p>
            <a:pPr algn="ctr"/>
            <a:r>
              <a:rPr lang="en-US" sz="1100" i="1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VS Health Sans" panose="020B050402020202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Executive Director, PBM Client Solutions and Commercialization</a:t>
            </a:r>
          </a:p>
          <a:p>
            <a:pPr algn="ctr"/>
            <a:r>
              <a:rPr lang="en-US" sz="1100" b="1" i="1" dirty="0">
                <a:solidFill>
                  <a:schemeClr val="tx1">
                    <a:lumMod val="85000"/>
                    <a:lumOff val="15000"/>
                  </a:schemeClr>
                </a:solidFill>
                <a:latin typeface="CVS Health Sans" panose="020B0504020202020204" pitchFamily="34" charset="0"/>
                <a:cs typeface="Calibri" panose="020F0502020204030204" pitchFamily="34" charset="0"/>
              </a:rPr>
              <a:t>CVS Health</a:t>
            </a:r>
            <a:endParaRPr lang="en-US" sz="1100" b="1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EDA990C-794D-9998-4260-65214D2C83C6}"/>
              </a:ext>
            </a:extLst>
          </p:cNvPr>
          <p:cNvSpPr txBox="1"/>
          <p:nvPr/>
        </p:nvSpPr>
        <p:spPr>
          <a:xfrm>
            <a:off x="4325219" y="3347344"/>
            <a:ext cx="2561545" cy="646331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2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hristie Morrison, NP</a:t>
            </a:r>
          </a:p>
          <a:p>
            <a:pPr algn="ctr"/>
            <a:r>
              <a:rPr lang="en-US" sz="1200" i="1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VS Health Sans" panose="020B050402020202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Lead Advanced Practice Provider </a:t>
            </a:r>
            <a:r>
              <a:rPr lang="en-US" sz="1200" b="1" i="1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VS Health Sans" panose="020B050402020202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Oshi Health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1AEBC89-393C-F4D4-3D95-CCDBE85562A9}"/>
              </a:ext>
            </a:extLst>
          </p:cNvPr>
          <p:cNvSpPr txBox="1"/>
          <p:nvPr/>
        </p:nvSpPr>
        <p:spPr>
          <a:xfrm>
            <a:off x="1135313" y="5901461"/>
            <a:ext cx="2488631" cy="646331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2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Jenn Roberts</a:t>
            </a:r>
          </a:p>
          <a:p>
            <a:pPr algn="ctr"/>
            <a:r>
              <a:rPr lang="en-US" sz="1200" i="1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VS Health Sans" panose="020B050402020202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P Health Strategy </a:t>
            </a:r>
          </a:p>
          <a:p>
            <a:pPr algn="ctr"/>
            <a:r>
              <a:rPr lang="en-US" sz="1200" b="1" i="1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CVS Health Sans" panose="020B050402020202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Hello Heart</a:t>
            </a:r>
            <a:endParaRPr lang="en-US" sz="1200" i="1" dirty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CVS Health Sans" panose="020B050402020202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0C9567D-340B-D3F4-AABC-34B9A7CA4638}"/>
              </a:ext>
            </a:extLst>
          </p:cNvPr>
          <p:cNvSpPr txBox="1"/>
          <p:nvPr/>
        </p:nvSpPr>
        <p:spPr>
          <a:xfrm>
            <a:off x="4143565" y="5901462"/>
            <a:ext cx="2832587" cy="646331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2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r. Salvatore Docimo, Jr., DO</a:t>
            </a:r>
          </a:p>
          <a:p>
            <a:pPr algn="ctr"/>
            <a:r>
              <a:rPr lang="en-US" sz="1200" i="1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Associate Professor Bariatric Surgery</a:t>
            </a:r>
            <a:endParaRPr lang="en-US" sz="1200" i="1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algn="ctr"/>
            <a:r>
              <a:rPr lang="en-US" sz="1200" b="1" i="1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USF College of Medicine</a:t>
            </a:r>
            <a:endParaRPr lang="en-US" sz="1200" b="1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B8151A4-25DE-570D-5F86-1BFA55E77DA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079" b="13909"/>
          <a:stretch/>
        </p:blipFill>
        <p:spPr>
          <a:xfrm>
            <a:off x="4874754" y="1674945"/>
            <a:ext cx="1590754" cy="157109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8DF71A5A-E373-10F2-6EC8-72C6E08237A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22" r="8509" b="30988"/>
          <a:stretch/>
        </p:blipFill>
        <p:spPr>
          <a:xfrm>
            <a:off x="1473426" y="4232952"/>
            <a:ext cx="1551647" cy="158761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6863515-7B02-922C-7E63-4DC68CBDCB5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57104" y="1674944"/>
            <a:ext cx="1667095" cy="161403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B0EDFCB4-BC27-EA87-17BC-6C6D0CC3B98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3507" b="5939"/>
          <a:stretch/>
        </p:blipFill>
        <p:spPr>
          <a:xfrm>
            <a:off x="4914978" y="4232952"/>
            <a:ext cx="1510305" cy="161506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FF79F97-440B-2EFA-DC81-584DFCD03B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4808" y="6367333"/>
            <a:ext cx="2743200" cy="365125"/>
          </a:xfrm>
        </p:spPr>
        <p:txBody>
          <a:bodyPr/>
          <a:lstStyle/>
          <a:p>
            <a:fld id="{330EA680-D336-4FF7-8B7A-9848BB0A1C32}" type="slidenum">
              <a:rPr lang="en-US" smtClean="0">
                <a:solidFill>
                  <a:schemeClr val="bg1"/>
                </a:solidFill>
              </a:rPr>
              <a:t>2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37731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693AA5F-C400-8E4B-4072-84A4F14C68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chemeClr val="tx1"/>
                </a:solidFill>
                <a:cs typeface="Aharoni" panose="02010803020104030203" pitchFamily="2" charset="-79"/>
              </a:rPr>
              <a:t>How glucagon like peptides (GLP-1s) work?</a:t>
            </a:r>
            <a:br>
              <a:rPr lang="en-US" dirty="0">
                <a:latin typeface="CVS Health Sans" panose="020B0504020202020204" pitchFamily="34" charset="0"/>
              </a:rPr>
            </a:b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6131CEB-FBB1-79DF-02E9-06F6E0D6A076}"/>
              </a:ext>
            </a:extLst>
          </p:cNvPr>
          <p:cNvSpPr txBox="1"/>
          <p:nvPr/>
        </p:nvSpPr>
        <p:spPr>
          <a:xfrm>
            <a:off x="605860" y="1653844"/>
            <a:ext cx="11046122" cy="8307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200"/>
            <a:r>
              <a:rPr lang="en-US" sz="2399" dirty="0">
                <a:solidFill>
                  <a:srgbClr val="0A4B8C"/>
                </a:solidFill>
                <a:latin typeface="CVS Health Sans"/>
              </a:rPr>
              <a:t>GLP-1 medications treat obesity by acting </a:t>
            </a:r>
            <a:br>
              <a:rPr lang="en-US" sz="2399" dirty="0">
                <a:solidFill>
                  <a:srgbClr val="0A4B8C"/>
                </a:solidFill>
                <a:latin typeface="CVS Health Sans"/>
              </a:rPr>
            </a:br>
            <a:r>
              <a:rPr lang="en-US" sz="2399" dirty="0">
                <a:solidFill>
                  <a:srgbClr val="0A4B8C"/>
                </a:solidFill>
                <a:latin typeface="CVS Health Sans"/>
              </a:rPr>
              <a:t>on the pancreas, brain and stomach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5E9DEF0-23AE-3A29-2D38-8CF7D638D6BB}"/>
              </a:ext>
            </a:extLst>
          </p:cNvPr>
          <p:cNvSpPr txBox="1"/>
          <p:nvPr/>
        </p:nvSpPr>
        <p:spPr>
          <a:xfrm>
            <a:off x="5161181" y="4254107"/>
            <a:ext cx="2412556" cy="12153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>
              <a:spcBef>
                <a:spcPts val="600"/>
              </a:spcBef>
              <a:spcAft>
                <a:spcPts val="600"/>
              </a:spcAft>
            </a:pPr>
            <a:r>
              <a:rPr lang="en-US" sz="2199">
                <a:solidFill>
                  <a:srgbClr val="0A4B8C"/>
                </a:solidFill>
                <a:latin typeface="CVS Health Sans"/>
              </a:rPr>
              <a:t>Brain</a:t>
            </a:r>
            <a:r>
              <a:rPr lang="en-US" sz="2199">
                <a:solidFill>
                  <a:srgbClr val="FFFFFF"/>
                </a:solidFill>
                <a:latin typeface="CVS Health Sans"/>
              </a:rPr>
              <a:t>..</a:t>
            </a:r>
          </a:p>
          <a:p>
            <a:pPr defTabSz="457200">
              <a:spcBef>
                <a:spcPts val="600"/>
              </a:spcBef>
            </a:pPr>
            <a:r>
              <a:rPr lang="en-US" sz="1799">
                <a:solidFill>
                  <a:srgbClr val="3F3F3F"/>
                </a:solidFill>
                <a:latin typeface="CVS Health Sans"/>
              </a:rPr>
              <a:t> Decreases appetite</a:t>
            </a:r>
          </a:p>
          <a:p>
            <a:pPr defTabSz="457200">
              <a:spcBef>
                <a:spcPts val="600"/>
              </a:spcBef>
            </a:pPr>
            <a:r>
              <a:rPr lang="en-US" sz="1799">
                <a:solidFill>
                  <a:srgbClr val="3F3F3F"/>
                </a:solidFill>
                <a:latin typeface="CVS Health Sans"/>
              </a:rPr>
              <a:t> Increases nause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A5172D2-351E-691F-CF1F-F24B7A2EC076}"/>
              </a:ext>
            </a:extLst>
          </p:cNvPr>
          <p:cNvSpPr txBox="1"/>
          <p:nvPr/>
        </p:nvSpPr>
        <p:spPr>
          <a:xfrm>
            <a:off x="9019156" y="4267564"/>
            <a:ext cx="2188644" cy="12153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>
              <a:spcBef>
                <a:spcPts val="600"/>
              </a:spcBef>
              <a:spcAft>
                <a:spcPts val="600"/>
              </a:spcAft>
            </a:pPr>
            <a:r>
              <a:rPr lang="en-US" sz="2199">
                <a:solidFill>
                  <a:srgbClr val="0A4B8C"/>
                </a:solidFill>
                <a:latin typeface="CVS Health Sans"/>
              </a:rPr>
              <a:t>Stomach</a:t>
            </a:r>
          </a:p>
          <a:p>
            <a:pPr algn="ctr" defTabSz="457200">
              <a:spcBef>
                <a:spcPts val="600"/>
              </a:spcBef>
            </a:pPr>
            <a:r>
              <a:rPr lang="en-US" sz="1799">
                <a:solidFill>
                  <a:srgbClr val="3F3F3F"/>
                </a:solidFill>
                <a:latin typeface="CVS Health Sans"/>
              </a:rPr>
              <a:t>Delays digestion</a:t>
            </a:r>
          </a:p>
          <a:p>
            <a:pPr algn="ctr" defTabSz="457200">
              <a:spcBef>
                <a:spcPts val="600"/>
              </a:spcBef>
            </a:pPr>
            <a:r>
              <a:rPr lang="en-US" sz="1799">
                <a:solidFill>
                  <a:srgbClr val="3F3F3F"/>
                </a:solidFill>
                <a:latin typeface="CVS Health Sans"/>
              </a:rPr>
              <a:t>Feel fuller long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E99A007-6BCB-BDCA-C90B-F87B6015101D}"/>
              </a:ext>
            </a:extLst>
          </p:cNvPr>
          <p:cNvSpPr txBox="1"/>
          <p:nvPr/>
        </p:nvSpPr>
        <p:spPr>
          <a:xfrm>
            <a:off x="963383" y="4267564"/>
            <a:ext cx="3054830" cy="12153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>
              <a:spcBef>
                <a:spcPts val="600"/>
              </a:spcBef>
              <a:spcAft>
                <a:spcPts val="600"/>
              </a:spcAft>
            </a:pPr>
            <a:r>
              <a:rPr lang="en-US" sz="2199">
                <a:solidFill>
                  <a:srgbClr val="0A4B8C"/>
                </a:solidFill>
                <a:latin typeface="CVS Health Sans"/>
              </a:rPr>
              <a:t>Pancreas</a:t>
            </a:r>
          </a:p>
          <a:p>
            <a:pPr defTabSz="457200">
              <a:spcBef>
                <a:spcPts val="600"/>
              </a:spcBef>
            </a:pPr>
            <a:r>
              <a:rPr lang="en-US" sz="1799">
                <a:solidFill>
                  <a:srgbClr val="3F3F3F"/>
                </a:solidFill>
                <a:latin typeface="CVS Health Sans"/>
              </a:rPr>
              <a:t> Increases insulin release</a:t>
            </a:r>
          </a:p>
          <a:p>
            <a:pPr defTabSz="457200">
              <a:spcBef>
                <a:spcPts val="600"/>
              </a:spcBef>
            </a:pPr>
            <a:r>
              <a:rPr lang="en-US" sz="1799">
                <a:solidFill>
                  <a:srgbClr val="3F3F3F"/>
                </a:solidFill>
                <a:latin typeface="CVS Health Sans"/>
              </a:rPr>
              <a:t> Reduces glucagon release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080EFF7F-DAB0-EF88-D04A-F8D284078A31}"/>
              </a:ext>
            </a:extLst>
          </p:cNvPr>
          <p:cNvCxnSpPr>
            <a:cxnSpLocks/>
          </p:cNvCxnSpPr>
          <p:nvPr/>
        </p:nvCxnSpPr>
        <p:spPr>
          <a:xfrm>
            <a:off x="967439" y="5103873"/>
            <a:ext cx="0" cy="182832"/>
          </a:xfrm>
          <a:prstGeom prst="straightConnector1">
            <a:avLst/>
          </a:prstGeom>
          <a:ln w="31750" cmpd="sng">
            <a:solidFill>
              <a:srgbClr val="9E0000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B84DCF51-35C8-E4B5-DFFD-0C131CE265E2}"/>
              </a:ext>
            </a:extLst>
          </p:cNvPr>
          <p:cNvCxnSpPr>
            <a:cxnSpLocks/>
          </p:cNvCxnSpPr>
          <p:nvPr/>
        </p:nvCxnSpPr>
        <p:spPr>
          <a:xfrm flipV="1">
            <a:off x="967439" y="4776097"/>
            <a:ext cx="0" cy="182832"/>
          </a:xfrm>
          <a:prstGeom prst="straightConnector1">
            <a:avLst/>
          </a:prstGeom>
          <a:ln w="31750" cmpd="sng">
            <a:solidFill>
              <a:srgbClr val="9E0000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C69DBE81-384C-AF1A-B9DD-33F3FDCAB93C}"/>
              </a:ext>
            </a:extLst>
          </p:cNvPr>
          <p:cNvCxnSpPr>
            <a:cxnSpLocks/>
          </p:cNvCxnSpPr>
          <p:nvPr/>
        </p:nvCxnSpPr>
        <p:spPr>
          <a:xfrm flipH="1" flipV="1">
            <a:off x="9079538" y="5103873"/>
            <a:ext cx="0" cy="182832"/>
          </a:xfrm>
          <a:prstGeom prst="straightConnector1">
            <a:avLst/>
          </a:prstGeom>
          <a:ln w="31750" cmpd="sng">
            <a:solidFill>
              <a:srgbClr val="9E0000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2E10FB9C-1795-5B26-D813-4720ECAF1FBE}"/>
              </a:ext>
            </a:extLst>
          </p:cNvPr>
          <p:cNvCxnSpPr>
            <a:cxnSpLocks/>
          </p:cNvCxnSpPr>
          <p:nvPr/>
        </p:nvCxnSpPr>
        <p:spPr>
          <a:xfrm flipH="1">
            <a:off x="9079538" y="4768090"/>
            <a:ext cx="0" cy="182832"/>
          </a:xfrm>
          <a:prstGeom prst="straightConnector1">
            <a:avLst/>
          </a:prstGeom>
          <a:ln w="31750" cmpd="sng">
            <a:solidFill>
              <a:srgbClr val="9E0000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066A9352-3FBA-4D16-B879-A4855D05CEE5}"/>
              </a:ext>
            </a:extLst>
          </p:cNvPr>
          <p:cNvCxnSpPr>
            <a:cxnSpLocks/>
          </p:cNvCxnSpPr>
          <p:nvPr/>
        </p:nvCxnSpPr>
        <p:spPr>
          <a:xfrm flipH="1" flipV="1">
            <a:off x="5171528" y="5103873"/>
            <a:ext cx="0" cy="182832"/>
          </a:xfrm>
          <a:prstGeom prst="straightConnector1">
            <a:avLst/>
          </a:prstGeom>
          <a:ln w="31750" cmpd="sng">
            <a:solidFill>
              <a:srgbClr val="9E0000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7B55192D-B7C7-81F6-AC93-BC30721B52D7}"/>
              </a:ext>
            </a:extLst>
          </p:cNvPr>
          <p:cNvCxnSpPr>
            <a:cxnSpLocks/>
          </p:cNvCxnSpPr>
          <p:nvPr/>
        </p:nvCxnSpPr>
        <p:spPr>
          <a:xfrm flipH="1">
            <a:off x="5171528" y="4768090"/>
            <a:ext cx="0" cy="182832"/>
          </a:xfrm>
          <a:prstGeom prst="straightConnector1">
            <a:avLst/>
          </a:prstGeom>
          <a:ln w="31750" cmpd="sng">
            <a:solidFill>
              <a:srgbClr val="9E0000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AutoShape 3">
            <a:extLst>
              <a:ext uri="{FF2B5EF4-FFF2-40B4-BE49-F238E27FC236}">
                <a16:creationId xmlns:a16="http://schemas.microsoft.com/office/drawing/2014/main" id="{BF6BE936-9541-8100-2B5C-E3FE50189FE0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947599" y="3023523"/>
            <a:ext cx="1096962" cy="1098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en-US" sz="1500">
              <a:solidFill>
                <a:srgbClr val="3F3F3F"/>
              </a:solidFill>
              <a:latin typeface="CVS Health Sans"/>
            </a:endParaRPr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7541387F-9EA4-F611-BC1F-E2EBEBD0364F}"/>
              </a:ext>
            </a:extLst>
          </p:cNvPr>
          <p:cNvSpPr>
            <a:spLocks/>
          </p:cNvSpPr>
          <p:nvPr/>
        </p:nvSpPr>
        <p:spPr bwMode="auto">
          <a:xfrm>
            <a:off x="1947599" y="3021936"/>
            <a:ext cx="1103312" cy="1104900"/>
          </a:xfrm>
          <a:custGeom>
            <a:avLst/>
            <a:gdLst>
              <a:gd name="T0" fmla="*/ 2239 w 2239"/>
              <a:gd name="T1" fmla="*/ 1119 h 2238"/>
              <a:gd name="T2" fmla="*/ 2239 w 2239"/>
              <a:gd name="T3" fmla="*/ 1119 h 2238"/>
              <a:gd name="T4" fmla="*/ 1119 w 2239"/>
              <a:gd name="T5" fmla="*/ 2238 h 2238"/>
              <a:gd name="T6" fmla="*/ 0 w 2239"/>
              <a:gd name="T7" fmla="*/ 1119 h 2238"/>
              <a:gd name="T8" fmla="*/ 1119 w 2239"/>
              <a:gd name="T9" fmla="*/ 0 h 2238"/>
              <a:gd name="T10" fmla="*/ 2239 w 2239"/>
              <a:gd name="T11" fmla="*/ 1119 h 2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239" h="2238">
                <a:moveTo>
                  <a:pt x="2239" y="1119"/>
                </a:moveTo>
                <a:lnTo>
                  <a:pt x="2239" y="1119"/>
                </a:lnTo>
                <a:cubicBezTo>
                  <a:pt x="2239" y="1737"/>
                  <a:pt x="1738" y="2238"/>
                  <a:pt x="1119" y="2238"/>
                </a:cubicBezTo>
                <a:cubicBezTo>
                  <a:pt x="501" y="2238"/>
                  <a:pt x="0" y="1737"/>
                  <a:pt x="0" y="1119"/>
                </a:cubicBezTo>
                <a:cubicBezTo>
                  <a:pt x="0" y="500"/>
                  <a:pt x="501" y="0"/>
                  <a:pt x="1119" y="0"/>
                </a:cubicBezTo>
                <a:cubicBezTo>
                  <a:pt x="1738" y="0"/>
                  <a:pt x="2239" y="500"/>
                  <a:pt x="2239" y="1119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en-US" sz="1500">
              <a:solidFill>
                <a:srgbClr val="3F3F3F"/>
              </a:solidFill>
              <a:latin typeface="CVS Health Sans"/>
            </a:endParaRPr>
          </a:p>
        </p:txBody>
      </p:sp>
      <p:sp>
        <p:nvSpPr>
          <p:cNvPr id="15" name="Freeform 6">
            <a:extLst>
              <a:ext uri="{FF2B5EF4-FFF2-40B4-BE49-F238E27FC236}">
                <a16:creationId xmlns:a16="http://schemas.microsoft.com/office/drawing/2014/main" id="{B5611246-3AAE-16F5-37AA-0FC96497CEB5}"/>
              </a:ext>
            </a:extLst>
          </p:cNvPr>
          <p:cNvSpPr>
            <a:spLocks/>
          </p:cNvSpPr>
          <p:nvPr/>
        </p:nvSpPr>
        <p:spPr bwMode="auto">
          <a:xfrm>
            <a:off x="2180751" y="3436963"/>
            <a:ext cx="144462" cy="250825"/>
          </a:xfrm>
          <a:custGeom>
            <a:avLst/>
            <a:gdLst>
              <a:gd name="T0" fmla="*/ 38 w 292"/>
              <a:gd name="T1" fmla="*/ 509 h 509"/>
              <a:gd name="T2" fmla="*/ 38 w 292"/>
              <a:gd name="T3" fmla="*/ 509 h 509"/>
              <a:gd name="T4" fmla="*/ 38 w 292"/>
              <a:gd name="T5" fmla="*/ 195 h 509"/>
              <a:gd name="T6" fmla="*/ 264 w 292"/>
              <a:gd name="T7" fmla="*/ 0 h 509"/>
              <a:gd name="T8" fmla="*/ 267 w 292"/>
              <a:gd name="T9" fmla="*/ 14 h 509"/>
              <a:gd name="T10" fmla="*/ 281 w 292"/>
              <a:gd name="T11" fmla="*/ 101 h 509"/>
              <a:gd name="T12" fmla="*/ 131 w 292"/>
              <a:gd name="T13" fmla="*/ 403 h 509"/>
              <a:gd name="T14" fmla="*/ 106 w 292"/>
              <a:gd name="T15" fmla="*/ 432 h 509"/>
              <a:gd name="T16" fmla="*/ 38 w 292"/>
              <a:gd name="T17" fmla="*/ 509 h 5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92" h="509">
                <a:moveTo>
                  <a:pt x="38" y="509"/>
                </a:moveTo>
                <a:lnTo>
                  <a:pt x="38" y="509"/>
                </a:lnTo>
                <a:cubicBezTo>
                  <a:pt x="0" y="416"/>
                  <a:pt x="0" y="296"/>
                  <a:pt x="38" y="195"/>
                </a:cubicBezTo>
                <a:cubicBezTo>
                  <a:pt x="75" y="98"/>
                  <a:pt x="155" y="29"/>
                  <a:pt x="264" y="0"/>
                </a:cubicBezTo>
                <a:lnTo>
                  <a:pt x="267" y="14"/>
                </a:lnTo>
                <a:cubicBezTo>
                  <a:pt x="272" y="42"/>
                  <a:pt x="278" y="71"/>
                  <a:pt x="281" y="101"/>
                </a:cubicBezTo>
                <a:cubicBezTo>
                  <a:pt x="292" y="215"/>
                  <a:pt x="203" y="319"/>
                  <a:pt x="131" y="403"/>
                </a:cubicBezTo>
                <a:cubicBezTo>
                  <a:pt x="122" y="413"/>
                  <a:pt x="114" y="423"/>
                  <a:pt x="106" y="432"/>
                </a:cubicBezTo>
                <a:cubicBezTo>
                  <a:pt x="83" y="454"/>
                  <a:pt x="57" y="480"/>
                  <a:pt x="38" y="509"/>
                </a:cubicBez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en-US" sz="1500">
              <a:solidFill>
                <a:srgbClr val="3F3F3F"/>
              </a:solidFill>
              <a:latin typeface="CVS Health Sans"/>
            </a:endParaRPr>
          </a:p>
        </p:txBody>
      </p:sp>
      <p:sp>
        <p:nvSpPr>
          <p:cNvPr id="16" name="Freeform 7">
            <a:extLst>
              <a:ext uri="{FF2B5EF4-FFF2-40B4-BE49-F238E27FC236}">
                <a16:creationId xmlns:a16="http://schemas.microsoft.com/office/drawing/2014/main" id="{522F2FFA-0E53-3BC8-68B7-80F0E696583F}"/>
              </a:ext>
            </a:extLst>
          </p:cNvPr>
          <p:cNvSpPr>
            <a:spLocks noEditPoints="1"/>
          </p:cNvSpPr>
          <p:nvPr/>
        </p:nvSpPr>
        <p:spPr bwMode="auto">
          <a:xfrm>
            <a:off x="2207739" y="3367112"/>
            <a:ext cx="727075" cy="401638"/>
          </a:xfrm>
          <a:custGeom>
            <a:avLst/>
            <a:gdLst>
              <a:gd name="T0" fmla="*/ 1281 w 1475"/>
              <a:gd name="T1" fmla="*/ 126 h 813"/>
              <a:gd name="T2" fmla="*/ 202 w 1475"/>
              <a:gd name="T3" fmla="*/ 813 h 813"/>
              <a:gd name="T4" fmla="*/ 98 w 1475"/>
              <a:gd name="T5" fmla="*/ 571 h 813"/>
              <a:gd name="T6" fmla="*/ 296 w 1475"/>
              <a:gd name="T7" fmla="*/ 507 h 813"/>
              <a:gd name="T8" fmla="*/ 313 w 1475"/>
              <a:gd name="T9" fmla="*/ 512 h 813"/>
              <a:gd name="T10" fmla="*/ 292 w 1475"/>
              <a:gd name="T11" fmla="*/ 485 h 813"/>
              <a:gd name="T12" fmla="*/ 372 w 1475"/>
              <a:gd name="T13" fmla="*/ 414 h 813"/>
              <a:gd name="T14" fmla="*/ 416 w 1475"/>
              <a:gd name="T15" fmla="*/ 471 h 813"/>
              <a:gd name="T16" fmla="*/ 397 w 1475"/>
              <a:gd name="T17" fmla="*/ 409 h 813"/>
              <a:gd name="T18" fmla="*/ 514 w 1475"/>
              <a:gd name="T19" fmla="*/ 390 h 813"/>
              <a:gd name="T20" fmla="*/ 555 w 1475"/>
              <a:gd name="T21" fmla="*/ 448 h 813"/>
              <a:gd name="T22" fmla="*/ 558 w 1475"/>
              <a:gd name="T23" fmla="*/ 432 h 813"/>
              <a:gd name="T24" fmla="*/ 536 w 1475"/>
              <a:gd name="T25" fmla="*/ 371 h 813"/>
              <a:gd name="T26" fmla="*/ 691 w 1475"/>
              <a:gd name="T27" fmla="*/ 394 h 813"/>
              <a:gd name="T28" fmla="*/ 729 w 1475"/>
              <a:gd name="T29" fmla="*/ 419 h 813"/>
              <a:gd name="T30" fmla="*/ 717 w 1475"/>
              <a:gd name="T31" fmla="*/ 390 h 813"/>
              <a:gd name="T32" fmla="*/ 699 w 1475"/>
              <a:gd name="T33" fmla="*/ 359 h 813"/>
              <a:gd name="T34" fmla="*/ 864 w 1475"/>
              <a:gd name="T35" fmla="*/ 367 h 813"/>
              <a:gd name="T36" fmla="*/ 886 w 1475"/>
              <a:gd name="T37" fmla="*/ 363 h 813"/>
              <a:gd name="T38" fmla="*/ 866 w 1475"/>
              <a:gd name="T39" fmla="*/ 350 h 813"/>
              <a:gd name="T40" fmla="*/ 848 w 1475"/>
              <a:gd name="T41" fmla="*/ 324 h 813"/>
              <a:gd name="T42" fmla="*/ 1041 w 1475"/>
              <a:gd name="T43" fmla="*/ 315 h 813"/>
              <a:gd name="T44" fmla="*/ 1033 w 1475"/>
              <a:gd name="T45" fmla="*/ 296 h 813"/>
              <a:gd name="T46" fmla="*/ 1078 w 1475"/>
              <a:gd name="T47" fmla="*/ 233 h 813"/>
              <a:gd name="T48" fmla="*/ 1165 w 1475"/>
              <a:gd name="T49" fmla="*/ 226 h 813"/>
              <a:gd name="T50" fmla="*/ 1213 w 1475"/>
              <a:gd name="T51" fmla="*/ 255 h 813"/>
              <a:gd name="T52" fmla="*/ 1192 w 1475"/>
              <a:gd name="T53" fmla="*/ 230 h 813"/>
              <a:gd name="T54" fmla="*/ 1171 w 1475"/>
              <a:gd name="T55" fmla="*/ 206 h 813"/>
              <a:gd name="T56" fmla="*/ 1321 w 1475"/>
              <a:gd name="T57" fmla="*/ 187 h 813"/>
              <a:gd name="T58" fmla="*/ 1355 w 1475"/>
              <a:gd name="T59" fmla="*/ 114 h 813"/>
              <a:gd name="T60" fmla="*/ 1241 w 1475"/>
              <a:gd name="T61" fmla="*/ 156 h 813"/>
              <a:gd name="T62" fmla="*/ 1151 w 1475"/>
              <a:gd name="T63" fmla="*/ 149 h 813"/>
              <a:gd name="T64" fmla="*/ 1071 w 1475"/>
              <a:gd name="T65" fmla="*/ 220 h 813"/>
              <a:gd name="T66" fmla="*/ 988 w 1475"/>
              <a:gd name="T67" fmla="*/ 227 h 813"/>
              <a:gd name="T68" fmla="*/ 982 w 1475"/>
              <a:gd name="T69" fmla="*/ 198 h 813"/>
              <a:gd name="T70" fmla="*/ 972 w 1475"/>
              <a:gd name="T71" fmla="*/ 228 h 813"/>
              <a:gd name="T72" fmla="*/ 842 w 1475"/>
              <a:gd name="T73" fmla="*/ 306 h 813"/>
              <a:gd name="T74" fmla="*/ 832 w 1475"/>
              <a:gd name="T75" fmla="*/ 231 h 813"/>
              <a:gd name="T76" fmla="*/ 731 w 1475"/>
              <a:gd name="T77" fmla="*/ 318 h 813"/>
              <a:gd name="T78" fmla="*/ 691 w 1475"/>
              <a:gd name="T79" fmla="*/ 284 h 813"/>
              <a:gd name="T80" fmla="*/ 690 w 1475"/>
              <a:gd name="T81" fmla="*/ 258 h 813"/>
              <a:gd name="T82" fmla="*/ 662 w 1475"/>
              <a:gd name="T83" fmla="*/ 315 h 813"/>
              <a:gd name="T84" fmla="*/ 535 w 1475"/>
              <a:gd name="T85" fmla="*/ 329 h 813"/>
              <a:gd name="T86" fmla="*/ 541 w 1475"/>
              <a:gd name="T87" fmla="*/ 308 h 813"/>
              <a:gd name="T88" fmla="*/ 557 w 1475"/>
              <a:gd name="T89" fmla="*/ 282 h 813"/>
              <a:gd name="T90" fmla="*/ 534 w 1475"/>
              <a:gd name="T91" fmla="*/ 284 h 813"/>
              <a:gd name="T92" fmla="*/ 515 w 1475"/>
              <a:gd name="T93" fmla="*/ 310 h 813"/>
              <a:gd name="T94" fmla="*/ 391 w 1475"/>
              <a:gd name="T95" fmla="*/ 375 h 813"/>
              <a:gd name="T96" fmla="*/ 402 w 1475"/>
              <a:gd name="T97" fmla="*/ 321 h 813"/>
              <a:gd name="T98" fmla="*/ 370 w 1475"/>
              <a:gd name="T99" fmla="*/ 350 h 813"/>
              <a:gd name="T100" fmla="*/ 366 w 1475"/>
              <a:gd name="T101" fmla="*/ 374 h 813"/>
              <a:gd name="T102" fmla="*/ 279 w 1475"/>
              <a:gd name="T103" fmla="*/ 389 h 813"/>
              <a:gd name="T104" fmla="*/ 279 w 1475"/>
              <a:gd name="T105" fmla="*/ 363 h 813"/>
              <a:gd name="T106" fmla="*/ 152 w 1475"/>
              <a:gd name="T107" fmla="*/ 491 h 813"/>
              <a:gd name="T108" fmla="*/ 378 w 1475"/>
              <a:gd name="T109" fmla="*/ 169 h 813"/>
              <a:gd name="T110" fmla="*/ 728 w 1475"/>
              <a:gd name="T111" fmla="*/ 114 h 813"/>
              <a:gd name="T112" fmla="*/ 1005 w 1475"/>
              <a:gd name="T113" fmla="*/ 111 h 813"/>
              <a:gd name="T114" fmla="*/ 1341 w 1475"/>
              <a:gd name="T115" fmla="*/ 4 h 813"/>
              <a:gd name="T116" fmla="*/ 1142 w 1475"/>
              <a:gd name="T117" fmla="*/ 341 h 813"/>
              <a:gd name="T118" fmla="*/ 762 w 1475"/>
              <a:gd name="T119" fmla="*/ 514 h 813"/>
              <a:gd name="T120" fmla="*/ 541 w 1475"/>
              <a:gd name="T121" fmla="*/ 643 h 8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475" h="813">
                <a:moveTo>
                  <a:pt x="1284" y="103"/>
                </a:moveTo>
                <a:lnTo>
                  <a:pt x="1284" y="103"/>
                </a:lnTo>
                <a:cubicBezTo>
                  <a:pt x="1282" y="103"/>
                  <a:pt x="1281" y="104"/>
                  <a:pt x="1281" y="105"/>
                </a:cubicBezTo>
                <a:cubicBezTo>
                  <a:pt x="1278" y="111"/>
                  <a:pt x="1277" y="117"/>
                  <a:pt x="1277" y="123"/>
                </a:cubicBezTo>
                <a:cubicBezTo>
                  <a:pt x="1277" y="125"/>
                  <a:pt x="1279" y="126"/>
                  <a:pt x="1281" y="126"/>
                </a:cubicBezTo>
                <a:lnTo>
                  <a:pt x="1281" y="126"/>
                </a:lnTo>
                <a:cubicBezTo>
                  <a:pt x="1282" y="126"/>
                  <a:pt x="1284" y="125"/>
                  <a:pt x="1284" y="123"/>
                </a:cubicBezTo>
                <a:cubicBezTo>
                  <a:pt x="1284" y="118"/>
                  <a:pt x="1285" y="113"/>
                  <a:pt x="1287" y="108"/>
                </a:cubicBezTo>
                <a:cubicBezTo>
                  <a:pt x="1287" y="106"/>
                  <a:pt x="1287" y="104"/>
                  <a:pt x="1285" y="104"/>
                </a:cubicBezTo>
                <a:cubicBezTo>
                  <a:pt x="1284" y="103"/>
                  <a:pt x="1284" y="103"/>
                  <a:pt x="1284" y="103"/>
                </a:cubicBezTo>
                <a:close/>
                <a:moveTo>
                  <a:pt x="202" y="813"/>
                </a:moveTo>
                <a:lnTo>
                  <a:pt x="202" y="813"/>
                </a:lnTo>
                <a:cubicBezTo>
                  <a:pt x="120" y="813"/>
                  <a:pt x="44" y="766"/>
                  <a:pt x="0" y="686"/>
                </a:cubicBezTo>
                <a:lnTo>
                  <a:pt x="0" y="686"/>
                </a:lnTo>
                <a:cubicBezTo>
                  <a:pt x="0" y="686"/>
                  <a:pt x="0" y="685"/>
                  <a:pt x="0" y="685"/>
                </a:cubicBezTo>
                <a:cubicBezTo>
                  <a:pt x="5" y="666"/>
                  <a:pt x="22" y="646"/>
                  <a:pt x="37" y="631"/>
                </a:cubicBezTo>
                <a:cubicBezTo>
                  <a:pt x="39" y="629"/>
                  <a:pt x="40" y="627"/>
                  <a:pt x="42" y="625"/>
                </a:cubicBezTo>
                <a:cubicBezTo>
                  <a:pt x="58" y="607"/>
                  <a:pt x="77" y="589"/>
                  <a:pt x="98" y="571"/>
                </a:cubicBezTo>
                <a:cubicBezTo>
                  <a:pt x="144" y="530"/>
                  <a:pt x="198" y="493"/>
                  <a:pt x="256" y="461"/>
                </a:cubicBezTo>
                <a:cubicBezTo>
                  <a:pt x="257" y="462"/>
                  <a:pt x="257" y="463"/>
                  <a:pt x="258" y="464"/>
                </a:cubicBezTo>
                <a:cubicBezTo>
                  <a:pt x="259" y="468"/>
                  <a:pt x="261" y="472"/>
                  <a:pt x="263" y="476"/>
                </a:cubicBezTo>
                <a:cubicBezTo>
                  <a:pt x="268" y="484"/>
                  <a:pt x="273" y="491"/>
                  <a:pt x="280" y="497"/>
                </a:cubicBezTo>
                <a:lnTo>
                  <a:pt x="285" y="501"/>
                </a:lnTo>
                <a:cubicBezTo>
                  <a:pt x="289" y="504"/>
                  <a:pt x="293" y="506"/>
                  <a:pt x="296" y="507"/>
                </a:cubicBezTo>
                <a:cubicBezTo>
                  <a:pt x="299" y="509"/>
                  <a:pt x="302" y="510"/>
                  <a:pt x="305" y="511"/>
                </a:cubicBezTo>
                <a:cubicBezTo>
                  <a:pt x="306" y="511"/>
                  <a:pt x="308" y="511"/>
                  <a:pt x="309" y="512"/>
                </a:cubicBezTo>
                <a:cubicBezTo>
                  <a:pt x="309" y="512"/>
                  <a:pt x="310" y="512"/>
                  <a:pt x="310" y="512"/>
                </a:cubicBezTo>
                <a:lnTo>
                  <a:pt x="312" y="512"/>
                </a:lnTo>
                <a:cubicBezTo>
                  <a:pt x="312" y="512"/>
                  <a:pt x="313" y="512"/>
                  <a:pt x="313" y="512"/>
                </a:cubicBezTo>
                <a:cubicBezTo>
                  <a:pt x="313" y="512"/>
                  <a:pt x="313" y="512"/>
                  <a:pt x="313" y="512"/>
                </a:cubicBezTo>
                <a:cubicBezTo>
                  <a:pt x="316" y="512"/>
                  <a:pt x="317" y="511"/>
                  <a:pt x="318" y="509"/>
                </a:cubicBezTo>
                <a:cubicBezTo>
                  <a:pt x="319" y="508"/>
                  <a:pt x="318" y="506"/>
                  <a:pt x="317" y="503"/>
                </a:cubicBezTo>
                <a:cubicBezTo>
                  <a:pt x="317" y="503"/>
                  <a:pt x="316" y="503"/>
                  <a:pt x="316" y="503"/>
                </a:cubicBezTo>
                <a:lnTo>
                  <a:pt x="309" y="499"/>
                </a:lnTo>
                <a:cubicBezTo>
                  <a:pt x="305" y="496"/>
                  <a:pt x="300" y="493"/>
                  <a:pt x="296" y="489"/>
                </a:cubicBezTo>
                <a:lnTo>
                  <a:pt x="292" y="485"/>
                </a:lnTo>
                <a:lnTo>
                  <a:pt x="289" y="480"/>
                </a:lnTo>
                <a:cubicBezTo>
                  <a:pt x="285" y="476"/>
                  <a:pt x="283" y="471"/>
                  <a:pt x="281" y="467"/>
                </a:cubicBezTo>
                <a:lnTo>
                  <a:pt x="279" y="464"/>
                </a:lnTo>
                <a:cubicBezTo>
                  <a:pt x="278" y="460"/>
                  <a:pt x="276" y="456"/>
                  <a:pt x="275" y="451"/>
                </a:cubicBezTo>
                <a:cubicBezTo>
                  <a:pt x="306" y="436"/>
                  <a:pt x="338" y="421"/>
                  <a:pt x="371" y="409"/>
                </a:cubicBezTo>
                <a:cubicBezTo>
                  <a:pt x="371" y="411"/>
                  <a:pt x="372" y="412"/>
                  <a:pt x="372" y="414"/>
                </a:cubicBezTo>
                <a:cubicBezTo>
                  <a:pt x="372" y="414"/>
                  <a:pt x="373" y="414"/>
                  <a:pt x="373" y="415"/>
                </a:cubicBezTo>
                <a:cubicBezTo>
                  <a:pt x="375" y="419"/>
                  <a:pt x="377" y="424"/>
                  <a:pt x="379" y="429"/>
                </a:cubicBezTo>
                <a:cubicBezTo>
                  <a:pt x="387" y="443"/>
                  <a:pt x="396" y="455"/>
                  <a:pt x="407" y="466"/>
                </a:cubicBezTo>
                <a:cubicBezTo>
                  <a:pt x="411" y="469"/>
                  <a:pt x="413" y="470"/>
                  <a:pt x="413" y="470"/>
                </a:cubicBezTo>
                <a:cubicBezTo>
                  <a:pt x="413" y="471"/>
                  <a:pt x="413" y="471"/>
                  <a:pt x="414" y="471"/>
                </a:cubicBezTo>
                <a:cubicBezTo>
                  <a:pt x="415" y="471"/>
                  <a:pt x="416" y="471"/>
                  <a:pt x="416" y="471"/>
                </a:cubicBezTo>
                <a:cubicBezTo>
                  <a:pt x="419" y="471"/>
                  <a:pt x="421" y="470"/>
                  <a:pt x="421" y="465"/>
                </a:cubicBezTo>
                <a:cubicBezTo>
                  <a:pt x="421" y="465"/>
                  <a:pt x="421" y="465"/>
                  <a:pt x="421" y="464"/>
                </a:cubicBezTo>
                <a:cubicBezTo>
                  <a:pt x="418" y="457"/>
                  <a:pt x="415" y="450"/>
                  <a:pt x="410" y="441"/>
                </a:cubicBezTo>
                <a:cubicBezTo>
                  <a:pt x="408" y="437"/>
                  <a:pt x="406" y="432"/>
                  <a:pt x="404" y="427"/>
                </a:cubicBezTo>
                <a:cubicBezTo>
                  <a:pt x="403" y="425"/>
                  <a:pt x="402" y="422"/>
                  <a:pt x="400" y="419"/>
                </a:cubicBezTo>
                <a:cubicBezTo>
                  <a:pt x="399" y="416"/>
                  <a:pt x="398" y="413"/>
                  <a:pt x="397" y="409"/>
                </a:cubicBezTo>
                <a:lnTo>
                  <a:pt x="396" y="406"/>
                </a:lnTo>
                <a:cubicBezTo>
                  <a:pt x="396" y="404"/>
                  <a:pt x="395" y="402"/>
                  <a:pt x="395" y="400"/>
                </a:cubicBezTo>
                <a:cubicBezTo>
                  <a:pt x="432" y="387"/>
                  <a:pt x="470" y="377"/>
                  <a:pt x="508" y="369"/>
                </a:cubicBezTo>
                <a:cubicBezTo>
                  <a:pt x="509" y="371"/>
                  <a:pt x="509" y="374"/>
                  <a:pt x="510" y="376"/>
                </a:cubicBezTo>
                <a:lnTo>
                  <a:pt x="511" y="381"/>
                </a:lnTo>
                <a:lnTo>
                  <a:pt x="514" y="390"/>
                </a:lnTo>
                <a:cubicBezTo>
                  <a:pt x="517" y="398"/>
                  <a:pt x="521" y="406"/>
                  <a:pt x="527" y="417"/>
                </a:cubicBezTo>
                <a:lnTo>
                  <a:pt x="529" y="420"/>
                </a:lnTo>
                <a:cubicBezTo>
                  <a:pt x="531" y="423"/>
                  <a:pt x="533" y="426"/>
                  <a:pt x="536" y="429"/>
                </a:cubicBezTo>
                <a:cubicBezTo>
                  <a:pt x="538" y="431"/>
                  <a:pt x="540" y="433"/>
                  <a:pt x="542" y="435"/>
                </a:cubicBezTo>
                <a:cubicBezTo>
                  <a:pt x="546" y="440"/>
                  <a:pt x="550" y="444"/>
                  <a:pt x="555" y="447"/>
                </a:cubicBezTo>
                <a:lnTo>
                  <a:pt x="555" y="448"/>
                </a:lnTo>
                <a:cubicBezTo>
                  <a:pt x="556" y="448"/>
                  <a:pt x="556" y="448"/>
                  <a:pt x="556" y="448"/>
                </a:cubicBezTo>
                <a:cubicBezTo>
                  <a:pt x="557" y="449"/>
                  <a:pt x="558" y="449"/>
                  <a:pt x="559" y="449"/>
                </a:cubicBezTo>
                <a:cubicBezTo>
                  <a:pt x="560" y="449"/>
                  <a:pt x="561" y="448"/>
                  <a:pt x="562" y="447"/>
                </a:cubicBezTo>
                <a:cubicBezTo>
                  <a:pt x="563" y="446"/>
                  <a:pt x="564" y="445"/>
                  <a:pt x="564" y="443"/>
                </a:cubicBezTo>
                <a:cubicBezTo>
                  <a:pt x="564" y="442"/>
                  <a:pt x="564" y="442"/>
                  <a:pt x="563" y="441"/>
                </a:cubicBezTo>
                <a:cubicBezTo>
                  <a:pt x="562" y="438"/>
                  <a:pt x="560" y="435"/>
                  <a:pt x="558" y="432"/>
                </a:cubicBezTo>
                <a:cubicBezTo>
                  <a:pt x="557" y="430"/>
                  <a:pt x="556" y="428"/>
                  <a:pt x="555" y="426"/>
                </a:cubicBezTo>
                <a:lnTo>
                  <a:pt x="553" y="421"/>
                </a:lnTo>
                <a:cubicBezTo>
                  <a:pt x="549" y="411"/>
                  <a:pt x="544" y="400"/>
                  <a:pt x="541" y="390"/>
                </a:cubicBezTo>
                <a:lnTo>
                  <a:pt x="539" y="382"/>
                </a:lnTo>
                <a:lnTo>
                  <a:pt x="537" y="375"/>
                </a:lnTo>
                <a:lnTo>
                  <a:pt x="536" y="371"/>
                </a:lnTo>
                <a:cubicBezTo>
                  <a:pt x="536" y="368"/>
                  <a:pt x="536" y="366"/>
                  <a:pt x="535" y="363"/>
                </a:cubicBezTo>
                <a:cubicBezTo>
                  <a:pt x="578" y="356"/>
                  <a:pt x="622" y="349"/>
                  <a:pt x="665" y="344"/>
                </a:cubicBezTo>
                <a:cubicBezTo>
                  <a:pt x="666" y="350"/>
                  <a:pt x="668" y="354"/>
                  <a:pt x="669" y="358"/>
                </a:cubicBezTo>
                <a:cubicBezTo>
                  <a:pt x="670" y="361"/>
                  <a:pt x="672" y="364"/>
                  <a:pt x="673" y="366"/>
                </a:cubicBezTo>
                <a:cubicBezTo>
                  <a:pt x="674" y="369"/>
                  <a:pt x="675" y="372"/>
                  <a:pt x="677" y="374"/>
                </a:cubicBezTo>
                <a:cubicBezTo>
                  <a:pt x="681" y="381"/>
                  <a:pt x="686" y="388"/>
                  <a:pt x="691" y="394"/>
                </a:cubicBezTo>
                <a:cubicBezTo>
                  <a:pt x="695" y="397"/>
                  <a:pt x="698" y="401"/>
                  <a:pt x="702" y="404"/>
                </a:cubicBezTo>
                <a:cubicBezTo>
                  <a:pt x="707" y="408"/>
                  <a:pt x="713" y="411"/>
                  <a:pt x="719" y="415"/>
                </a:cubicBezTo>
                <a:lnTo>
                  <a:pt x="720" y="415"/>
                </a:lnTo>
                <a:cubicBezTo>
                  <a:pt x="725" y="417"/>
                  <a:pt x="727" y="418"/>
                  <a:pt x="727" y="418"/>
                </a:cubicBezTo>
                <a:cubicBezTo>
                  <a:pt x="728" y="418"/>
                  <a:pt x="728" y="419"/>
                  <a:pt x="728" y="419"/>
                </a:cubicBezTo>
                <a:cubicBezTo>
                  <a:pt x="728" y="419"/>
                  <a:pt x="729" y="419"/>
                  <a:pt x="729" y="419"/>
                </a:cubicBezTo>
                <a:lnTo>
                  <a:pt x="729" y="419"/>
                </a:lnTo>
                <a:cubicBezTo>
                  <a:pt x="732" y="419"/>
                  <a:pt x="733" y="417"/>
                  <a:pt x="733" y="417"/>
                </a:cubicBezTo>
                <a:cubicBezTo>
                  <a:pt x="734" y="415"/>
                  <a:pt x="735" y="413"/>
                  <a:pt x="734" y="411"/>
                </a:cubicBezTo>
                <a:cubicBezTo>
                  <a:pt x="734" y="411"/>
                  <a:pt x="734" y="410"/>
                  <a:pt x="733" y="410"/>
                </a:cubicBezTo>
                <a:cubicBezTo>
                  <a:pt x="733" y="410"/>
                  <a:pt x="731" y="408"/>
                  <a:pt x="728" y="404"/>
                </a:cubicBezTo>
                <a:cubicBezTo>
                  <a:pt x="724" y="400"/>
                  <a:pt x="720" y="395"/>
                  <a:pt x="717" y="390"/>
                </a:cubicBezTo>
                <a:cubicBezTo>
                  <a:pt x="713" y="385"/>
                  <a:pt x="709" y="380"/>
                  <a:pt x="707" y="374"/>
                </a:cubicBezTo>
                <a:lnTo>
                  <a:pt x="706" y="374"/>
                </a:lnTo>
                <a:cubicBezTo>
                  <a:pt x="705" y="372"/>
                  <a:pt x="704" y="370"/>
                  <a:pt x="704" y="368"/>
                </a:cubicBezTo>
                <a:cubicBezTo>
                  <a:pt x="704" y="368"/>
                  <a:pt x="703" y="368"/>
                  <a:pt x="703" y="368"/>
                </a:cubicBezTo>
                <a:cubicBezTo>
                  <a:pt x="703" y="366"/>
                  <a:pt x="702" y="364"/>
                  <a:pt x="701" y="362"/>
                </a:cubicBezTo>
                <a:lnTo>
                  <a:pt x="699" y="359"/>
                </a:lnTo>
                <a:lnTo>
                  <a:pt x="698" y="355"/>
                </a:lnTo>
                <a:cubicBezTo>
                  <a:pt x="696" y="351"/>
                  <a:pt x="695" y="346"/>
                  <a:pt x="694" y="341"/>
                </a:cubicBezTo>
                <a:cubicBezTo>
                  <a:pt x="707" y="340"/>
                  <a:pt x="720" y="339"/>
                  <a:pt x="733" y="338"/>
                </a:cubicBezTo>
                <a:cubicBezTo>
                  <a:pt x="764" y="335"/>
                  <a:pt x="795" y="333"/>
                  <a:pt x="826" y="328"/>
                </a:cubicBezTo>
                <a:cubicBezTo>
                  <a:pt x="833" y="344"/>
                  <a:pt x="844" y="357"/>
                  <a:pt x="856" y="364"/>
                </a:cubicBezTo>
                <a:cubicBezTo>
                  <a:pt x="859" y="365"/>
                  <a:pt x="862" y="366"/>
                  <a:pt x="864" y="367"/>
                </a:cubicBezTo>
                <a:cubicBezTo>
                  <a:pt x="865" y="368"/>
                  <a:pt x="866" y="368"/>
                  <a:pt x="866" y="368"/>
                </a:cubicBezTo>
                <a:cubicBezTo>
                  <a:pt x="871" y="370"/>
                  <a:pt x="877" y="371"/>
                  <a:pt x="882" y="372"/>
                </a:cubicBezTo>
                <a:cubicBezTo>
                  <a:pt x="882" y="372"/>
                  <a:pt x="882" y="372"/>
                  <a:pt x="883" y="372"/>
                </a:cubicBezTo>
                <a:cubicBezTo>
                  <a:pt x="883" y="372"/>
                  <a:pt x="883" y="372"/>
                  <a:pt x="883" y="372"/>
                </a:cubicBezTo>
                <a:cubicBezTo>
                  <a:pt x="886" y="371"/>
                  <a:pt x="887" y="370"/>
                  <a:pt x="888" y="369"/>
                </a:cubicBezTo>
                <a:cubicBezTo>
                  <a:pt x="888" y="367"/>
                  <a:pt x="888" y="365"/>
                  <a:pt x="886" y="363"/>
                </a:cubicBezTo>
                <a:cubicBezTo>
                  <a:pt x="886" y="363"/>
                  <a:pt x="886" y="362"/>
                  <a:pt x="885" y="362"/>
                </a:cubicBezTo>
                <a:cubicBezTo>
                  <a:pt x="885" y="362"/>
                  <a:pt x="883" y="361"/>
                  <a:pt x="879" y="359"/>
                </a:cubicBezTo>
                <a:cubicBezTo>
                  <a:pt x="878" y="358"/>
                  <a:pt x="878" y="358"/>
                  <a:pt x="877" y="357"/>
                </a:cubicBezTo>
                <a:cubicBezTo>
                  <a:pt x="875" y="357"/>
                  <a:pt x="874" y="356"/>
                  <a:pt x="873" y="355"/>
                </a:cubicBezTo>
                <a:lnTo>
                  <a:pt x="870" y="353"/>
                </a:lnTo>
                <a:cubicBezTo>
                  <a:pt x="869" y="352"/>
                  <a:pt x="867" y="351"/>
                  <a:pt x="866" y="350"/>
                </a:cubicBezTo>
                <a:cubicBezTo>
                  <a:pt x="864" y="348"/>
                  <a:pt x="861" y="345"/>
                  <a:pt x="859" y="342"/>
                </a:cubicBezTo>
                <a:cubicBezTo>
                  <a:pt x="856" y="339"/>
                  <a:pt x="854" y="336"/>
                  <a:pt x="852" y="333"/>
                </a:cubicBezTo>
                <a:cubicBezTo>
                  <a:pt x="852" y="332"/>
                  <a:pt x="852" y="332"/>
                  <a:pt x="851" y="331"/>
                </a:cubicBezTo>
                <a:cubicBezTo>
                  <a:pt x="851" y="330"/>
                  <a:pt x="850" y="329"/>
                  <a:pt x="849" y="328"/>
                </a:cubicBezTo>
                <a:lnTo>
                  <a:pt x="849" y="326"/>
                </a:lnTo>
                <a:cubicBezTo>
                  <a:pt x="848" y="325"/>
                  <a:pt x="848" y="325"/>
                  <a:pt x="848" y="324"/>
                </a:cubicBezTo>
                <a:cubicBezTo>
                  <a:pt x="901" y="313"/>
                  <a:pt x="950" y="293"/>
                  <a:pt x="989" y="276"/>
                </a:cubicBezTo>
                <a:cubicBezTo>
                  <a:pt x="990" y="278"/>
                  <a:pt x="991" y="280"/>
                  <a:pt x="993" y="282"/>
                </a:cubicBezTo>
                <a:cubicBezTo>
                  <a:pt x="996" y="285"/>
                  <a:pt x="999" y="289"/>
                  <a:pt x="1002" y="291"/>
                </a:cubicBezTo>
                <a:cubicBezTo>
                  <a:pt x="1003" y="293"/>
                  <a:pt x="1005" y="294"/>
                  <a:pt x="1006" y="296"/>
                </a:cubicBezTo>
                <a:cubicBezTo>
                  <a:pt x="1018" y="305"/>
                  <a:pt x="1029" y="311"/>
                  <a:pt x="1040" y="314"/>
                </a:cubicBezTo>
                <a:cubicBezTo>
                  <a:pt x="1040" y="314"/>
                  <a:pt x="1040" y="315"/>
                  <a:pt x="1041" y="315"/>
                </a:cubicBezTo>
                <a:lnTo>
                  <a:pt x="1041" y="315"/>
                </a:lnTo>
                <a:cubicBezTo>
                  <a:pt x="1044" y="315"/>
                  <a:pt x="1045" y="313"/>
                  <a:pt x="1046" y="312"/>
                </a:cubicBezTo>
                <a:cubicBezTo>
                  <a:pt x="1047" y="311"/>
                  <a:pt x="1047" y="309"/>
                  <a:pt x="1046" y="306"/>
                </a:cubicBezTo>
                <a:cubicBezTo>
                  <a:pt x="1046" y="306"/>
                  <a:pt x="1045" y="306"/>
                  <a:pt x="1045" y="305"/>
                </a:cubicBezTo>
                <a:cubicBezTo>
                  <a:pt x="1045" y="305"/>
                  <a:pt x="1043" y="304"/>
                  <a:pt x="1040" y="302"/>
                </a:cubicBezTo>
                <a:cubicBezTo>
                  <a:pt x="1038" y="300"/>
                  <a:pt x="1036" y="298"/>
                  <a:pt x="1033" y="296"/>
                </a:cubicBezTo>
                <a:cubicBezTo>
                  <a:pt x="1032" y="295"/>
                  <a:pt x="1031" y="294"/>
                  <a:pt x="1029" y="292"/>
                </a:cubicBezTo>
                <a:cubicBezTo>
                  <a:pt x="1026" y="290"/>
                  <a:pt x="1023" y="286"/>
                  <a:pt x="1019" y="282"/>
                </a:cubicBezTo>
                <a:cubicBezTo>
                  <a:pt x="1018" y="281"/>
                  <a:pt x="1016" y="280"/>
                  <a:pt x="1015" y="278"/>
                </a:cubicBezTo>
                <a:cubicBezTo>
                  <a:pt x="1013" y="276"/>
                  <a:pt x="1010" y="273"/>
                  <a:pt x="1008" y="270"/>
                </a:cubicBezTo>
                <a:cubicBezTo>
                  <a:pt x="1008" y="269"/>
                  <a:pt x="1007" y="269"/>
                  <a:pt x="1007" y="268"/>
                </a:cubicBezTo>
                <a:cubicBezTo>
                  <a:pt x="1031" y="257"/>
                  <a:pt x="1055" y="245"/>
                  <a:pt x="1078" y="233"/>
                </a:cubicBezTo>
                <a:cubicBezTo>
                  <a:pt x="1101" y="222"/>
                  <a:pt x="1124" y="210"/>
                  <a:pt x="1147" y="199"/>
                </a:cubicBezTo>
                <a:cubicBezTo>
                  <a:pt x="1148" y="201"/>
                  <a:pt x="1149" y="203"/>
                  <a:pt x="1150" y="205"/>
                </a:cubicBezTo>
                <a:cubicBezTo>
                  <a:pt x="1152" y="208"/>
                  <a:pt x="1154" y="211"/>
                  <a:pt x="1156" y="214"/>
                </a:cubicBezTo>
                <a:lnTo>
                  <a:pt x="1157" y="216"/>
                </a:lnTo>
                <a:lnTo>
                  <a:pt x="1158" y="218"/>
                </a:lnTo>
                <a:cubicBezTo>
                  <a:pt x="1160" y="221"/>
                  <a:pt x="1162" y="224"/>
                  <a:pt x="1165" y="226"/>
                </a:cubicBezTo>
                <a:cubicBezTo>
                  <a:pt x="1167" y="229"/>
                  <a:pt x="1169" y="231"/>
                  <a:pt x="1171" y="233"/>
                </a:cubicBezTo>
                <a:lnTo>
                  <a:pt x="1173" y="235"/>
                </a:lnTo>
                <a:cubicBezTo>
                  <a:pt x="1181" y="241"/>
                  <a:pt x="1190" y="247"/>
                  <a:pt x="1200" y="251"/>
                </a:cubicBezTo>
                <a:cubicBezTo>
                  <a:pt x="1203" y="252"/>
                  <a:pt x="1207" y="254"/>
                  <a:pt x="1212" y="255"/>
                </a:cubicBezTo>
                <a:cubicBezTo>
                  <a:pt x="1212" y="255"/>
                  <a:pt x="1213" y="255"/>
                  <a:pt x="1213" y="255"/>
                </a:cubicBezTo>
                <a:cubicBezTo>
                  <a:pt x="1213" y="255"/>
                  <a:pt x="1213" y="255"/>
                  <a:pt x="1213" y="255"/>
                </a:cubicBezTo>
                <a:cubicBezTo>
                  <a:pt x="1216" y="254"/>
                  <a:pt x="1218" y="253"/>
                  <a:pt x="1218" y="252"/>
                </a:cubicBezTo>
                <a:cubicBezTo>
                  <a:pt x="1219" y="250"/>
                  <a:pt x="1218" y="248"/>
                  <a:pt x="1217" y="246"/>
                </a:cubicBezTo>
                <a:cubicBezTo>
                  <a:pt x="1216" y="245"/>
                  <a:pt x="1216" y="245"/>
                  <a:pt x="1216" y="245"/>
                </a:cubicBezTo>
                <a:lnTo>
                  <a:pt x="1211" y="242"/>
                </a:lnTo>
                <a:cubicBezTo>
                  <a:pt x="1205" y="240"/>
                  <a:pt x="1200" y="236"/>
                  <a:pt x="1195" y="233"/>
                </a:cubicBezTo>
                <a:lnTo>
                  <a:pt x="1192" y="230"/>
                </a:lnTo>
                <a:cubicBezTo>
                  <a:pt x="1191" y="229"/>
                  <a:pt x="1190" y="228"/>
                  <a:pt x="1188" y="227"/>
                </a:cubicBezTo>
                <a:lnTo>
                  <a:pt x="1185" y="223"/>
                </a:lnTo>
                <a:lnTo>
                  <a:pt x="1183" y="221"/>
                </a:lnTo>
                <a:cubicBezTo>
                  <a:pt x="1181" y="219"/>
                  <a:pt x="1179" y="217"/>
                  <a:pt x="1178" y="215"/>
                </a:cubicBezTo>
                <a:cubicBezTo>
                  <a:pt x="1176" y="213"/>
                  <a:pt x="1175" y="211"/>
                  <a:pt x="1173" y="208"/>
                </a:cubicBezTo>
                <a:lnTo>
                  <a:pt x="1171" y="206"/>
                </a:lnTo>
                <a:cubicBezTo>
                  <a:pt x="1171" y="205"/>
                  <a:pt x="1170" y="204"/>
                  <a:pt x="1170" y="203"/>
                </a:cubicBezTo>
                <a:cubicBezTo>
                  <a:pt x="1168" y="201"/>
                  <a:pt x="1167" y="199"/>
                  <a:pt x="1166" y="197"/>
                </a:cubicBezTo>
                <a:cubicBezTo>
                  <a:pt x="1165" y="195"/>
                  <a:pt x="1165" y="194"/>
                  <a:pt x="1164" y="192"/>
                </a:cubicBezTo>
                <a:cubicBezTo>
                  <a:pt x="1190" y="182"/>
                  <a:pt x="1217" y="175"/>
                  <a:pt x="1244" y="168"/>
                </a:cubicBezTo>
                <a:cubicBezTo>
                  <a:pt x="1258" y="164"/>
                  <a:pt x="1274" y="160"/>
                  <a:pt x="1288" y="156"/>
                </a:cubicBezTo>
                <a:cubicBezTo>
                  <a:pt x="1297" y="168"/>
                  <a:pt x="1309" y="178"/>
                  <a:pt x="1321" y="187"/>
                </a:cubicBezTo>
                <a:cubicBezTo>
                  <a:pt x="1321" y="188"/>
                  <a:pt x="1322" y="188"/>
                  <a:pt x="1323" y="188"/>
                </a:cubicBezTo>
                <a:cubicBezTo>
                  <a:pt x="1324" y="188"/>
                  <a:pt x="1325" y="188"/>
                  <a:pt x="1325" y="187"/>
                </a:cubicBezTo>
                <a:cubicBezTo>
                  <a:pt x="1326" y="185"/>
                  <a:pt x="1326" y="183"/>
                  <a:pt x="1325" y="182"/>
                </a:cubicBezTo>
                <a:cubicBezTo>
                  <a:pt x="1314" y="174"/>
                  <a:pt x="1303" y="165"/>
                  <a:pt x="1295" y="154"/>
                </a:cubicBezTo>
                <a:cubicBezTo>
                  <a:pt x="1315" y="148"/>
                  <a:pt x="1343" y="138"/>
                  <a:pt x="1354" y="115"/>
                </a:cubicBezTo>
                <a:cubicBezTo>
                  <a:pt x="1355" y="115"/>
                  <a:pt x="1355" y="114"/>
                  <a:pt x="1355" y="114"/>
                </a:cubicBezTo>
                <a:cubicBezTo>
                  <a:pt x="1355" y="112"/>
                  <a:pt x="1354" y="110"/>
                  <a:pt x="1353" y="109"/>
                </a:cubicBezTo>
                <a:cubicBezTo>
                  <a:pt x="1352" y="108"/>
                  <a:pt x="1351" y="108"/>
                  <a:pt x="1350" y="108"/>
                </a:cubicBezTo>
                <a:cubicBezTo>
                  <a:pt x="1349" y="108"/>
                  <a:pt x="1347" y="108"/>
                  <a:pt x="1346" y="109"/>
                </a:cubicBezTo>
                <a:cubicBezTo>
                  <a:pt x="1346" y="109"/>
                  <a:pt x="1345" y="110"/>
                  <a:pt x="1345" y="110"/>
                </a:cubicBezTo>
                <a:cubicBezTo>
                  <a:pt x="1334" y="131"/>
                  <a:pt x="1308" y="138"/>
                  <a:pt x="1286" y="144"/>
                </a:cubicBezTo>
                <a:cubicBezTo>
                  <a:pt x="1271" y="149"/>
                  <a:pt x="1256" y="152"/>
                  <a:pt x="1241" y="156"/>
                </a:cubicBezTo>
                <a:cubicBezTo>
                  <a:pt x="1214" y="163"/>
                  <a:pt x="1186" y="169"/>
                  <a:pt x="1159" y="180"/>
                </a:cubicBezTo>
                <a:cubicBezTo>
                  <a:pt x="1159" y="179"/>
                  <a:pt x="1159" y="178"/>
                  <a:pt x="1159" y="178"/>
                </a:cubicBezTo>
                <a:cubicBezTo>
                  <a:pt x="1158" y="175"/>
                  <a:pt x="1157" y="172"/>
                  <a:pt x="1156" y="169"/>
                </a:cubicBezTo>
                <a:cubicBezTo>
                  <a:pt x="1155" y="164"/>
                  <a:pt x="1153" y="160"/>
                  <a:pt x="1152" y="155"/>
                </a:cubicBezTo>
                <a:cubicBezTo>
                  <a:pt x="1152" y="152"/>
                  <a:pt x="1151" y="150"/>
                  <a:pt x="1151" y="150"/>
                </a:cubicBezTo>
                <a:cubicBezTo>
                  <a:pt x="1151" y="150"/>
                  <a:pt x="1151" y="149"/>
                  <a:pt x="1151" y="149"/>
                </a:cubicBezTo>
                <a:cubicBezTo>
                  <a:pt x="1149" y="147"/>
                  <a:pt x="1147" y="146"/>
                  <a:pt x="1146" y="146"/>
                </a:cubicBezTo>
                <a:cubicBezTo>
                  <a:pt x="1144" y="146"/>
                  <a:pt x="1143" y="147"/>
                  <a:pt x="1141" y="149"/>
                </a:cubicBezTo>
                <a:cubicBezTo>
                  <a:pt x="1141" y="149"/>
                  <a:pt x="1141" y="150"/>
                  <a:pt x="1141" y="150"/>
                </a:cubicBezTo>
                <a:cubicBezTo>
                  <a:pt x="1139" y="155"/>
                  <a:pt x="1139" y="161"/>
                  <a:pt x="1139" y="167"/>
                </a:cubicBezTo>
                <a:cubicBezTo>
                  <a:pt x="1140" y="173"/>
                  <a:pt x="1140" y="179"/>
                  <a:pt x="1142" y="186"/>
                </a:cubicBezTo>
                <a:cubicBezTo>
                  <a:pt x="1118" y="197"/>
                  <a:pt x="1094" y="209"/>
                  <a:pt x="1071" y="220"/>
                </a:cubicBezTo>
                <a:cubicBezTo>
                  <a:pt x="1047" y="232"/>
                  <a:pt x="1023" y="244"/>
                  <a:pt x="998" y="255"/>
                </a:cubicBezTo>
                <a:cubicBezTo>
                  <a:pt x="997" y="253"/>
                  <a:pt x="997" y="252"/>
                  <a:pt x="996" y="251"/>
                </a:cubicBezTo>
                <a:lnTo>
                  <a:pt x="995" y="249"/>
                </a:lnTo>
                <a:cubicBezTo>
                  <a:pt x="994" y="246"/>
                  <a:pt x="993" y="244"/>
                  <a:pt x="992" y="241"/>
                </a:cubicBezTo>
                <a:cubicBezTo>
                  <a:pt x="991" y="238"/>
                  <a:pt x="990" y="235"/>
                  <a:pt x="989" y="232"/>
                </a:cubicBezTo>
                <a:lnTo>
                  <a:pt x="988" y="227"/>
                </a:lnTo>
                <a:lnTo>
                  <a:pt x="988" y="220"/>
                </a:lnTo>
                <a:cubicBezTo>
                  <a:pt x="988" y="219"/>
                  <a:pt x="987" y="217"/>
                  <a:pt x="987" y="215"/>
                </a:cubicBezTo>
                <a:cubicBezTo>
                  <a:pt x="987" y="212"/>
                  <a:pt x="987" y="209"/>
                  <a:pt x="987" y="207"/>
                </a:cubicBezTo>
                <a:cubicBezTo>
                  <a:pt x="987" y="205"/>
                  <a:pt x="987" y="204"/>
                  <a:pt x="987" y="203"/>
                </a:cubicBezTo>
                <a:cubicBezTo>
                  <a:pt x="987" y="203"/>
                  <a:pt x="987" y="203"/>
                  <a:pt x="987" y="202"/>
                </a:cubicBezTo>
                <a:cubicBezTo>
                  <a:pt x="986" y="198"/>
                  <a:pt x="983" y="198"/>
                  <a:pt x="982" y="198"/>
                </a:cubicBezTo>
                <a:cubicBezTo>
                  <a:pt x="981" y="198"/>
                  <a:pt x="979" y="199"/>
                  <a:pt x="978" y="200"/>
                </a:cubicBezTo>
                <a:cubicBezTo>
                  <a:pt x="977" y="201"/>
                  <a:pt x="977" y="201"/>
                  <a:pt x="977" y="201"/>
                </a:cubicBezTo>
                <a:cubicBezTo>
                  <a:pt x="975" y="205"/>
                  <a:pt x="974" y="210"/>
                  <a:pt x="973" y="214"/>
                </a:cubicBezTo>
                <a:lnTo>
                  <a:pt x="972" y="218"/>
                </a:lnTo>
                <a:cubicBezTo>
                  <a:pt x="972" y="221"/>
                  <a:pt x="972" y="224"/>
                  <a:pt x="972" y="226"/>
                </a:cubicBezTo>
                <a:lnTo>
                  <a:pt x="972" y="228"/>
                </a:lnTo>
                <a:lnTo>
                  <a:pt x="972" y="229"/>
                </a:lnTo>
                <a:lnTo>
                  <a:pt x="972" y="230"/>
                </a:lnTo>
                <a:cubicBezTo>
                  <a:pt x="972" y="236"/>
                  <a:pt x="973" y="241"/>
                  <a:pt x="974" y="247"/>
                </a:cubicBezTo>
                <a:cubicBezTo>
                  <a:pt x="975" y="250"/>
                  <a:pt x="977" y="255"/>
                  <a:pt x="979" y="259"/>
                </a:cubicBezTo>
                <a:cubicBezTo>
                  <a:pt x="979" y="260"/>
                  <a:pt x="980" y="261"/>
                  <a:pt x="980" y="262"/>
                </a:cubicBezTo>
                <a:cubicBezTo>
                  <a:pt x="927" y="284"/>
                  <a:pt x="883" y="298"/>
                  <a:pt x="842" y="306"/>
                </a:cubicBezTo>
                <a:cubicBezTo>
                  <a:pt x="839" y="294"/>
                  <a:pt x="839" y="283"/>
                  <a:pt x="838" y="270"/>
                </a:cubicBezTo>
                <a:lnTo>
                  <a:pt x="839" y="259"/>
                </a:lnTo>
                <a:cubicBezTo>
                  <a:pt x="839" y="250"/>
                  <a:pt x="840" y="242"/>
                  <a:pt x="841" y="235"/>
                </a:cubicBezTo>
                <a:cubicBezTo>
                  <a:pt x="841" y="235"/>
                  <a:pt x="841" y="234"/>
                  <a:pt x="841" y="234"/>
                </a:cubicBezTo>
                <a:cubicBezTo>
                  <a:pt x="841" y="230"/>
                  <a:pt x="837" y="229"/>
                  <a:pt x="836" y="229"/>
                </a:cubicBezTo>
                <a:cubicBezTo>
                  <a:pt x="835" y="229"/>
                  <a:pt x="834" y="230"/>
                  <a:pt x="832" y="231"/>
                </a:cubicBezTo>
                <a:cubicBezTo>
                  <a:pt x="832" y="231"/>
                  <a:pt x="832" y="232"/>
                  <a:pt x="831" y="232"/>
                </a:cubicBezTo>
                <a:cubicBezTo>
                  <a:pt x="827" y="240"/>
                  <a:pt x="824" y="249"/>
                  <a:pt x="822" y="257"/>
                </a:cubicBezTo>
                <a:cubicBezTo>
                  <a:pt x="822" y="258"/>
                  <a:pt x="822" y="259"/>
                  <a:pt x="822" y="260"/>
                </a:cubicBezTo>
                <a:cubicBezTo>
                  <a:pt x="821" y="263"/>
                  <a:pt x="820" y="266"/>
                  <a:pt x="820" y="269"/>
                </a:cubicBezTo>
                <a:cubicBezTo>
                  <a:pt x="819" y="282"/>
                  <a:pt x="818" y="295"/>
                  <a:pt x="821" y="309"/>
                </a:cubicBezTo>
                <a:cubicBezTo>
                  <a:pt x="791" y="313"/>
                  <a:pt x="760" y="316"/>
                  <a:pt x="731" y="318"/>
                </a:cubicBezTo>
                <a:cubicBezTo>
                  <a:pt x="717" y="319"/>
                  <a:pt x="704" y="319"/>
                  <a:pt x="690" y="321"/>
                </a:cubicBezTo>
                <a:lnTo>
                  <a:pt x="690" y="318"/>
                </a:lnTo>
                <a:cubicBezTo>
                  <a:pt x="690" y="318"/>
                  <a:pt x="690" y="315"/>
                  <a:pt x="690" y="315"/>
                </a:cubicBezTo>
                <a:lnTo>
                  <a:pt x="690" y="314"/>
                </a:lnTo>
                <a:cubicBezTo>
                  <a:pt x="689" y="306"/>
                  <a:pt x="690" y="298"/>
                  <a:pt x="690" y="290"/>
                </a:cubicBezTo>
                <a:cubicBezTo>
                  <a:pt x="691" y="288"/>
                  <a:pt x="691" y="286"/>
                  <a:pt x="691" y="284"/>
                </a:cubicBezTo>
                <a:cubicBezTo>
                  <a:pt x="691" y="283"/>
                  <a:pt x="692" y="281"/>
                  <a:pt x="692" y="279"/>
                </a:cubicBezTo>
                <a:cubicBezTo>
                  <a:pt x="693" y="277"/>
                  <a:pt x="693" y="274"/>
                  <a:pt x="694" y="272"/>
                </a:cubicBezTo>
                <a:cubicBezTo>
                  <a:pt x="695" y="267"/>
                  <a:pt x="695" y="264"/>
                  <a:pt x="696" y="264"/>
                </a:cubicBezTo>
                <a:cubicBezTo>
                  <a:pt x="696" y="264"/>
                  <a:pt x="696" y="264"/>
                  <a:pt x="696" y="264"/>
                </a:cubicBezTo>
                <a:cubicBezTo>
                  <a:pt x="696" y="262"/>
                  <a:pt x="695" y="261"/>
                  <a:pt x="694" y="260"/>
                </a:cubicBezTo>
                <a:cubicBezTo>
                  <a:pt x="693" y="259"/>
                  <a:pt x="692" y="258"/>
                  <a:pt x="690" y="258"/>
                </a:cubicBezTo>
                <a:cubicBezTo>
                  <a:pt x="690" y="258"/>
                  <a:pt x="689" y="258"/>
                  <a:pt x="688" y="259"/>
                </a:cubicBezTo>
                <a:cubicBezTo>
                  <a:pt x="687" y="259"/>
                  <a:pt x="687" y="259"/>
                  <a:pt x="687" y="259"/>
                </a:cubicBezTo>
                <a:cubicBezTo>
                  <a:pt x="687" y="259"/>
                  <a:pt x="684" y="261"/>
                  <a:pt x="681" y="265"/>
                </a:cubicBezTo>
                <a:cubicBezTo>
                  <a:pt x="678" y="269"/>
                  <a:pt x="675" y="273"/>
                  <a:pt x="672" y="278"/>
                </a:cubicBezTo>
                <a:cubicBezTo>
                  <a:pt x="666" y="290"/>
                  <a:pt x="663" y="302"/>
                  <a:pt x="662" y="314"/>
                </a:cubicBezTo>
                <a:cubicBezTo>
                  <a:pt x="662" y="314"/>
                  <a:pt x="662" y="315"/>
                  <a:pt x="662" y="315"/>
                </a:cubicBezTo>
                <a:lnTo>
                  <a:pt x="662" y="318"/>
                </a:lnTo>
                <a:lnTo>
                  <a:pt x="662" y="322"/>
                </a:lnTo>
                <a:cubicBezTo>
                  <a:pt x="662" y="323"/>
                  <a:pt x="662" y="323"/>
                  <a:pt x="662" y="323"/>
                </a:cubicBezTo>
                <a:cubicBezTo>
                  <a:pt x="619" y="327"/>
                  <a:pt x="576" y="333"/>
                  <a:pt x="534" y="340"/>
                </a:cubicBezTo>
                <a:cubicBezTo>
                  <a:pt x="534" y="337"/>
                  <a:pt x="534" y="333"/>
                  <a:pt x="535" y="330"/>
                </a:cubicBezTo>
                <a:lnTo>
                  <a:pt x="535" y="329"/>
                </a:lnTo>
                <a:cubicBezTo>
                  <a:pt x="535" y="328"/>
                  <a:pt x="536" y="326"/>
                  <a:pt x="536" y="324"/>
                </a:cubicBezTo>
                <a:lnTo>
                  <a:pt x="536" y="322"/>
                </a:lnTo>
                <a:lnTo>
                  <a:pt x="538" y="316"/>
                </a:lnTo>
                <a:cubicBezTo>
                  <a:pt x="538" y="315"/>
                  <a:pt x="539" y="313"/>
                  <a:pt x="539" y="312"/>
                </a:cubicBezTo>
                <a:lnTo>
                  <a:pt x="540" y="310"/>
                </a:lnTo>
                <a:cubicBezTo>
                  <a:pt x="540" y="310"/>
                  <a:pt x="540" y="309"/>
                  <a:pt x="541" y="308"/>
                </a:cubicBezTo>
                <a:cubicBezTo>
                  <a:pt x="541" y="307"/>
                  <a:pt x="542" y="306"/>
                  <a:pt x="542" y="305"/>
                </a:cubicBezTo>
                <a:cubicBezTo>
                  <a:pt x="543" y="304"/>
                  <a:pt x="543" y="303"/>
                  <a:pt x="544" y="302"/>
                </a:cubicBezTo>
                <a:cubicBezTo>
                  <a:pt x="545" y="299"/>
                  <a:pt x="546" y="297"/>
                  <a:pt x="547" y="296"/>
                </a:cubicBezTo>
                <a:cubicBezTo>
                  <a:pt x="548" y="295"/>
                  <a:pt x="548" y="294"/>
                  <a:pt x="549" y="293"/>
                </a:cubicBezTo>
                <a:cubicBezTo>
                  <a:pt x="550" y="291"/>
                  <a:pt x="551" y="290"/>
                  <a:pt x="552" y="289"/>
                </a:cubicBezTo>
                <a:cubicBezTo>
                  <a:pt x="555" y="284"/>
                  <a:pt x="557" y="282"/>
                  <a:pt x="557" y="282"/>
                </a:cubicBezTo>
                <a:cubicBezTo>
                  <a:pt x="557" y="281"/>
                  <a:pt x="557" y="281"/>
                  <a:pt x="557" y="281"/>
                </a:cubicBezTo>
                <a:cubicBezTo>
                  <a:pt x="558" y="278"/>
                  <a:pt x="557" y="277"/>
                  <a:pt x="557" y="276"/>
                </a:cubicBezTo>
                <a:cubicBezTo>
                  <a:pt x="556" y="274"/>
                  <a:pt x="554" y="274"/>
                  <a:pt x="552" y="274"/>
                </a:cubicBezTo>
                <a:cubicBezTo>
                  <a:pt x="551" y="274"/>
                  <a:pt x="550" y="274"/>
                  <a:pt x="550" y="274"/>
                </a:cubicBezTo>
                <a:cubicBezTo>
                  <a:pt x="550" y="274"/>
                  <a:pt x="547" y="275"/>
                  <a:pt x="543" y="278"/>
                </a:cubicBezTo>
                <a:cubicBezTo>
                  <a:pt x="540" y="279"/>
                  <a:pt x="538" y="281"/>
                  <a:pt x="534" y="284"/>
                </a:cubicBezTo>
                <a:cubicBezTo>
                  <a:pt x="531" y="286"/>
                  <a:pt x="528" y="289"/>
                  <a:pt x="525" y="293"/>
                </a:cubicBezTo>
                <a:lnTo>
                  <a:pt x="525" y="293"/>
                </a:lnTo>
                <a:cubicBezTo>
                  <a:pt x="523" y="295"/>
                  <a:pt x="522" y="297"/>
                  <a:pt x="521" y="298"/>
                </a:cubicBezTo>
                <a:cubicBezTo>
                  <a:pt x="521" y="298"/>
                  <a:pt x="519" y="301"/>
                  <a:pt x="519" y="302"/>
                </a:cubicBezTo>
                <a:cubicBezTo>
                  <a:pt x="518" y="303"/>
                  <a:pt x="516" y="305"/>
                  <a:pt x="516" y="307"/>
                </a:cubicBezTo>
                <a:cubicBezTo>
                  <a:pt x="515" y="308"/>
                  <a:pt x="515" y="309"/>
                  <a:pt x="515" y="310"/>
                </a:cubicBezTo>
                <a:cubicBezTo>
                  <a:pt x="514" y="311"/>
                  <a:pt x="513" y="313"/>
                  <a:pt x="512" y="315"/>
                </a:cubicBezTo>
                <a:lnTo>
                  <a:pt x="511" y="317"/>
                </a:lnTo>
                <a:cubicBezTo>
                  <a:pt x="511" y="320"/>
                  <a:pt x="510" y="322"/>
                  <a:pt x="509" y="324"/>
                </a:cubicBezTo>
                <a:cubicBezTo>
                  <a:pt x="507" y="331"/>
                  <a:pt x="507" y="337"/>
                  <a:pt x="506" y="343"/>
                </a:cubicBezTo>
                <a:lnTo>
                  <a:pt x="506" y="345"/>
                </a:lnTo>
                <a:cubicBezTo>
                  <a:pt x="468" y="352"/>
                  <a:pt x="429" y="362"/>
                  <a:pt x="391" y="375"/>
                </a:cubicBezTo>
                <a:lnTo>
                  <a:pt x="390" y="373"/>
                </a:lnTo>
                <a:lnTo>
                  <a:pt x="390" y="371"/>
                </a:lnTo>
                <a:cubicBezTo>
                  <a:pt x="390" y="370"/>
                  <a:pt x="390" y="368"/>
                  <a:pt x="390" y="367"/>
                </a:cubicBezTo>
                <a:cubicBezTo>
                  <a:pt x="390" y="363"/>
                  <a:pt x="391" y="359"/>
                  <a:pt x="391" y="355"/>
                </a:cubicBezTo>
                <a:cubicBezTo>
                  <a:pt x="393" y="344"/>
                  <a:pt x="396" y="334"/>
                  <a:pt x="401" y="322"/>
                </a:cubicBezTo>
                <a:cubicBezTo>
                  <a:pt x="401" y="322"/>
                  <a:pt x="401" y="322"/>
                  <a:pt x="402" y="321"/>
                </a:cubicBezTo>
                <a:cubicBezTo>
                  <a:pt x="402" y="320"/>
                  <a:pt x="401" y="318"/>
                  <a:pt x="400" y="317"/>
                </a:cubicBezTo>
                <a:cubicBezTo>
                  <a:pt x="400" y="316"/>
                  <a:pt x="399" y="315"/>
                  <a:pt x="397" y="315"/>
                </a:cubicBezTo>
                <a:cubicBezTo>
                  <a:pt x="396" y="315"/>
                  <a:pt x="395" y="315"/>
                  <a:pt x="394" y="316"/>
                </a:cubicBezTo>
                <a:cubicBezTo>
                  <a:pt x="394" y="316"/>
                  <a:pt x="393" y="316"/>
                  <a:pt x="393" y="316"/>
                </a:cubicBezTo>
                <a:cubicBezTo>
                  <a:pt x="389" y="319"/>
                  <a:pt x="386" y="323"/>
                  <a:pt x="382" y="328"/>
                </a:cubicBezTo>
                <a:cubicBezTo>
                  <a:pt x="377" y="334"/>
                  <a:pt x="373" y="341"/>
                  <a:pt x="370" y="350"/>
                </a:cubicBezTo>
                <a:lnTo>
                  <a:pt x="368" y="357"/>
                </a:lnTo>
                <a:cubicBezTo>
                  <a:pt x="367" y="359"/>
                  <a:pt x="367" y="361"/>
                  <a:pt x="367" y="363"/>
                </a:cubicBezTo>
                <a:lnTo>
                  <a:pt x="366" y="365"/>
                </a:lnTo>
                <a:cubicBezTo>
                  <a:pt x="366" y="367"/>
                  <a:pt x="366" y="369"/>
                  <a:pt x="366" y="371"/>
                </a:cubicBezTo>
                <a:lnTo>
                  <a:pt x="366" y="373"/>
                </a:lnTo>
                <a:cubicBezTo>
                  <a:pt x="366" y="373"/>
                  <a:pt x="366" y="374"/>
                  <a:pt x="366" y="374"/>
                </a:cubicBezTo>
                <a:lnTo>
                  <a:pt x="366" y="382"/>
                </a:lnTo>
                <a:cubicBezTo>
                  <a:pt x="366" y="382"/>
                  <a:pt x="366" y="383"/>
                  <a:pt x="366" y="383"/>
                </a:cubicBezTo>
                <a:cubicBezTo>
                  <a:pt x="334" y="395"/>
                  <a:pt x="303" y="408"/>
                  <a:pt x="273" y="422"/>
                </a:cubicBezTo>
                <a:cubicBezTo>
                  <a:pt x="273" y="420"/>
                  <a:pt x="273" y="418"/>
                  <a:pt x="273" y="416"/>
                </a:cubicBezTo>
                <a:cubicBezTo>
                  <a:pt x="273" y="408"/>
                  <a:pt x="275" y="400"/>
                  <a:pt x="278" y="392"/>
                </a:cubicBezTo>
                <a:cubicBezTo>
                  <a:pt x="278" y="391"/>
                  <a:pt x="278" y="390"/>
                  <a:pt x="279" y="389"/>
                </a:cubicBezTo>
                <a:cubicBezTo>
                  <a:pt x="279" y="389"/>
                  <a:pt x="279" y="388"/>
                  <a:pt x="279" y="387"/>
                </a:cubicBezTo>
                <a:cubicBezTo>
                  <a:pt x="281" y="382"/>
                  <a:pt x="284" y="376"/>
                  <a:pt x="287" y="369"/>
                </a:cubicBezTo>
                <a:cubicBezTo>
                  <a:pt x="287" y="369"/>
                  <a:pt x="287" y="369"/>
                  <a:pt x="287" y="368"/>
                </a:cubicBezTo>
                <a:cubicBezTo>
                  <a:pt x="287" y="366"/>
                  <a:pt x="287" y="365"/>
                  <a:pt x="286" y="364"/>
                </a:cubicBezTo>
                <a:cubicBezTo>
                  <a:pt x="285" y="363"/>
                  <a:pt x="284" y="362"/>
                  <a:pt x="282" y="362"/>
                </a:cubicBezTo>
                <a:cubicBezTo>
                  <a:pt x="281" y="362"/>
                  <a:pt x="281" y="362"/>
                  <a:pt x="279" y="363"/>
                </a:cubicBezTo>
                <a:cubicBezTo>
                  <a:pt x="279" y="363"/>
                  <a:pt x="279" y="363"/>
                  <a:pt x="278" y="363"/>
                </a:cubicBezTo>
                <a:cubicBezTo>
                  <a:pt x="274" y="367"/>
                  <a:pt x="271" y="372"/>
                  <a:pt x="268" y="376"/>
                </a:cubicBezTo>
                <a:cubicBezTo>
                  <a:pt x="265" y="379"/>
                  <a:pt x="263" y="382"/>
                  <a:pt x="262" y="386"/>
                </a:cubicBezTo>
                <a:cubicBezTo>
                  <a:pt x="258" y="394"/>
                  <a:pt x="254" y="403"/>
                  <a:pt x="253" y="414"/>
                </a:cubicBezTo>
                <a:cubicBezTo>
                  <a:pt x="252" y="420"/>
                  <a:pt x="251" y="426"/>
                  <a:pt x="252" y="433"/>
                </a:cubicBezTo>
                <a:cubicBezTo>
                  <a:pt x="216" y="451"/>
                  <a:pt x="183" y="470"/>
                  <a:pt x="152" y="491"/>
                </a:cubicBezTo>
                <a:cubicBezTo>
                  <a:pt x="212" y="414"/>
                  <a:pt x="262" y="330"/>
                  <a:pt x="254" y="237"/>
                </a:cubicBezTo>
                <a:cubicBezTo>
                  <a:pt x="250" y="208"/>
                  <a:pt x="245" y="179"/>
                  <a:pt x="239" y="150"/>
                </a:cubicBezTo>
                <a:cubicBezTo>
                  <a:pt x="238" y="145"/>
                  <a:pt x="237" y="139"/>
                  <a:pt x="236" y="134"/>
                </a:cubicBezTo>
                <a:cubicBezTo>
                  <a:pt x="254" y="130"/>
                  <a:pt x="274" y="127"/>
                  <a:pt x="293" y="125"/>
                </a:cubicBezTo>
                <a:cubicBezTo>
                  <a:pt x="305" y="152"/>
                  <a:pt x="332" y="168"/>
                  <a:pt x="368" y="168"/>
                </a:cubicBezTo>
                <a:lnTo>
                  <a:pt x="378" y="169"/>
                </a:lnTo>
                <a:cubicBezTo>
                  <a:pt x="402" y="169"/>
                  <a:pt x="437" y="149"/>
                  <a:pt x="446" y="123"/>
                </a:cubicBezTo>
                <a:lnTo>
                  <a:pt x="455" y="122"/>
                </a:lnTo>
                <a:cubicBezTo>
                  <a:pt x="496" y="118"/>
                  <a:pt x="538" y="113"/>
                  <a:pt x="580" y="109"/>
                </a:cubicBezTo>
                <a:cubicBezTo>
                  <a:pt x="595" y="108"/>
                  <a:pt x="609" y="107"/>
                  <a:pt x="624" y="107"/>
                </a:cubicBezTo>
                <a:cubicBezTo>
                  <a:pt x="650" y="107"/>
                  <a:pt x="676" y="109"/>
                  <a:pt x="710" y="113"/>
                </a:cubicBezTo>
                <a:cubicBezTo>
                  <a:pt x="716" y="113"/>
                  <a:pt x="722" y="114"/>
                  <a:pt x="728" y="114"/>
                </a:cubicBezTo>
                <a:cubicBezTo>
                  <a:pt x="757" y="118"/>
                  <a:pt x="787" y="121"/>
                  <a:pt x="816" y="121"/>
                </a:cubicBezTo>
                <a:cubicBezTo>
                  <a:pt x="828" y="121"/>
                  <a:pt x="839" y="120"/>
                  <a:pt x="849" y="119"/>
                </a:cubicBezTo>
                <a:cubicBezTo>
                  <a:pt x="860" y="118"/>
                  <a:pt x="872" y="117"/>
                  <a:pt x="883" y="115"/>
                </a:cubicBezTo>
                <a:cubicBezTo>
                  <a:pt x="909" y="112"/>
                  <a:pt x="935" y="109"/>
                  <a:pt x="961" y="109"/>
                </a:cubicBezTo>
                <a:cubicBezTo>
                  <a:pt x="966" y="109"/>
                  <a:pt x="970" y="109"/>
                  <a:pt x="974" y="109"/>
                </a:cubicBezTo>
                <a:cubicBezTo>
                  <a:pt x="985" y="110"/>
                  <a:pt x="995" y="111"/>
                  <a:pt x="1005" y="111"/>
                </a:cubicBezTo>
                <a:cubicBezTo>
                  <a:pt x="1021" y="112"/>
                  <a:pt x="1036" y="113"/>
                  <a:pt x="1051" y="113"/>
                </a:cubicBezTo>
                <a:cubicBezTo>
                  <a:pt x="1070" y="113"/>
                  <a:pt x="1086" y="112"/>
                  <a:pt x="1101" y="109"/>
                </a:cubicBezTo>
                <a:cubicBezTo>
                  <a:pt x="1140" y="100"/>
                  <a:pt x="1173" y="83"/>
                  <a:pt x="1208" y="65"/>
                </a:cubicBezTo>
                <a:lnTo>
                  <a:pt x="1214" y="62"/>
                </a:lnTo>
                <a:cubicBezTo>
                  <a:pt x="1222" y="58"/>
                  <a:pt x="1231" y="53"/>
                  <a:pt x="1239" y="49"/>
                </a:cubicBezTo>
                <a:cubicBezTo>
                  <a:pt x="1272" y="31"/>
                  <a:pt x="1306" y="13"/>
                  <a:pt x="1341" y="4"/>
                </a:cubicBezTo>
                <a:cubicBezTo>
                  <a:pt x="1351" y="2"/>
                  <a:pt x="1362" y="0"/>
                  <a:pt x="1373" y="0"/>
                </a:cubicBezTo>
                <a:cubicBezTo>
                  <a:pt x="1390" y="0"/>
                  <a:pt x="1429" y="4"/>
                  <a:pt x="1444" y="36"/>
                </a:cubicBezTo>
                <a:cubicBezTo>
                  <a:pt x="1444" y="36"/>
                  <a:pt x="1444" y="36"/>
                  <a:pt x="1444" y="36"/>
                </a:cubicBezTo>
                <a:cubicBezTo>
                  <a:pt x="1475" y="109"/>
                  <a:pt x="1413" y="177"/>
                  <a:pt x="1362" y="222"/>
                </a:cubicBezTo>
                <a:cubicBezTo>
                  <a:pt x="1314" y="266"/>
                  <a:pt x="1252" y="302"/>
                  <a:pt x="1179" y="328"/>
                </a:cubicBezTo>
                <a:cubicBezTo>
                  <a:pt x="1167" y="333"/>
                  <a:pt x="1154" y="337"/>
                  <a:pt x="1142" y="341"/>
                </a:cubicBezTo>
                <a:cubicBezTo>
                  <a:pt x="1119" y="349"/>
                  <a:pt x="1096" y="356"/>
                  <a:pt x="1073" y="367"/>
                </a:cubicBezTo>
                <a:cubicBezTo>
                  <a:pt x="1051" y="378"/>
                  <a:pt x="1032" y="392"/>
                  <a:pt x="1013" y="406"/>
                </a:cubicBezTo>
                <a:cubicBezTo>
                  <a:pt x="1002" y="414"/>
                  <a:pt x="991" y="423"/>
                  <a:pt x="979" y="431"/>
                </a:cubicBezTo>
                <a:cubicBezTo>
                  <a:pt x="951" y="448"/>
                  <a:pt x="922" y="455"/>
                  <a:pt x="891" y="462"/>
                </a:cubicBezTo>
                <a:cubicBezTo>
                  <a:pt x="885" y="464"/>
                  <a:pt x="879" y="465"/>
                  <a:pt x="873" y="467"/>
                </a:cubicBezTo>
                <a:cubicBezTo>
                  <a:pt x="839" y="475"/>
                  <a:pt x="790" y="489"/>
                  <a:pt x="762" y="514"/>
                </a:cubicBezTo>
                <a:cubicBezTo>
                  <a:pt x="760" y="514"/>
                  <a:pt x="758" y="513"/>
                  <a:pt x="754" y="513"/>
                </a:cubicBezTo>
                <a:cubicBezTo>
                  <a:pt x="746" y="513"/>
                  <a:pt x="732" y="516"/>
                  <a:pt x="725" y="517"/>
                </a:cubicBezTo>
                <a:cubicBezTo>
                  <a:pt x="724" y="518"/>
                  <a:pt x="722" y="518"/>
                  <a:pt x="721" y="518"/>
                </a:cubicBezTo>
                <a:cubicBezTo>
                  <a:pt x="709" y="520"/>
                  <a:pt x="697" y="523"/>
                  <a:pt x="686" y="527"/>
                </a:cubicBezTo>
                <a:cubicBezTo>
                  <a:pt x="664" y="535"/>
                  <a:pt x="644" y="547"/>
                  <a:pt x="624" y="561"/>
                </a:cubicBezTo>
                <a:cubicBezTo>
                  <a:pt x="593" y="585"/>
                  <a:pt x="567" y="615"/>
                  <a:pt x="541" y="643"/>
                </a:cubicBezTo>
                <a:cubicBezTo>
                  <a:pt x="530" y="656"/>
                  <a:pt x="519" y="668"/>
                  <a:pt x="507" y="680"/>
                </a:cubicBezTo>
                <a:cubicBezTo>
                  <a:pt x="433" y="757"/>
                  <a:pt x="347" y="800"/>
                  <a:pt x="242" y="811"/>
                </a:cubicBezTo>
                <a:lnTo>
                  <a:pt x="229" y="812"/>
                </a:lnTo>
                <a:lnTo>
                  <a:pt x="215" y="813"/>
                </a:lnTo>
                <a:cubicBezTo>
                  <a:pt x="211" y="813"/>
                  <a:pt x="207" y="813"/>
                  <a:pt x="202" y="813"/>
                </a:cubicBez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en-US" sz="1500">
              <a:solidFill>
                <a:srgbClr val="3F3F3F"/>
              </a:solidFill>
              <a:latin typeface="CVS Health Sans"/>
            </a:endParaRPr>
          </a:p>
        </p:txBody>
      </p:sp>
      <p:sp>
        <p:nvSpPr>
          <p:cNvPr id="17" name="Freeform 8">
            <a:extLst>
              <a:ext uri="{FF2B5EF4-FFF2-40B4-BE49-F238E27FC236}">
                <a16:creationId xmlns:a16="http://schemas.microsoft.com/office/drawing/2014/main" id="{67703CF9-E563-67D3-2CDC-E1E1B35B3BFC}"/>
              </a:ext>
            </a:extLst>
          </p:cNvPr>
          <p:cNvSpPr>
            <a:spLocks/>
          </p:cNvSpPr>
          <p:nvPr/>
        </p:nvSpPr>
        <p:spPr bwMode="auto">
          <a:xfrm>
            <a:off x="2107727" y="3292500"/>
            <a:ext cx="536575" cy="639763"/>
          </a:xfrm>
          <a:custGeom>
            <a:avLst/>
            <a:gdLst>
              <a:gd name="T0" fmla="*/ 945 w 1088"/>
              <a:gd name="T1" fmla="*/ 1295 h 1295"/>
              <a:gd name="T2" fmla="*/ 914 w 1088"/>
              <a:gd name="T3" fmla="*/ 1262 h 1295"/>
              <a:gd name="T4" fmla="*/ 840 w 1088"/>
              <a:gd name="T5" fmla="*/ 1061 h 1295"/>
              <a:gd name="T6" fmla="*/ 827 w 1088"/>
              <a:gd name="T7" fmla="*/ 986 h 1295"/>
              <a:gd name="T8" fmla="*/ 821 w 1088"/>
              <a:gd name="T9" fmla="*/ 965 h 1295"/>
              <a:gd name="T10" fmla="*/ 818 w 1088"/>
              <a:gd name="T11" fmla="*/ 952 h 1295"/>
              <a:gd name="T12" fmla="*/ 817 w 1088"/>
              <a:gd name="T13" fmla="*/ 926 h 1295"/>
              <a:gd name="T14" fmla="*/ 819 w 1088"/>
              <a:gd name="T15" fmla="*/ 916 h 1295"/>
              <a:gd name="T16" fmla="*/ 825 w 1088"/>
              <a:gd name="T17" fmla="*/ 892 h 1295"/>
              <a:gd name="T18" fmla="*/ 828 w 1088"/>
              <a:gd name="T19" fmla="*/ 886 h 1295"/>
              <a:gd name="T20" fmla="*/ 833 w 1088"/>
              <a:gd name="T21" fmla="*/ 876 h 1295"/>
              <a:gd name="T22" fmla="*/ 910 w 1088"/>
              <a:gd name="T23" fmla="*/ 782 h 1295"/>
              <a:gd name="T24" fmla="*/ 911 w 1088"/>
              <a:gd name="T25" fmla="*/ 775 h 1295"/>
              <a:gd name="T26" fmla="*/ 904 w 1088"/>
              <a:gd name="T27" fmla="*/ 773 h 1295"/>
              <a:gd name="T28" fmla="*/ 821 w 1088"/>
              <a:gd name="T29" fmla="*/ 855 h 1295"/>
              <a:gd name="T30" fmla="*/ 810 w 1088"/>
              <a:gd name="T31" fmla="*/ 873 h 1295"/>
              <a:gd name="T32" fmla="*/ 805 w 1088"/>
              <a:gd name="T33" fmla="*/ 881 h 1295"/>
              <a:gd name="T34" fmla="*/ 788 w 1088"/>
              <a:gd name="T35" fmla="*/ 944 h 1295"/>
              <a:gd name="T36" fmla="*/ 795 w 1088"/>
              <a:gd name="T37" fmla="*/ 992 h 1295"/>
              <a:gd name="T38" fmla="*/ 797 w 1088"/>
              <a:gd name="T39" fmla="*/ 999 h 1295"/>
              <a:gd name="T40" fmla="*/ 685 w 1088"/>
              <a:gd name="T41" fmla="*/ 1075 h 1295"/>
              <a:gd name="T42" fmla="*/ 459 w 1088"/>
              <a:gd name="T43" fmla="*/ 1127 h 1295"/>
              <a:gd name="T44" fmla="*/ 15 w 1088"/>
              <a:gd name="T45" fmla="*/ 799 h 1295"/>
              <a:gd name="T46" fmla="*/ 4 w 1088"/>
              <a:gd name="T47" fmla="*/ 697 h 1295"/>
              <a:gd name="T48" fmla="*/ 55 w 1088"/>
              <a:gd name="T49" fmla="*/ 418 h 1295"/>
              <a:gd name="T50" fmla="*/ 140 w 1088"/>
              <a:gd name="T51" fmla="*/ 259 h 1295"/>
              <a:gd name="T52" fmla="*/ 289 w 1088"/>
              <a:gd name="T53" fmla="*/ 156 h 1295"/>
              <a:gd name="T54" fmla="*/ 336 w 1088"/>
              <a:gd name="T55" fmla="*/ 58 h 1295"/>
              <a:gd name="T56" fmla="*/ 332 w 1088"/>
              <a:gd name="T57" fmla="*/ 47 h 1295"/>
              <a:gd name="T58" fmla="*/ 343 w 1088"/>
              <a:gd name="T59" fmla="*/ 15 h 1295"/>
              <a:gd name="T60" fmla="*/ 372 w 1088"/>
              <a:gd name="T61" fmla="*/ 4 h 1295"/>
              <a:gd name="T62" fmla="*/ 385 w 1088"/>
              <a:gd name="T63" fmla="*/ 12 h 1295"/>
              <a:gd name="T64" fmla="*/ 399 w 1088"/>
              <a:gd name="T65" fmla="*/ 83 h 1295"/>
              <a:gd name="T66" fmla="*/ 440 w 1088"/>
              <a:gd name="T67" fmla="*/ 134 h 1295"/>
              <a:gd name="T68" fmla="*/ 474 w 1088"/>
              <a:gd name="T69" fmla="*/ 133 h 1295"/>
              <a:gd name="T70" fmla="*/ 516 w 1088"/>
              <a:gd name="T71" fmla="*/ 134 h 1295"/>
              <a:gd name="T72" fmla="*/ 617 w 1088"/>
              <a:gd name="T73" fmla="*/ 164 h 1295"/>
              <a:gd name="T74" fmla="*/ 640 w 1088"/>
              <a:gd name="T75" fmla="*/ 268 h 1295"/>
              <a:gd name="T76" fmla="*/ 584 w 1088"/>
              <a:gd name="T77" fmla="*/ 297 h 1295"/>
              <a:gd name="T78" fmla="*/ 571 w 1088"/>
              <a:gd name="T79" fmla="*/ 297 h 1295"/>
              <a:gd name="T80" fmla="*/ 506 w 1088"/>
              <a:gd name="T81" fmla="*/ 263 h 1295"/>
              <a:gd name="T82" fmla="*/ 501 w 1088"/>
              <a:gd name="T83" fmla="*/ 261 h 1295"/>
              <a:gd name="T84" fmla="*/ 122 w 1088"/>
              <a:gd name="T85" fmla="*/ 605 h 1295"/>
              <a:gd name="T86" fmla="*/ 402 w 1088"/>
              <a:gd name="T87" fmla="*/ 1000 h 1295"/>
              <a:gd name="T88" fmla="*/ 435 w 1088"/>
              <a:gd name="T89" fmla="*/ 998 h 1295"/>
              <a:gd name="T90" fmla="*/ 724 w 1088"/>
              <a:gd name="T91" fmla="*/ 856 h 1295"/>
              <a:gd name="T92" fmla="*/ 964 w 1088"/>
              <a:gd name="T93" fmla="*/ 676 h 1295"/>
              <a:gd name="T94" fmla="*/ 1026 w 1088"/>
              <a:gd name="T95" fmla="*/ 908 h 1295"/>
              <a:gd name="T96" fmla="*/ 1017 w 1088"/>
              <a:gd name="T97" fmla="*/ 979 h 1295"/>
              <a:gd name="T98" fmla="*/ 1071 w 1088"/>
              <a:gd name="T99" fmla="*/ 1176 h 1295"/>
              <a:gd name="T100" fmla="*/ 1077 w 1088"/>
              <a:gd name="T101" fmla="*/ 1228 h 1295"/>
              <a:gd name="T102" fmla="*/ 1016 w 1088"/>
              <a:gd name="T103" fmla="*/ 1259 h 1295"/>
              <a:gd name="T104" fmla="*/ 948 w 1088"/>
              <a:gd name="T105" fmla="*/ 1294 h 12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088" h="1295">
                <a:moveTo>
                  <a:pt x="945" y="1295"/>
                </a:moveTo>
                <a:lnTo>
                  <a:pt x="945" y="1295"/>
                </a:lnTo>
                <a:cubicBezTo>
                  <a:pt x="932" y="1295"/>
                  <a:pt x="924" y="1280"/>
                  <a:pt x="918" y="1269"/>
                </a:cubicBezTo>
                <a:cubicBezTo>
                  <a:pt x="917" y="1266"/>
                  <a:pt x="915" y="1264"/>
                  <a:pt x="914" y="1262"/>
                </a:cubicBezTo>
                <a:cubicBezTo>
                  <a:pt x="884" y="1212"/>
                  <a:pt x="865" y="1169"/>
                  <a:pt x="853" y="1126"/>
                </a:cubicBezTo>
                <a:cubicBezTo>
                  <a:pt x="847" y="1105"/>
                  <a:pt x="843" y="1082"/>
                  <a:pt x="840" y="1061"/>
                </a:cubicBezTo>
                <a:cubicBezTo>
                  <a:pt x="837" y="1039"/>
                  <a:pt x="834" y="1016"/>
                  <a:pt x="828" y="994"/>
                </a:cubicBezTo>
                <a:cubicBezTo>
                  <a:pt x="828" y="991"/>
                  <a:pt x="828" y="989"/>
                  <a:pt x="827" y="986"/>
                </a:cubicBezTo>
                <a:lnTo>
                  <a:pt x="827" y="984"/>
                </a:lnTo>
                <a:cubicBezTo>
                  <a:pt x="824" y="978"/>
                  <a:pt x="822" y="972"/>
                  <a:pt x="821" y="965"/>
                </a:cubicBezTo>
                <a:cubicBezTo>
                  <a:pt x="820" y="964"/>
                  <a:pt x="820" y="963"/>
                  <a:pt x="820" y="962"/>
                </a:cubicBezTo>
                <a:cubicBezTo>
                  <a:pt x="819" y="959"/>
                  <a:pt x="818" y="955"/>
                  <a:pt x="818" y="952"/>
                </a:cubicBezTo>
                <a:lnTo>
                  <a:pt x="817" y="943"/>
                </a:lnTo>
                <a:cubicBezTo>
                  <a:pt x="817" y="938"/>
                  <a:pt x="817" y="932"/>
                  <a:pt x="817" y="926"/>
                </a:cubicBezTo>
                <a:cubicBezTo>
                  <a:pt x="818" y="924"/>
                  <a:pt x="818" y="923"/>
                  <a:pt x="818" y="922"/>
                </a:cubicBezTo>
                <a:cubicBezTo>
                  <a:pt x="818" y="920"/>
                  <a:pt x="818" y="918"/>
                  <a:pt x="819" y="916"/>
                </a:cubicBezTo>
                <a:lnTo>
                  <a:pt x="821" y="906"/>
                </a:lnTo>
                <a:cubicBezTo>
                  <a:pt x="822" y="901"/>
                  <a:pt x="824" y="897"/>
                  <a:pt x="825" y="892"/>
                </a:cubicBezTo>
                <a:lnTo>
                  <a:pt x="826" y="891"/>
                </a:lnTo>
                <a:lnTo>
                  <a:pt x="828" y="886"/>
                </a:lnTo>
                <a:cubicBezTo>
                  <a:pt x="829" y="885"/>
                  <a:pt x="829" y="884"/>
                  <a:pt x="830" y="883"/>
                </a:cubicBezTo>
                <a:cubicBezTo>
                  <a:pt x="830" y="880"/>
                  <a:pt x="831" y="878"/>
                  <a:pt x="833" y="876"/>
                </a:cubicBezTo>
                <a:lnTo>
                  <a:pt x="838" y="866"/>
                </a:lnTo>
                <a:cubicBezTo>
                  <a:pt x="859" y="833"/>
                  <a:pt x="886" y="805"/>
                  <a:pt x="910" y="782"/>
                </a:cubicBezTo>
                <a:cubicBezTo>
                  <a:pt x="911" y="781"/>
                  <a:pt x="911" y="781"/>
                  <a:pt x="911" y="780"/>
                </a:cubicBezTo>
                <a:cubicBezTo>
                  <a:pt x="912" y="778"/>
                  <a:pt x="912" y="776"/>
                  <a:pt x="911" y="775"/>
                </a:cubicBezTo>
                <a:cubicBezTo>
                  <a:pt x="910" y="774"/>
                  <a:pt x="909" y="773"/>
                  <a:pt x="907" y="773"/>
                </a:cubicBezTo>
                <a:cubicBezTo>
                  <a:pt x="906" y="773"/>
                  <a:pt x="905" y="773"/>
                  <a:pt x="904" y="773"/>
                </a:cubicBezTo>
                <a:cubicBezTo>
                  <a:pt x="904" y="773"/>
                  <a:pt x="904" y="774"/>
                  <a:pt x="903" y="774"/>
                </a:cubicBezTo>
                <a:cubicBezTo>
                  <a:pt x="870" y="801"/>
                  <a:pt x="844" y="826"/>
                  <a:pt x="821" y="855"/>
                </a:cubicBezTo>
                <a:lnTo>
                  <a:pt x="814" y="865"/>
                </a:lnTo>
                <a:cubicBezTo>
                  <a:pt x="812" y="867"/>
                  <a:pt x="811" y="870"/>
                  <a:pt x="810" y="873"/>
                </a:cubicBezTo>
                <a:cubicBezTo>
                  <a:pt x="809" y="874"/>
                  <a:pt x="808" y="875"/>
                  <a:pt x="808" y="876"/>
                </a:cubicBezTo>
                <a:lnTo>
                  <a:pt x="805" y="881"/>
                </a:lnTo>
                <a:cubicBezTo>
                  <a:pt x="800" y="891"/>
                  <a:pt x="796" y="901"/>
                  <a:pt x="794" y="910"/>
                </a:cubicBezTo>
                <a:cubicBezTo>
                  <a:pt x="790" y="922"/>
                  <a:pt x="789" y="933"/>
                  <a:pt x="788" y="944"/>
                </a:cubicBezTo>
                <a:lnTo>
                  <a:pt x="789" y="954"/>
                </a:lnTo>
                <a:cubicBezTo>
                  <a:pt x="788" y="967"/>
                  <a:pt x="792" y="979"/>
                  <a:pt x="795" y="992"/>
                </a:cubicBezTo>
                <a:lnTo>
                  <a:pt x="796" y="996"/>
                </a:lnTo>
                <a:cubicBezTo>
                  <a:pt x="796" y="997"/>
                  <a:pt x="796" y="998"/>
                  <a:pt x="797" y="999"/>
                </a:cubicBezTo>
                <a:cubicBezTo>
                  <a:pt x="792" y="1003"/>
                  <a:pt x="787" y="1007"/>
                  <a:pt x="782" y="1011"/>
                </a:cubicBezTo>
                <a:cubicBezTo>
                  <a:pt x="752" y="1036"/>
                  <a:pt x="724" y="1060"/>
                  <a:pt x="685" y="1075"/>
                </a:cubicBezTo>
                <a:cubicBezTo>
                  <a:pt x="642" y="1092"/>
                  <a:pt x="595" y="1106"/>
                  <a:pt x="546" y="1117"/>
                </a:cubicBezTo>
                <a:cubicBezTo>
                  <a:pt x="518" y="1124"/>
                  <a:pt x="489" y="1127"/>
                  <a:pt x="459" y="1127"/>
                </a:cubicBezTo>
                <a:cubicBezTo>
                  <a:pt x="391" y="1127"/>
                  <a:pt x="318" y="1111"/>
                  <a:pt x="234" y="1076"/>
                </a:cubicBezTo>
                <a:cubicBezTo>
                  <a:pt x="130" y="1033"/>
                  <a:pt x="48" y="930"/>
                  <a:pt x="15" y="799"/>
                </a:cubicBezTo>
                <a:cubicBezTo>
                  <a:pt x="8" y="773"/>
                  <a:pt x="7" y="747"/>
                  <a:pt x="5" y="721"/>
                </a:cubicBezTo>
                <a:cubicBezTo>
                  <a:pt x="5" y="713"/>
                  <a:pt x="5" y="705"/>
                  <a:pt x="4" y="697"/>
                </a:cubicBezTo>
                <a:cubicBezTo>
                  <a:pt x="2" y="665"/>
                  <a:pt x="0" y="634"/>
                  <a:pt x="3" y="603"/>
                </a:cubicBezTo>
                <a:cubicBezTo>
                  <a:pt x="8" y="541"/>
                  <a:pt x="25" y="479"/>
                  <a:pt x="55" y="418"/>
                </a:cubicBezTo>
                <a:cubicBezTo>
                  <a:pt x="61" y="405"/>
                  <a:pt x="67" y="392"/>
                  <a:pt x="72" y="379"/>
                </a:cubicBezTo>
                <a:cubicBezTo>
                  <a:pt x="92" y="336"/>
                  <a:pt x="110" y="295"/>
                  <a:pt x="140" y="259"/>
                </a:cubicBezTo>
                <a:cubicBezTo>
                  <a:pt x="174" y="218"/>
                  <a:pt x="218" y="185"/>
                  <a:pt x="267" y="164"/>
                </a:cubicBezTo>
                <a:cubicBezTo>
                  <a:pt x="274" y="161"/>
                  <a:pt x="281" y="159"/>
                  <a:pt x="289" y="156"/>
                </a:cubicBezTo>
                <a:cubicBezTo>
                  <a:pt x="320" y="146"/>
                  <a:pt x="354" y="135"/>
                  <a:pt x="347" y="96"/>
                </a:cubicBezTo>
                <a:cubicBezTo>
                  <a:pt x="344" y="83"/>
                  <a:pt x="340" y="70"/>
                  <a:pt x="336" y="58"/>
                </a:cubicBezTo>
                <a:lnTo>
                  <a:pt x="335" y="54"/>
                </a:lnTo>
                <a:cubicBezTo>
                  <a:pt x="334" y="52"/>
                  <a:pt x="333" y="49"/>
                  <a:pt x="332" y="47"/>
                </a:cubicBezTo>
                <a:cubicBezTo>
                  <a:pt x="329" y="39"/>
                  <a:pt x="326" y="30"/>
                  <a:pt x="327" y="24"/>
                </a:cubicBezTo>
                <a:cubicBezTo>
                  <a:pt x="328" y="18"/>
                  <a:pt x="334" y="16"/>
                  <a:pt x="343" y="15"/>
                </a:cubicBezTo>
                <a:cubicBezTo>
                  <a:pt x="345" y="14"/>
                  <a:pt x="346" y="14"/>
                  <a:pt x="348" y="13"/>
                </a:cubicBezTo>
                <a:cubicBezTo>
                  <a:pt x="356" y="11"/>
                  <a:pt x="364" y="8"/>
                  <a:pt x="372" y="4"/>
                </a:cubicBezTo>
                <a:cubicBezTo>
                  <a:pt x="375" y="3"/>
                  <a:pt x="378" y="2"/>
                  <a:pt x="382" y="0"/>
                </a:cubicBezTo>
                <a:cubicBezTo>
                  <a:pt x="383" y="4"/>
                  <a:pt x="384" y="8"/>
                  <a:pt x="385" y="12"/>
                </a:cubicBezTo>
                <a:cubicBezTo>
                  <a:pt x="390" y="30"/>
                  <a:pt x="395" y="48"/>
                  <a:pt x="398" y="67"/>
                </a:cubicBezTo>
                <a:cubicBezTo>
                  <a:pt x="399" y="71"/>
                  <a:pt x="399" y="77"/>
                  <a:pt x="399" y="83"/>
                </a:cubicBezTo>
                <a:cubicBezTo>
                  <a:pt x="400" y="99"/>
                  <a:pt x="400" y="119"/>
                  <a:pt x="410" y="127"/>
                </a:cubicBezTo>
                <a:cubicBezTo>
                  <a:pt x="415" y="132"/>
                  <a:pt x="425" y="134"/>
                  <a:pt x="440" y="134"/>
                </a:cubicBezTo>
                <a:cubicBezTo>
                  <a:pt x="447" y="134"/>
                  <a:pt x="454" y="134"/>
                  <a:pt x="460" y="133"/>
                </a:cubicBezTo>
                <a:cubicBezTo>
                  <a:pt x="465" y="133"/>
                  <a:pt x="470" y="133"/>
                  <a:pt x="474" y="133"/>
                </a:cubicBezTo>
                <a:cubicBezTo>
                  <a:pt x="475" y="133"/>
                  <a:pt x="475" y="133"/>
                  <a:pt x="476" y="133"/>
                </a:cubicBezTo>
                <a:cubicBezTo>
                  <a:pt x="489" y="133"/>
                  <a:pt x="503" y="134"/>
                  <a:pt x="516" y="134"/>
                </a:cubicBezTo>
                <a:cubicBezTo>
                  <a:pt x="525" y="134"/>
                  <a:pt x="534" y="135"/>
                  <a:pt x="543" y="135"/>
                </a:cubicBezTo>
                <a:cubicBezTo>
                  <a:pt x="570" y="136"/>
                  <a:pt x="600" y="139"/>
                  <a:pt x="617" y="164"/>
                </a:cubicBezTo>
                <a:cubicBezTo>
                  <a:pt x="633" y="187"/>
                  <a:pt x="636" y="217"/>
                  <a:pt x="638" y="247"/>
                </a:cubicBezTo>
                <a:cubicBezTo>
                  <a:pt x="639" y="254"/>
                  <a:pt x="639" y="261"/>
                  <a:pt x="640" y="268"/>
                </a:cubicBezTo>
                <a:cubicBezTo>
                  <a:pt x="639" y="269"/>
                  <a:pt x="637" y="271"/>
                  <a:pt x="636" y="272"/>
                </a:cubicBezTo>
                <a:cubicBezTo>
                  <a:pt x="624" y="285"/>
                  <a:pt x="601" y="297"/>
                  <a:pt x="584" y="297"/>
                </a:cubicBezTo>
                <a:cubicBezTo>
                  <a:pt x="583" y="297"/>
                  <a:pt x="583" y="297"/>
                  <a:pt x="582" y="297"/>
                </a:cubicBezTo>
                <a:lnTo>
                  <a:pt x="571" y="297"/>
                </a:lnTo>
                <a:cubicBezTo>
                  <a:pt x="542" y="296"/>
                  <a:pt x="522" y="286"/>
                  <a:pt x="507" y="265"/>
                </a:cubicBezTo>
                <a:lnTo>
                  <a:pt x="506" y="263"/>
                </a:lnTo>
                <a:cubicBezTo>
                  <a:pt x="506" y="262"/>
                  <a:pt x="504" y="261"/>
                  <a:pt x="503" y="261"/>
                </a:cubicBezTo>
                <a:lnTo>
                  <a:pt x="501" y="261"/>
                </a:lnTo>
                <a:cubicBezTo>
                  <a:pt x="424" y="262"/>
                  <a:pt x="316" y="279"/>
                  <a:pt x="233" y="356"/>
                </a:cubicBezTo>
                <a:cubicBezTo>
                  <a:pt x="154" y="430"/>
                  <a:pt x="129" y="533"/>
                  <a:pt x="122" y="605"/>
                </a:cubicBezTo>
                <a:cubicBezTo>
                  <a:pt x="116" y="679"/>
                  <a:pt x="121" y="786"/>
                  <a:pt x="184" y="879"/>
                </a:cubicBezTo>
                <a:cubicBezTo>
                  <a:pt x="236" y="956"/>
                  <a:pt x="315" y="1000"/>
                  <a:pt x="402" y="1000"/>
                </a:cubicBezTo>
                <a:cubicBezTo>
                  <a:pt x="409" y="1000"/>
                  <a:pt x="415" y="1000"/>
                  <a:pt x="421" y="999"/>
                </a:cubicBezTo>
                <a:lnTo>
                  <a:pt x="435" y="998"/>
                </a:lnTo>
                <a:lnTo>
                  <a:pt x="449" y="997"/>
                </a:lnTo>
                <a:cubicBezTo>
                  <a:pt x="558" y="983"/>
                  <a:pt x="651" y="936"/>
                  <a:pt x="724" y="856"/>
                </a:cubicBezTo>
                <a:cubicBezTo>
                  <a:pt x="736" y="842"/>
                  <a:pt x="748" y="828"/>
                  <a:pt x="760" y="814"/>
                </a:cubicBezTo>
                <a:cubicBezTo>
                  <a:pt x="817" y="747"/>
                  <a:pt x="871" y="684"/>
                  <a:pt x="964" y="676"/>
                </a:cubicBezTo>
                <a:cubicBezTo>
                  <a:pt x="965" y="676"/>
                  <a:pt x="965" y="676"/>
                  <a:pt x="965" y="676"/>
                </a:cubicBezTo>
                <a:cubicBezTo>
                  <a:pt x="1025" y="716"/>
                  <a:pt x="1045" y="795"/>
                  <a:pt x="1026" y="908"/>
                </a:cubicBezTo>
                <a:cubicBezTo>
                  <a:pt x="1025" y="913"/>
                  <a:pt x="1023" y="919"/>
                  <a:pt x="1022" y="925"/>
                </a:cubicBezTo>
                <a:cubicBezTo>
                  <a:pt x="1017" y="943"/>
                  <a:pt x="1010" y="965"/>
                  <a:pt x="1017" y="979"/>
                </a:cubicBezTo>
                <a:cubicBezTo>
                  <a:pt x="1028" y="999"/>
                  <a:pt x="1033" y="1021"/>
                  <a:pt x="1036" y="1040"/>
                </a:cubicBezTo>
                <a:cubicBezTo>
                  <a:pt x="1043" y="1085"/>
                  <a:pt x="1055" y="1125"/>
                  <a:pt x="1071" y="1176"/>
                </a:cubicBezTo>
                <a:cubicBezTo>
                  <a:pt x="1072" y="1179"/>
                  <a:pt x="1074" y="1183"/>
                  <a:pt x="1075" y="1187"/>
                </a:cubicBezTo>
                <a:cubicBezTo>
                  <a:pt x="1081" y="1201"/>
                  <a:pt x="1088" y="1219"/>
                  <a:pt x="1077" y="1228"/>
                </a:cubicBezTo>
                <a:cubicBezTo>
                  <a:pt x="1067" y="1237"/>
                  <a:pt x="1052" y="1243"/>
                  <a:pt x="1038" y="1249"/>
                </a:cubicBezTo>
                <a:cubicBezTo>
                  <a:pt x="1030" y="1252"/>
                  <a:pt x="1023" y="1255"/>
                  <a:pt x="1016" y="1259"/>
                </a:cubicBezTo>
                <a:cubicBezTo>
                  <a:pt x="1009" y="1262"/>
                  <a:pt x="1002" y="1267"/>
                  <a:pt x="994" y="1272"/>
                </a:cubicBezTo>
                <a:cubicBezTo>
                  <a:pt x="979" y="1281"/>
                  <a:pt x="963" y="1291"/>
                  <a:pt x="948" y="1294"/>
                </a:cubicBezTo>
                <a:cubicBezTo>
                  <a:pt x="947" y="1295"/>
                  <a:pt x="946" y="1295"/>
                  <a:pt x="945" y="1295"/>
                </a:cubicBez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en-US" sz="1500">
              <a:solidFill>
                <a:srgbClr val="3F3F3F"/>
              </a:solidFill>
              <a:latin typeface="CVS Health Sans"/>
            </a:endParaRPr>
          </a:p>
        </p:txBody>
      </p:sp>
      <p:sp>
        <p:nvSpPr>
          <p:cNvPr id="27" name="AutoShape 10">
            <a:extLst>
              <a:ext uri="{FF2B5EF4-FFF2-40B4-BE49-F238E27FC236}">
                <a16:creationId xmlns:a16="http://schemas.microsoft.com/office/drawing/2014/main" id="{0D8C31A8-8AE3-A1E4-B9C9-7447BA8A6FC1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5752683" y="3023284"/>
            <a:ext cx="1096962" cy="1096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en-US" sz="1500">
              <a:solidFill>
                <a:srgbClr val="3F3F3F"/>
              </a:solidFill>
              <a:latin typeface="CVS Health Sans"/>
            </a:endParaRPr>
          </a:p>
        </p:txBody>
      </p:sp>
      <p:sp>
        <p:nvSpPr>
          <p:cNvPr id="28" name="Freeform 12">
            <a:extLst>
              <a:ext uri="{FF2B5EF4-FFF2-40B4-BE49-F238E27FC236}">
                <a16:creationId xmlns:a16="http://schemas.microsoft.com/office/drawing/2014/main" id="{80748357-A094-F1C0-53A0-01176B04445A}"/>
              </a:ext>
            </a:extLst>
          </p:cNvPr>
          <p:cNvSpPr>
            <a:spLocks/>
          </p:cNvSpPr>
          <p:nvPr/>
        </p:nvSpPr>
        <p:spPr bwMode="auto">
          <a:xfrm>
            <a:off x="5752683" y="3021696"/>
            <a:ext cx="1103312" cy="1103313"/>
          </a:xfrm>
          <a:custGeom>
            <a:avLst/>
            <a:gdLst>
              <a:gd name="T0" fmla="*/ 2239 w 2239"/>
              <a:gd name="T1" fmla="*/ 1119 h 2238"/>
              <a:gd name="T2" fmla="*/ 2239 w 2239"/>
              <a:gd name="T3" fmla="*/ 1119 h 2238"/>
              <a:gd name="T4" fmla="*/ 1119 w 2239"/>
              <a:gd name="T5" fmla="*/ 2238 h 2238"/>
              <a:gd name="T6" fmla="*/ 0 w 2239"/>
              <a:gd name="T7" fmla="*/ 1119 h 2238"/>
              <a:gd name="T8" fmla="*/ 1119 w 2239"/>
              <a:gd name="T9" fmla="*/ 0 h 2238"/>
              <a:gd name="T10" fmla="*/ 2239 w 2239"/>
              <a:gd name="T11" fmla="*/ 1119 h 2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239" h="2238">
                <a:moveTo>
                  <a:pt x="2239" y="1119"/>
                </a:moveTo>
                <a:lnTo>
                  <a:pt x="2239" y="1119"/>
                </a:lnTo>
                <a:cubicBezTo>
                  <a:pt x="2239" y="1737"/>
                  <a:pt x="1738" y="2238"/>
                  <a:pt x="1119" y="2238"/>
                </a:cubicBezTo>
                <a:cubicBezTo>
                  <a:pt x="501" y="2238"/>
                  <a:pt x="0" y="1737"/>
                  <a:pt x="0" y="1119"/>
                </a:cubicBezTo>
                <a:cubicBezTo>
                  <a:pt x="0" y="500"/>
                  <a:pt x="501" y="0"/>
                  <a:pt x="1119" y="0"/>
                </a:cubicBezTo>
                <a:cubicBezTo>
                  <a:pt x="1738" y="0"/>
                  <a:pt x="2239" y="500"/>
                  <a:pt x="2239" y="1119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en-US" sz="1500">
              <a:solidFill>
                <a:srgbClr val="3F3F3F"/>
              </a:solidFill>
              <a:latin typeface="CVS Health Sans"/>
            </a:endParaRPr>
          </a:p>
        </p:txBody>
      </p:sp>
      <p:sp>
        <p:nvSpPr>
          <p:cNvPr id="29" name="Freeform 13">
            <a:extLst>
              <a:ext uri="{FF2B5EF4-FFF2-40B4-BE49-F238E27FC236}">
                <a16:creationId xmlns:a16="http://schemas.microsoft.com/office/drawing/2014/main" id="{753132D9-3991-7BE5-7E94-393E84E0E5D7}"/>
              </a:ext>
            </a:extLst>
          </p:cNvPr>
          <p:cNvSpPr>
            <a:spLocks/>
          </p:cNvSpPr>
          <p:nvPr/>
        </p:nvSpPr>
        <p:spPr bwMode="auto">
          <a:xfrm>
            <a:off x="6305134" y="3885296"/>
            <a:ext cx="33337" cy="76200"/>
          </a:xfrm>
          <a:custGeom>
            <a:avLst/>
            <a:gdLst>
              <a:gd name="T0" fmla="*/ 64 w 69"/>
              <a:gd name="T1" fmla="*/ 121 h 155"/>
              <a:gd name="T2" fmla="*/ 64 w 69"/>
              <a:gd name="T3" fmla="*/ 121 h 155"/>
              <a:gd name="T4" fmla="*/ 66 w 69"/>
              <a:gd name="T5" fmla="*/ 152 h 155"/>
              <a:gd name="T6" fmla="*/ 15 w 69"/>
              <a:gd name="T7" fmla="*/ 149 h 155"/>
              <a:gd name="T8" fmla="*/ 18 w 69"/>
              <a:gd name="T9" fmla="*/ 138 h 155"/>
              <a:gd name="T10" fmla="*/ 21 w 69"/>
              <a:gd name="T11" fmla="*/ 117 h 155"/>
              <a:gd name="T12" fmla="*/ 0 w 69"/>
              <a:gd name="T13" fmla="*/ 1 h 155"/>
              <a:gd name="T14" fmla="*/ 36 w 69"/>
              <a:gd name="T15" fmla="*/ 3 h 155"/>
              <a:gd name="T16" fmla="*/ 69 w 69"/>
              <a:gd name="T17" fmla="*/ 0 h 155"/>
              <a:gd name="T18" fmla="*/ 64 w 69"/>
              <a:gd name="T19" fmla="*/ 121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9" h="155">
                <a:moveTo>
                  <a:pt x="64" y="121"/>
                </a:moveTo>
                <a:lnTo>
                  <a:pt x="64" y="121"/>
                </a:lnTo>
                <a:cubicBezTo>
                  <a:pt x="65" y="132"/>
                  <a:pt x="66" y="145"/>
                  <a:pt x="66" y="152"/>
                </a:cubicBezTo>
                <a:cubicBezTo>
                  <a:pt x="54" y="155"/>
                  <a:pt x="25" y="153"/>
                  <a:pt x="15" y="149"/>
                </a:cubicBezTo>
                <a:cubicBezTo>
                  <a:pt x="16" y="146"/>
                  <a:pt x="17" y="141"/>
                  <a:pt x="18" y="138"/>
                </a:cubicBezTo>
                <a:cubicBezTo>
                  <a:pt x="19" y="131"/>
                  <a:pt x="21" y="124"/>
                  <a:pt x="21" y="117"/>
                </a:cubicBezTo>
                <a:cubicBezTo>
                  <a:pt x="21" y="73"/>
                  <a:pt x="14" y="34"/>
                  <a:pt x="0" y="1"/>
                </a:cubicBezTo>
                <a:cubicBezTo>
                  <a:pt x="12" y="2"/>
                  <a:pt x="24" y="3"/>
                  <a:pt x="36" y="3"/>
                </a:cubicBezTo>
                <a:cubicBezTo>
                  <a:pt x="47" y="3"/>
                  <a:pt x="58" y="2"/>
                  <a:pt x="69" y="0"/>
                </a:cubicBezTo>
                <a:cubicBezTo>
                  <a:pt x="58" y="42"/>
                  <a:pt x="61" y="89"/>
                  <a:pt x="64" y="121"/>
                </a:cubicBez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en-US" sz="1500">
              <a:solidFill>
                <a:srgbClr val="3F3F3F"/>
              </a:solidFill>
              <a:latin typeface="CVS Health Sans"/>
            </a:endParaRPr>
          </a:p>
        </p:txBody>
      </p:sp>
      <p:sp>
        <p:nvSpPr>
          <p:cNvPr id="30" name="Freeform 14">
            <a:extLst>
              <a:ext uri="{FF2B5EF4-FFF2-40B4-BE49-F238E27FC236}">
                <a16:creationId xmlns:a16="http://schemas.microsoft.com/office/drawing/2014/main" id="{22E35334-E59E-4202-226D-5BA31818BD4A}"/>
              </a:ext>
            </a:extLst>
          </p:cNvPr>
          <p:cNvSpPr>
            <a:spLocks/>
          </p:cNvSpPr>
          <p:nvPr/>
        </p:nvSpPr>
        <p:spPr bwMode="auto">
          <a:xfrm>
            <a:off x="6251159" y="3815447"/>
            <a:ext cx="136525" cy="55563"/>
          </a:xfrm>
          <a:custGeom>
            <a:avLst/>
            <a:gdLst>
              <a:gd name="T0" fmla="*/ 277 w 277"/>
              <a:gd name="T1" fmla="*/ 26 h 114"/>
              <a:gd name="T2" fmla="*/ 277 w 277"/>
              <a:gd name="T3" fmla="*/ 26 h 114"/>
              <a:gd name="T4" fmla="*/ 144 w 277"/>
              <a:gd name="T5" fmla="*/ 114 h 114"/>
              <a:gd name="T6" fmla="*/ 0 w 277"/>
              <a:gd name="T7" fmla="*/ 36 h 114"/>
              <a:gd name="T8" fmla="*/ 5 w 277"/>
              <a:gd name="T9" fmla="*/ 7 h 114"/>
              <a:gd name="T10" fmla="*/ 119 w 277"/>
              <a:gd name="T11" fmla="*/ 28 h 114"/>
              <a:gd name="T12" fmla="*/ 271 w 277"/>
              <a:gd name="T13" fmla="*/ 0 h 114"/>
              <a:gd name="T14" fmla="*/ 277 w 277"/>
              <a:gd name="T15" fmla="*/ 26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77" h="114">
                <a:moveTo>
                  <a:pt x="277" y="26"/>
                </a:moveTo>
                <a:lnTo>
                  <a:pt x="277" y="26"/>
                </a:lnTo>
                <a:cubicBezTo>
                  <a:pt x="277" y="90"/>
                  <a:pt x="197" y="114"/>
                  <a:pt x="144" y="114"/>
                </a:cubicBezTo>
                <a:cubicBezTo>
                  <a:pt x="138" y="114"/>
                  <a:pt x="0" y="113"/>
                  <a:pt x="0" y="36"/>
                </a:cubicBezTo>
                <a:cubicBezTo>
                  <a:pt x="0" y="26"/>
                  <a:pt x="2" y="17"/>
                  <a:pt x="5" y="7"/>
                </a:cubicBezTo>
                <a:cubicBezTo>
                  <a:pt x="39" y="21"/>
                  <a:pt x="76" y="28"/>
                  <a:pt x="119" y="28"/>
                </a:cubicBezTo>
                <a:cubicBezTo>
                  <a:pt x="177" y="28"/>
                  <a:pt x="227" y="19"/>
                  <a:pt x="271" y="0"/>
                </a:cubicBezTo>
                <a:cubicBezTo>
                  <a:pt x="275" y="8"/>
                  <a:pt x="277" y="17"/>
                  <a:pt x="277" y="26"/>
                </a:cubicBez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en-US" sz="1500">
              <a:solidFill>
                <a:srgbClr val="3F3F3F"/>
              </a:solidFill>
              <a:latin typeface="CVS Health Sans"/>
            </a:endParaRPr>
          </a:p>
        </p:txBody>
      </p:sp>
      <p:sp>
        <p:nvSpPr>
          <p:cNvPr id="31" name="Freeform 15">
            <a:extLst>
              <a:ext uri="{FF2B5EF4-FFF2-40B4-BE49-F238E27FC236}">
                <a16:creationId xmlns:a16="http://schemas.microsoft.com/office/drawing/2014/main" id="{AEA47EE8-FE7D-71E0-19AE-5D4F39A3C2DF}"/>
              </a:ext>
            </a:extLst>
          </p:cNvPr>
          <p:cNvSpPr>
            <a:spLocks/>
          </p:cNvSpPr>
          <p:nvPr/>
        </p:nvSpPr>
        <p:spPr bwMode="auto">
          <a:xfrm>
            <a:off x="6211470" y="3732897"/>
            <a:ext cx="209550" cy="80963"/>
          </a:xfrm>
          <a:custGeom>
            <a:avLst/>
            <a:gdLst>
              <a:gd name="T0" fmla="*/ 425 w 425"/>
              <a:gd name="T1" fmla="*/ 84 h 167"/>
              <a:gd name="T2" fmla="*/ 425 w 425"/>
              <a:gd name="T3" fmla="*/ 84 h 167"/>
              <a:gd name="T4" fmla="*/ 201 w 425"/>
              <a:gd name="T5" fmla="*/ 167 h 167"/>
              <a:gd name="T6" fmla="*/ 0 w 425"/>
              <a:gd name="T7" fmla="*/ 79 h 167"/>
              <a:gd name="T8" fmla="*/ 173 w 425"/>
              <a:gd name="T9" fmla="*/ 45 h 167"/>
              <a:gd name="T10" fmla="*/ 216 w 425"/>
              <a:gd name="T11" fmla="*/ 0 h 167"/>
              <a:gd name="T12" fmla="*/ 294 w 425"/>
              <a:gd name="T13" fmla="*/ 50 h 167"/>
              <a:gd name="T14" fmla="*/ 346 w 425"/>
              <a:gd name="T15" fmla="*/ 63 h 167"/>
              <a:gd name="T16" fmla="*/ 378 w 425"/>
              <a:gd name="T17" fmla="*/ 73 h 167"/>
              <a:gd name="T18" fmla="*/ 425 w 425"/>
              <a:gd name="T19" fmla="*/ 84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25" h="167">
                <a:moveTo>
                  <a:pt x="425" y="84"/>
                </a:moveTo>
                <a:lnTo>
                  <a:pt x="425" y="84"/>
                </a:lnTo>
                <a:cubicBezTo>
                  <a:pt x="369" y="141"/>
                  <a:pt x="299" y="167"/>
                  <a:pt x="201" y="167"/>
                </a:cubicBezTo>
                <a:cubicBezTo>
                  <a:pt x="121" y="167"/>
                  <a:pt x="61" y="141"/>
                  <a:pt x="0" y="79"/>
                </a:cubicBezTo>
                <a:cubicBezTo>
                  <a:pt x="59" y="71"/>
                  <a:pt x="123" y="60"/>
                  <a:pt x="173" y="45"/>
                </a:cubicBezTo>
                <a:cubicBezTo>
                  <a:pt x="191" y="38"/>
                  <a:pt x="205" y="23"/>
                  <a:pt x="216" y="0"/>
                </a:cubicBezTo>
                <a:cubicBezTo>
                  <a:pt x="233" y="27"/>
                  <a:pt x="266" y="49"/>
                  <a:pt x="294" y="50"/>
                </a:cubicBezTo>
                <a:cubicBezTo>
                  <a:pt x="313" y="51"/>
                  <a:pt x="327" y="56"/>
                  <a:pt x="346" y="63"/>
                </a:cubicBezTo>
                <a:cubicBezTo>
                  <a:pt x="356" y="66"/>
                  <a:pt x="366" y="70"/>
                  <a:pt x="378" y="73"/>
                </a:cubicBezTo>
                <a:cubicBezTo>
                  <a:pt x="389" y="76"/>
                  <a:pt x="406" y="80"/>
                  <a:pt x="425" y="84"/>
                </a:cubicBez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en-US" sz="1500">
              <a:solidFill>
                <a:srgbClr val="3F3F3F"/>
              </a:solidFill>
              <a:latin typeface="CVS Health Sans"/>
            </a:endParaRPr>
          </a:p>
        </p:txBody>
      </p:sp>
      <p:sp>
        <p:nvSpPr>
          <p:cNvPr id="32" name="Freeform 16">
            <a:extLst>
              <a:ext uri="{FF2B5EF4-FFF2-40B4-BE49-F238E27FC236}">
                <a16:creationId xmlns:a16="http://schemas.microsoft.com/office/drawing/2014/main" id="{8E077118-D1D8-2C65-D8ED-BE9DA2CA0A88}"/>
              </a:ext>
            </a:extLst>
          </p:cNvPr>
          <p:cNvSpPr>
            <a:spLocks noEditPoints="1"/>
          </p:cNvSpPr>
          <p:nvPr/>
        </p:nvSpPr>
        <p:spPr bwMode="auto">
          <a:xfrm>
            <a:off x="6316245" y="3245534"/>
            <a:ext cx="423862" cy="517525"/>
          </a:xfrm>
          <a:custGeom>
            <a:avLst/>
            <a:gdLst>
              <a:gd name="T0" fmla="*/ 588 w 860"/>
              <a:gd name="T1" fmla="*/ 310 h 1052"/>
              <a:gd name="T2" fmla="*/ 632 w 860"/>
              <a:gd name="T3" fmla="*/ 407 h 1052"/>
              <a:gd name="T4" fmla="*/ 443 w 860"/>
              <a:gd name="T5" fmla="*/ 298 h 1052"/>
              <a:gd name="T6" fmla="*/ 547 w 860"/>
              <a:gd name="T7" fmla="*/ 304 h 1052"/>
              <a:gd name="T8" fmla="*/ 432 w 860"/>
              <a:gd name="T9" fmla="*/ 212 h 1052"/>
              <a:gd name="T10" fmla="*/ 304 w 860"/>
              <a:gd name="T11" fmla="*/ 240 h 1052"/>
              <a:gd name="T12" fmla="*/ 374 w 860"/>
              <a:gd name="T13" fmla="*/ 218 h 1052"/>
              <a:gd name="T14" fmla="*/ 482 w 860"/>
              <a:gd name="T15" fmla="*/ 152 h 1052"/>
              <a:gd name="T16" fmla="*/ 559 w 860"/>
              <a:gd name="T17" fmla="*/ 277 h 1052"/>
              <a:gd name="T18" fmla="*/ 682 w 860"/>
              <a:gd name="T19" fmla="*/ 336 h 1052"/>
              <a:gd name="T20" fmla="*/ 437 w 860"/>
              <a:gd name="T21" fmla="*/ 709 h 1052"/>
              <a:gd name="T22" fmla="*/ 412 w 860"/>
              <a:gd name="T23" fmla="*/ 696 h 1052"/>
              <a:gd name="T24" fmla="*/ 253 w 860"/>
              <a:gd name="T25" fmla="*/ 681 h 1052"/>
              <a:gd name="T26" fmla="*/ 344 w 860"/>
              <a:gd name="T27" fmla="*/ 440 h 1052"/>
              <a:gd name="T28" fmla="*/ 200 w 860"/>
              <a:gd name="T29" fmla="*/ 458 h 1052"/>
              <a:gd name="T30" fmla="*/ 407 w 860"/>
              <a:gd name="T31" fmla="*/ 595 h 1052"/>
              <a:gd name="T32" fmla="*/ 97 w 860"/>
              <a:gd name="T33" fmla="*/ 370 h 1052"/>
              <a:gd name="T34" fmla="*/ 232 w 860"/>
              <a:gd name="T35" fmla="*/ 361 h 1052"/>
              <a:gd name="T36" fmla="*/ 574 w 860"/>
              <a:gd name="T37" fmla="*/ 685 h 1052"/>
              <a:gd name="T38" fmla="*/ 651 w 860"/>
              <a:gd name="T39" fmla="*/ 736 h 1052"/>
              <a:gd name="T40" fmla="*/ 549 w 860"/>
              <a:gd name="T41" fmla="*/ 814 h 1052"/>
              <a:gd name="T42" fmla="*/ 578 w 860"/>
              <a:gd name="T43" fmla="*/ 714 h 1052"/>
              <a:gd name="T44" fmla="*/ 845 w 860"/>
              <a:gd name="T45" fmla="*/ 687 h 1052"/>
              <a:gd name="T46" fmla="*/ 115 w 860"/>
              <a:gd name="T47" fmla="*/ 277 h 1052"/>
              <a:gd name="T48" fmla="*/ 222 w 860"/>
              <a:gd name="T49" fmla="*/ 123 h 1052"/>
              <a:gd name="T50" fmla="*/ 251 w 860"/>
              <a:gd name="T51" fmla="*/ 126 h 1052"/>
              <a:gd name="T52" fmla="*/ 250 w 860"/>
              <a:gd name="T53" fmla="*/ 179 h 1052"/>
              <a:gd name="T54" fmla="*/ 304 w 860"/>
              <a:gd name="T55" fmla="*/ 316 h 1052"/>
              <a:gd name="T56" fmla="*/ 69 w 860"/>
              <a:gd name="T57" fmla="*/ 312 h 1052"/>
              <a:gd name="T58" fmla="*/ 227 w 860"/>
              <a:gd name="T59" fmla="*/ 567 h 1052"/>
              <a:gd name="T60" fmla="*/ 5 w 860"/>
              <a:gd name="T61" fmla="*/ 543 h 1052"/>
              <a:gd name="T62" fmla="*/ 45 w 860"/>
              <a:gd name="T63" fmla="*/ 642 h 1052"/>
              <a:gd name="T64" fmla="*/ 110 w 860"/>
              <a:gd name="T65" fmla="*/ 750 h 1052"/>
              <a:gd name="T66" fmla="*/ 180 w 860"/>
              <a:gd name="T67" fmla="*/ 754 h 1052"/>
              <a:gd name="T68" fmla="*/ 18 w 860"/>
              <a:gd name="T69" fmla="*/ 936 h 1052"/>
              <a:gd name="T70" fmla="*/ 291 w 860"/>
              <a:gd name="T71" fmla="*/ 893 h 1052"/>
              <a:gd name="T72" fmla="*/ 150 w 860"/>
              <a:gd name="T73" fmla="*/ 886 h 1052"/>
              <a:gd name="T74" fmla="*/ 294 w 860"/>
              <a:gd name="T75" fmla="*/ 869 h 1052"/>
              <a:gd name="T76" fmla="*/ 300 w 860"/>
              <a:gd name="T77" fmla="*/ 773 h 1052"/>
              <a:gd name="T78" fmla="*/ 338 w 860"/>
              <a:gd name="T79" fmla="*/ 826 h 1052"/>
              <a:gd name="T80" fmla="*/ 470 w 860"/>
              <a:gd name="T81" fmla="*/ 831 h 1052"/>
              <a:gd name="T82" fmla="*/ 384 w 860"/>
              <a:gd name="T83" fmla="*/ 775 h 1052"/>
              <a:gd name="T84" fmla="*/ 489 w 860"/>
              <a:gd name="T85" fmla="*/ 833 h 1052"/>
              <a:gd name="T86" fmla="*/ 496 w 860"/>
              <a:gd name="T87" fmla="*/ 869 h 1052"/>
              <a:gd name="T88" fmla="*/ 359 w 860"/>
              <a:gd name="T89" fmla="*/ 951 h 1052"/>
              <a:gd name="T90" fmla="*/ 580 w 860"/>
              <a:gd name="T91" fmla="*/ 910 h 1052"/>
              <a:gd name="T92" fmla="*/ 688 w 860"/>
              <a:gd name="T93" fmla="*/ 637 h 1052"/>
              <a:gd name="T94" fmla="*/ 576 w 860"/>
              <a:gd name="T95" fmla="*/ 570 h 1052"/>
              <a:gd name="T96" fmla="*/ 594 w 860"/>
              <a:gd name="T97" fmla="*/ 557 h 1052"/>
              <a:gd name="T98" fmla="*/ 511 w 860"/>
              <a:gd name="T99" fmla="*/ 464 h 1052"/>
              <a:gd name="T100" fmla="*/ 601 w 860"/>
              <a:gd name="T101" fmla="*/ 521 h 1052"/>
              <a:gd name="T102" fmla="*/ 696 w 860"/>
              <a:gd name="T103" fmla="*/ 579 h 1052"/>
              <a:gd name="T104" fmla="*/ 778 w 860"/>
              <a:gd name="T105" fmla="*/ 408 h 1052"/>
              <a:gd name="T106" fmla="*/ 812 w 860"/>
              <a:gd name="T107" fmla="*/ 510 h 1052"/>
              <a:gd name="T108" fmla="*/ 792 w 860"/>
              <a:gd name="T109" fmla="*/ 499 h 1052"/>
              <a:gd name="T110" fmla="*/ 789 w 860"/>
              <a:gd name="T111" fmla="*/ 572 h 1052"/>
              <a:gd name="T112" fmla="*/ 769 w 860"/>
              <a:gd name="T113" fmla="*/ 557 h 1052"/>
              <a:gd name="T114" fmla="*/ 720 w 860"/>
              <a:gd name="T115" fmla="*/ 602 h 1052"/>
              <a:gd name="T116" fmla="*/ 792 w 860"/>
              <a:gd name="T117" fmla="*/ 822 h 1052"/>
              <a:gd name="T118" fmla="*/ 633 w 860"/>
              <a:gd name="T119" fmla="*/ 911 h 1052"/>
              <a:gd name="T120" fmla="*/ 745 w 860"/>
              <a:gd name="T121" fmla="*/ 949 h 1052"/>
              <a:gd name="T122" fmla="*/ 853 w 860"/>
              <a:gd name="T123" fmla="*/ 743 h 10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60" h="1052">
                <a:moveTo>
                  <a:pt x="701" y="351"/>
                </a:moveTo>
                <a:lnTo>
                  <a:pt x="701" y="351"/>
                </a:lnTo>
                <a:cubicBezTo>
                  <a:pt x="701" y="351"/>
                  <a:pt x="698" y="350"/>
                  <a:pt x="698" y="350"/>
                </a:cubicBezTo>
                <a:lnTo>
                  <a:pt x="698" y="347"/>
                </a:lnTo>
                <a:lnTo>
                  <a:pt x="697" y="350"/>
                </a:lnTo>
                <a:cubicBezTo>
                  <a:pt x="696" y="350"/>
                  <a:pt x="694" y="350"/>
                  <a:pt x="693" y="349"/>
                </a:cubicBezTo>
                <a:cubicBezTo>
                  <a:pt x="690" y="348"/>
                  <a:pt x="687" y="347"/>
                  <a:pt x="684" y="346"/>
                </a:cubicBezTo>
                <a:cubicBezTo>
                  <a:pt x="683" y="346"/>
                  <a:pt x="681" y="345"/>
                  <a:pt x="679" y="344"/>
                </a:cubicBezTo>
                <a:lnTo>
                  <a:pt x="678" y="343"/>
                </a:lnTo>
                <a:cubicBezTo>
                  <a:pt x="677" y="343"/>
                  <a:pt x="675" y="342"/>
                  <a:pt x="674" y="341"/>
                </a:cubicBezTo>
                <a:cubicBezTo>
                  <a:pt x="670" y="339"/>
                  <a:pt x="666" y="337"/>
                  <a:pt x="661" y="334"/>
                </a:cubicBezTo>
                <a:cubicBezTo>
                  <a:pt x="658" y="332"/>
                  <a:pt x="654" y="330"/>
                  <a:pt x="651" y="327"/>
                </a:cubicBezTo>
                <a:cubicBezTo>
                  <a:pt x="647" y="325"/>
                  <a:pt x="642" y="323"/>
                  <a:pt x="638" y="321"/>
                </a:cubicBezTo>
                <a:lnTo>
                  <a:pt x="631" y="317"/>
                </a:lnTo>
                <a:lnTo>
                  <a:pt x="623" y="315"/>
                </a:lnTo>
                <a:lnTo>
                  <a:pt x="616" y="313"/>
                </a:lnTo>
                <a:cubicBezTo>
                  <a:pt x="615" y="313"/>
                  <a:pt x="613" y="312"/>
                  <a:pt x="612" y="312"/>
                </a:cubicBezTo>
                <a:lnTo>
                  <a:pt x="609" y="311"/>
                </a:lnTo>
                <a:cubicBezTo>
                  <a:pt x="608" y="311"/>
                  <a:pt x="606" y="311"/>
                  <a:pt x="605" y="311"/>
                </a:cubicBezTo>
                <a:lnTo>
                  <a:pt x="599" y="310"/>
                </a:lnTo>
                <a:lnTo>
                  <a:pt x="590" y="310"/>
                </a:lnTo>
                <a:cubicBezTo>
                  <a:pt x="589" y="310"/>
                  <a:pt x="588" y="310"/>
                  <a:pt x="588" y="310"/>
                </a:cubicBezTo>
                <a:cubicBezTo>
                  <a:pt x="586" y="310"/>
                  <a:pt x="584" y="311"/>
                  <a:pt x="582" y="311"/>
                </a:cubicBezTo>
                <a:cubicBezTo>
                  <a:pt x="580" y="311"/>
                  <a:pt x="578" y="311"/>
                  <a:pt x="576" y="312"/>
                </a:cubicBezTo>
                <a:cubicBezTo>
                  <a:pt x="574" y="312"/>
                  <a:pt x="573" y="313"/>
                  <a:pt x="572" y="313"/>
                </a:cubicBezTo>
                <a:cubicBezTo>
                  <a:pt x="567" y="314"/>
                  <a:pt x="564" y="315"/>
                  <a:pt x="561" y="317"/>
                </a:cubicBezTo>
                <a:cubicBezTo>
                  <a:pt x="561" y="317"/>
                  <a:pt x="560" y="317"/>
                  <a:pt x="559" y="318"/>
                </a:cubicBezTo>
                <a:cubicBezTo>
                  <a:pt x="564" y="324"/>
                  <a:pt x="568" y="330"/>
                  <a:pt x="571" y="334"/>
                </a:cubicBezTo>
                <a:cubicBezTo>
                  <a:pt x="576" y="341"/>
                  <a:pt x="580" y="347"/>
                  <a:pt x="585" y="353"/>
                </a:cubicBezTo>
                <a:cubicBezTo>
                  <a:pt x="590" y="360"/>
                  <a:pt x="594" y="365"/>
                  <a:pt x="598" y="370"/>
                </a:cubicBezTo>
                <a:cubicBezTo>
                  <a:pt x="603" y="374"/>
                  <a:pt x="607" y="379"/>
                  <a:pt x="612" y="383"/>
                </a:cubicBezTo>
                <a:cubicBezTo>
                  <a:pt x="614" y="384"/>
                  <a:pt x="615" y="385"/>
                  <a:pt x="617" y="386"/>
                </a:cubicBezTo>
                <a:lnTo>
                  <a:pt x="619" y="388"/>
                </a:lnTo>
                <a:cubicBezTo>
                  <a:pt x="621" y="389"/>
                  <a:pt x="626" y="392"/>
                  <a:pt x="626" y="392"/>
                </a:cubicBezTo>
                <a:cubicBezTo>
                  <a:pt x="628" y="393"/>
                  <a:pt x="630" y="394"/>
                  <a:pt x="632" y="395"/>
                </a:cubicBezTo>
                <a:cubicBezTo>
                  <a:pt x="633" y="396"/>
                  <a:pt x="637" y="398"/>
                  <a:pt x="637" y="398"/>
                </a:cubicBezTo>
                <a:cubicBezTo>
                  <a:pt x="639" y="399"/>
                  <a:pt x="641" y="400"/>
                  <a:pt x="642" y="400"/>
                </a:cubicBezTo>
                <a:lnTo>
                  <a:pt x="647" y="402"/>
                </a:lnTo>
                <a:cubicBezTo>
                  <a:pt x="649" y="403"/>
                  <a:pt x="650" y="405"/>
                  <a:pt x="649" y="407"/>
                </a:cubicBezTo>
                <a:cubicBezTo>
                  <a:pt x="649" y="408"/>
                  <a:pt x="647" y="409"/>
                  <a:pt x="646" y="409"/>
                </a:cubicBezTo>
                <a:cubicBezTo>
                  <a:pt x="645" y="409"/>
                  <a:pt x="642" y="409"/>
                  <a:pt x="642" y="409"/>
                </a:cubicBezTo>
                <a:lnTo>
                  <a:pt x="640" y="409"/>
                </a:lnTo>
                <a:cubicBezTo>
                  <a:pt x="638" y="408"/>
                  <a:pt x="636" y="408"/>
                  <a:pt x="633" y="407"/>
                </a:cubicBezTo>
                <a:lnTo>
                  <a:pt x="632" y="407"/>
                </a:lnTo>
                <a:cubicBezTo>
                  <a:pt x="630" y="406"/>
                  <a:pt x="629" y="406"/>
                  <a:pt x="627" y="406"/>
                </a:cubicBezTo>
                <a:cubicBezTo>
                  <a:pt x="625" y="405"/>
                  <a:pt x="623" y="404"/>
                  <a:pt x="620" y="403"/>
                </a:cubicBezTo>
                <a:lnTo>
                  <a:pt x="618" y="402"/>
                </a:lnTo>
                <a:cubicBezTo>
                  <a:pt x="616" y="401"/>
                  <a:pt x="614" y="401"/>
                  <a:pt x="612" y="400"/>
                </a:cubicBezTo>
                <a:lnTo>
                  <a:pt x="610" y="399"/>
                </a:lnTo>
                <a:cubicBezTo>
                  <a:pt x="608" y="397"/>
                  <a:pt x="606" y="397"/>
                  <a:pt x="604" y="395"/>
                </a:cubicBezTo>
                <a:cubicBezTo>
                  <a:pt x="598" y="392"/>
                  <a:pt x="592" y="388"/>
                  <a:pt x="586" y="383"/>
                </a:cubicBezTo>
                <a:cubicBezTo>
                  <a:pt x="581" y="378"/>
                  <a:pt x="575" y="372"/>
                  <a:pt x="569" y="366"/>
                </a:cubicBezTo>
                <a:cubicBezTo>
                  <a:pt x="564" y="360"/>
                  <a:pt x="559" y="354"/>
                  <a:pt x="555" y="347"/>
                </a:cubicBezTo>
                <a:lnTo>
                  <a:pt x="552" y="344"/>
                </a:lnTo>
                <a:cubicBezTo>
                  <a:pt x="548" y="339"/>
                  <a:pt x="544" y="333"/>
                  <a:pt x="539" y="328"/>
                </a:cubicBezTo>
                <a:cubicBezTo>
                  <a:pt x="533" y="322"/>
                  <a:pt x="528" y="317"/>
                  <a:pt x="523" y="313"/>
                </a:cubicBezTo>
                <a:cubicBezTo>
                  <a:pt x="517" y="309"/>
                  <a:pt x="511" y="305"/>
                  <a:pt x="504" y="303"/>
                </a:cubicBezTo>
                <a:cubicBezTo>
                  <a:pt x="498" y="301"/>
                  <a:pt x="491" y="299"/>
                  <a:pt x="485" y="298"/>
                </a:cubicBezTo>
                <a:cubicBezTo>
                  <a:pt x="483" y="298"/>
                  <a:pt x="481" y="297"/>
                  <a:pt x="480" y="297"/>
                </a:cubicBezTo>
                <a:lnTo>
                  <a:pt x="475" y="297"/>
                </a:lnTo>
                <a:cubicBezTo>
                  <a:pt x="475" y="297"/>
                  <a:pt x="464" y="297"/>
                  <a:pt x="463" y="297"/>
                </a:cubicBezTo>
                <a:cubicBezTo>
                  <a:pt x="462" y="297"/>
                  <a:pt x="461" y="297"/>
                  <a:pt x="459" y="297"/>
                </a:cubicBezTo>
                <a:lnTo>
                  <a:pt x="457" y="297"/>
                </a:lnTo>
                <a:cubicBezTo>
                  <a:pt x="456" y="297"/>
                  <a:pt x="455" y="297"/>
                  <a:pt x="453" y="297"/>
                </a:cubicBezTo>
                <a:cubicBezTo>
                  <a:pt x="452" y="297"/>
                  <a:pt x="451" y="297"/>
                  <a:pt x="450" y="297"/>
                </a:cubicBezTo>
                <a:cubicBezTo>
                  <a:pt x="447" y="298"/>
                  <a:pt x="445" y="298"/>
                  <a:pt x="443" y="298"/>
                </a:cubicBezTo>
                <a:cubicBezTo>
                  <a:pt x="441" y="298"/>
                  <a:pt x="439" y="298"/>
                  <a:pt x="437" y="299"/>
                </a:cubicBezTo>
                <a:cubicBezTo>
                  <a:pt x="430" y="300"/>
                  <a:pt x="425" y="301"/>
                  <a:pt x="425" y="301"/>
                </a:cubicBezTo>
                <a:cubicBezTo>
                  <a:pt x="425" y="301"/>
                  <a:pt x="425" y="301"/>
                  <a:pt x="425" y="301"/>
                </a:cubicBezTo>
                <a:cubicBezTo>
                  <a:pt x="423" y="301"/>
                  <a:pt x="422" y="300"/>
                  <a:pt x="421" y="298"/>
                </a:cubicBezTo>
                <a:cubicBezTo>
                  <a:pt x="421" y="296"/>
                  <a:pt x="422" y="295"/>
                  <a:pt x="423" y="294"/>
                </a:cubicBezTo>
                <a:cubicBezTo>
                  <a:pt x="423" y="294"/>
                  <a:pt x="427" y="292"/>
                  <a:pt x="434" y="289"/>
                </a:cubicBezTo>
                <a:cubicBezTo>
                  <a:pt x="437" y="287"/>
                  <a:pt x="440" y="286"/>
                  <a:pt x="444" y="285"/>
                </a:cubicBezTo>
                <a:lnTo>
                  <a:pt x="447" y="284"/>
                </a:lnTo>
                <a:cubicBezTo>
                  <a:pt x="450" y="283"/>
                  <a:pt x="452" y="283"/>
                  <a:pt x="455" y="282"/>
                </a:cubicBezTo>
                <a:lnTo>
                  <a:pt x="457" y="282"/>
                </a:lnTo>
                <a:cubicBezTo>
                  <a:pt x="459" y="281"/>
                  <a:pt x="462" y="281"/>
                  <a:pt x="465" y="280"/>
                </a:cubicBezTo>
                <a:lnTo>
                  <a:pt x="467" y="280"/>
                </a:lnTo>
                <a:cubicBezTo>
                  <a:pt x="470" y="280"/>
                  <a:pt x="472" y="279"/>
                  <a:pt x="475" y="279"/>
                </a:cubicBezTo>
                <a:lnTo>
                  <a:pt x="483" y="279"/>
                </a:lnTo>
                <a:cubicBezTo>
                  <a:pt x="484" y="279"/>
                  <a:pt x="485" y="279"/>
                  <a:pt x="486" y="279"/>
                </a:cubicBezTo>
                <a:lnTo>
                  <a:pt x="492" y="279"/>
                </a:lnTo>
                <a:lnTo>
                  <a:pt x="498" y="280"/>
                </a:lnTo>
                <a:cubicBezTo>
                  <a:pt x="500" y="280"/>
                  <a:pt x="501" y="281"/>
                  <a:pt x="503" y="281"/>
                </a:cubicBezTo>
                <a:lnTo>
                  <a:pt x="505" y="281"/>
                </a:lnTo>
                <a:cubicBezTo>
                  <a:pt x="507" y="282"/>
                  <a:pt x="509" y="282"/>
                  <a:pt x="511" y="283"/>
                </a:cubicBezTo>
                <a:cubicBezTo>
                  <a:pt x="519" y="285"/>
                  <a:pt x="528" y="290"/>
                  <a:pt x="535" y="295"/>
                </a:cubicBezTo>
                <a:cubicBezTo>
                  <a:pt x="539" y="298"/>
                  <a:pt x="543" y="301"/>
                  <a:pt x="547" y="304"/>
                </a:cubicBezTo>
                <a:lnTo>
                  <a:pt x="548" y="304"/>
                </a:lnTo>
                <a:cubicBezTo>
                  <a:pt x="550" y="303"/>
                  <a:pt x="552" y="302"/>
                  <a:pt x="555" y="301"/>
                </a:cubicBezTo>
                <a:lnTo>
                  <a:pt x="554" y="299"/>
                </a:lnTo>
                <a:lnTo>
                  <a:pt x="553" y="296"/>
                </a:lnTo>
                <a:cubicBezTo>
                  <a:pt x="552" y="293"/>
                  <a:pt x="551" y="291"/>
                  <a:pt x="550" y="288"/>
                </a:cubicBezTo>
                <a:lnTo>
                  <a:pt x="549" y="287"/>
                </a:lnTo>
                <a:cubicBezTo>
                  <a:pt x="549" y="285"/>
                  <a:pt x="548" y="283"/>
                  <a:pt x="547" y="281"/>
                </a:cubicBezTo>
                <a:cubicBezTo>
                  <a:pt x="546" y="279"/>
                  <a:pt x="545" y="277"/>
                  <a:pt x="543" y="275"/>
                </a:cubicBezTo>
                <a:cubicBezTo>
                  <a:pt x="541" y="270"/>
                  <a:pt x="538" y="266"/>
                  <a:pt x="533" y="260"/>
                </a:cubicBezTo>
                <a:cubicBezTo>
                  <a:pt x="529" y="255"/>
                  <a:pt x="525" y="251"/>
                  <a:pt x="519" y="247"/>
                </a:cubicBezTo>
                <a:cubicBezTo>
                  <a:pt x="514" y="243"/>
                  <a:pt x="508" y="240"/>
                  <a:pt x="502" y="237"/>
                </a:cubicBezTo>
                <a:cubicBezTo>
                  <a:pt x="495" y="234"/>
                  <a:pt x="489" y="231"/>
                  <a:pt x="482" y="228"/>
                </a:cubicBezTo>
                <a:lnTo>
                  <a:pt x="477" y="226"/>
                </a:lnTo>
                <a:cubicBezTo>
                  <a:pt x="471" y="224"/>
                  <a:pt x="465" y="221"/>
                  <a:pt x="459" y="218"/>
                </a:cubicBezTo>
                <a:cubicBezTo>
                  <a:pt x="457" y="216"/>
                  <a:pt x="453" y="214"/>
                  <a:pt x="449" y="211"/>
                </a:cubicBezTo>
                <a:lnTo>
                  <a:pt x="448" y="211"/>
                </a:lnTo>
                <a:cubicBezTo>
                  <a:pt x="448" y="211"/>
                  <a:pt x="448" y="211"/>
                  <a:pt x="448" y="211"/>
                </a:cubicBezTo>
                <a:lnTo>
                  <a:pt x="448" y="211"/>
                </a:lnTo>
                <a:lnTo>
                  <a:pt x="447" y="208"/>
                </a:lnTo>
                <a:lnTo>
                  <a:pt x="447" y="212"/>
                </a:lnTo>
                <a:lnTo>
                  <a:pt x="438" y="212"/>
                </a:lnTo>
                <a:cubicBezTo>
                  <a:pt x="436" y="212"/>
                  <a:pt x="434" y="212"/>
                  <a:pt x="432" y="212"/>
                </a:cubicBezTo>
                <a:lnTo>
                  <a:pt x="425" y="213"/>
                </a:lnTo>
                <a:lnTo>
                  <a:pt x="416" y="214"/>
                </a:lnTo>
                <a:cubicBezTo>
                  <a:pt x="415" y="215"/>
                  <a:pt x="414" y="215"/>
                  <a:pt x="412" y="215"/>
                </a:cubicBezTo>
                <a:lnTo>
                  <a:pt x="407" y="217"/>
                </a:lnTo>
                <a:lnTo>
                  <a:pt x="404" y="218"/>
                </a:lnTo>
                <a:cubicBezTo>
                  <a:pt x="399" y="220"/>
                  <a:pt x="394" y="222"/>
                  <a:pt x="390" y="224"/>
                </a:cubicBezTo>
                <a:cubicBezTo>
                  <a:pt x="390" y="224"/>
                  <a:pt x="385" y="227"/>
                  <a:pt x="384" y="227"/>
                </a:cubicBezTo>
                <a:lnTo>
                  <a:pt x="377" y="232"/>
                </a:lnTo>
                <a:cubicBezTo>
                  <a:pt x="374" y="233"/>
                  <a:pt x="371" y="236"/>
                  <a:pt x="368" y="238"/>
                </a:cubicBezTo>
                <a:lnTo>
                  <a:pt x="364" y="240"/>
                </a:lnTo>
                <a:cubicBezTo>
                  <a:pt x="359" y="244"/>
                  <a:pt x="355" y="247"/>
                  <a:pt x="351" y="249"/>
                </a:cubicBezTo>
                <a:cubicBezTo>
                  <a:pt x="348" y="250"/>
                  <a:pt x="345" y="251"/>
                  <a:pt x="343" y="252"/>
                </a:cubicBezTo>
                <a:cubicBezTo>
                  <a:pt x="343" y="252"/>
                  <a:pt x="341" y="252"/>
                  <a:pt x="341" y="252"/>
                </a:cubicBezTo>
                <a:cubicBezTo>
                  <a:pt x="339" y="253"/>
                  <a:pt x="337" y="253"/>
                  <a:pt x="335" y="253"/>
                </a:cubicBezTo>
                <a:cubicBezTo>
                  <a:pt x="334" y="253"/>
                  <a:pt x="333" y="253"/>
                  <a:pt x="332" y="253"/>
                </a:cubicBezTo>
                <a:cubicBezTo>
                  <a:pt x="328" y="253"/>
                  <a:pt x="324" y="253"/>
                  <a:pt x="321" y="252"/>
                </a:cubicBezTo>
                <a:lnTo>
                  <a:pt x="319" y="251"/>
                </a:lnTo>
                <a:cubicBezTo>
                  <a:pt x="317" y="251"/>
                  <a:pt x="316" y="250"/>
                  <a:pt x="314" y="249"/>
                </a:cubicBezTo>
                <a:cubicBezTo>
                  <a:pt x="314" y="249"/>
                  <a:pt x="312" y="247"/>
                  <a:pt x="311" y="247"/>
                </a:cubicBezTo>
                <a:lnTo>
                  <a:pt x="309" y="246"/>
                </a:lnTo>
                <a:cubicBezTo>
                  <a:pt x="308" y="245"/>
                  <a:pt x="307" y="243"/>
                  <a:pt x="306" y="242"/>
                </a:cubicBezTo>
                <a:cubicBezTo>
                  <a:pt x="305" y="241"/>
                  <a:pt x="305" y="240"/>
                  <a:pt x="304" y="240"/>
                </a:cubicBezTo>
                <a:lnTo>
                  <a:pt x="303" y="238"/>
                </a:lnTo>
                <a:cubicBezTo>
                  <a:pt x="302" y="236"/>
                  <a:pt x="302" y="234"/>
                  <a:pt x="301" y="232"/>
                </a:cubicBezTo>
                <a:lnTo>
                  <a:pt x="301" y="230"/>
                </a:lnTo>
                <a:cubicBezTo>
                  <a:pt x="300" y="228"/>
                  <a:pt x="301" y="226"/>
                  <a:pt x="303" y="226"/>
                </a:cubicBezTo>
                <a:cubicBezTo>
                  <a:pt x="304" y="226"/>
                  <a:pt x="304" y="225"/>
                  <a:pt x="304" y="225"/>
                </a:cubicBezTo>
                <a:cubicBezTo>
                  <a:pt x="306" y="225"/>
                  <a:pt x="307" y="227"/>
                  <a:pt x="308" y="228"/>
                </a:cubicBezTo>
                <a:lnTo>
                  <a:pt x="309" y="230"/>
                </a:lnTo>
                <a:cubicBezTo>
                  <a:pt x="309" y="232"/>
                  <a:pt x="309" y="233"/>
                  <a:pt x="310" y="234"/>
                </a:cubicBezTo>
                <a:cubicBezTo>
                  <a:pt x="310" y="234"/>
                  <a:pt x="311" y="235"/>
                  <a:pt x="311" y="235"/>
                </a:cubicBezTo>
                <a:cubicBezTo>
                  <a:pt x="311" y="235"/>
                  <a:pt x="312" y="237"/>
                  <a:pt x="312" y="237"/>
                </a:cubicBezTo>
                <a:cubicBezTo>
                  <a:pt x="313" y="238"/>
                  <a:pt x="314" y="238"/>
                  <a:pt x="315" y="239"/>
                </a:cubicBezTo>
                <a:lnTo>
                  <a:pt x="317" y="241"/>
                </a:lnTo>
                <a:lnTo>
                  <a:pt x="318" y="241"/>
                </a:lnTo>
                <a:cubicBezTo>
                  <a:pt x="319" y="242"/>
                  <a:pt x="320" y="242"/>
                  <a:pt x="321" y="243"/>
                </a:cubicBezTo>
                <a:lnTo>
                  <a:pt x="323" y="243"/>
                </a:lnTo>
                <a:cubicBezTo>
                  <a:pt x="325" y="243"/>
                  <a:pt x="328" y="244"/>
                  <a:pt x="330" y="244"/>
                </a:cubicBezTo>
                <a:cubicBezTo>
                  <a:pt x="331" y="244"/>
                  <a:pt x="333" y="244"/>
                  <a:pt x="334" y="244"/>
                </a:cubicBezTo>
                <a:cubicBezTo>
                  <a:pt x="338" y="243"/>
                  <a:pt x="341" y="242"/>
                  <a:pt x="346" y="239"/>
                </a:cubicBezTo>
                <a:cubicBezTo>
                  <a:pt x="349" y="237"/>
                  <a:pt x="353" y="235"/>
                  <a:pt x="357" y="231"/>
                </a:cubicBezTo>
                <a:lnTo>
                  <a:pt x="361" y="228"/>
                </a:lnTo>
                <a:cubicBezTo>
                  <a:pt x="364" y="226"/>
                  <a:pt x="367" y="223"/>
                  <a:pt x="370" y="221"/>
                </a:cubicBezTo>
                <a:cubicBezTo>
                  <a:pt x="371" y="220"/>
                  <a:pt x="373" y="219"/>
                  <a:pt x="374" y="218"/>
                </a:cubicBezTo>
                <a:lnTo>
                  <a:pt x="377" y="216"/>
                </a:lnTo>
                <a:cubicBezTo>
                  <a:pt x="378" y="215"/>
                  <a:pt x="380" y="214"/>
                  <a:pt x="382" y="213"/>
                </a:cubicBezTo>
                <a:lnTo>
                  <a:pt x="384" y="212"/>
                </a:lnTo>
                <a:cubicBezTo>
                  <a:pt x="388" y="210"/>
                  <a:pt x="393" y="207"/>
                  <a:pt x="398" y="205"/>
                </a:cubicBezTo>
                <a:lnTo>
                  <a:pt x="402" y="203"/>
                </a:lnTo>
                <a:lnTo>
                  <a:pt x="408" y="201"/>
                </a:lnTo>
                <a:cubicBezTo>
                  <a:pt x="409" y="200"/>
                  <a:pt x="411" y="200"/>
                  <a:pt x="413" y="199"/>
                </a:cubicBezTo>
                <a:lnTo>
                  <a:pt x="423" y="197"/>
                </a:lnTo>
                <a:cubicBezTo>
                  <a:pt x="423" y="197"/>
                  <a:pt x="433" y="195"/>
                  <a:pt x="435" y="195"/>
                </a:cubicBezTo>
                <a:cubicBezTo>
                  <a:pt x="434" y="193"/>
                  <a:pt x="433" y="191"/>
                  <a:pt x="432" y="189"/>
                </a:cubicBezTo>
                <a:cubicBezTo>
                  <a:pt x="432" y="186"/>
                  <a:pt x="432" y="184"/>
                  <a:pt x="431" y="182"/>
                </a:cubicBezTo>
                <a:lnTo>
                  <a:pt x="431" y="180"/>
                </a:lnTo>
                <a:cubicBezTo>
                  <a:pt x="431" y="179"/>
                  <a:pt x="431" y="177"/>
                  <a:pt x="431" y="175"/>
                </a:cubicBezTo>
                <a:cubicBezTo>
                  <a:pt x="431" y="172"/>
                  <a:pt x="432" y="167"/>
                  <a:pt x="434" y="163"/>
                </a:cubicBezTo>
                <a:cubicBezTo>
                  <a:pt x="435" y="159"/>
                  <a:pt x="438" y="156"/>
                  <a:pt x="440" y="153"/>
                </a:cubicBezTo>
                <a:cubicBezTo>
                  <a:pt x="446" y="147"/>
                  <a:pt x="453" y="145"/>
                  <a:pt x="458" y="144"/>
                </a:cubicBezTo>
                <a:cubicBezTo>
                  <a:pt x="461" y="143"/>
                  <a:pt x="465" y="143"/>
                  <a:pt x="468" y="143"/>
                </a:cubicBezTo>
                <a:cubicBezTo>
                  <a:pt x="469" y="143"/>
                  <a:pt x="470" y="143"/>
                  <a:pt x="471" y="143"/>
                </a:cubicBezTo>
                <a:lnTo>
                  <a:pt x="476" y="143"/>
                </a:lnTo>
                <a:lnTo>
                  <a:pt x="483" y="145"/>
                </a:lnTo>
                <a:cubicBezTo>
                  <a:pt x="485" y="145"/>
                  <a:pt x="486" y="147"/>
                  <a:pt x="486" y="149"/>
                </a:cubicBezTo>
                <a:cubicBezTo>
                  <a:pt x="485" y="150"/>
                  <a:pt x="484" y="152"/>
                  <a:pt x="482" y="152"/>
                </a:cubicBezTo>
                <a:cubicBezTo>
                  <a:pt x="482" y="152"/>
                  <a:pt x="475" y="153"/>
                  <a:pt x="474" y="153"/>
                </a:cubicBezTo>
                <a:lnTo>
                  <a:pt x="472" y="153"/>
                </a:lnTo>
                <a:cubicBezTo>
                  <a:pt x="469" y="154"/>
                  <a:pt x="465" y="154"/>
                  <a:pt x="462" y="156"/>
                </a:cubicBezTo>
                <a:cubicBezTo>
                  <a:pt x="457" y="158"/>
                  <a:pt x="454" y="160"/>
                  <a:pt x="452" y="163"/>
                </a:cubicBezTo>
                <a:cubicBezTo>
                  <a:pt x="451" y="165"/>
                  <a:pt x="450" y="167"/>
                  <a:pt x="450" y="169"/>
                </a:cubicBezTo>
                <a:cubicBezTo>
                  <a:pt x="449" y="171"/>
                  <a:pt x="449" y="172"/>
                  <a:pt x="449" y="176"/>
                </a:cubicBezTo>
                <a:lnTo>
                  <a:pt x="450" y="179"/>
                </a:lnTo>
                <a:cubicBezTo>
                  <a:pt x="450" y="181"/>
                  <a:pt x="450" y="182"/>
                  <a:pt x="451" y="183"/>
                </a:cubicBezTo>
                <a:cubicBezTo>
                  <a:pt x="451" y="185"/>
                  <a:pt x="452" y="188"/>
                  <a:pt x="454" y="189"/>
                </a:cubicBezTo>
                <a:cubicBezTo>
                  <a:pt x="455" y="190"/>
                  <a:pt x="455" y="191"/>
                  <a:pt x="455" y="191"/>
                </a:cubicBezTo>
                <a:cubicBezTo>
                  <a:pt x="456" y="192"/>
                  <a:pt x="457" y="192"/>
                  <a:pt x="457" y="193"/>
                </a:cubicBezTo>
                <a:lnTo>
                  <a:pt x="458" y="193"/>
                </a:lnTo>
                <a:cubicBezTo>
                  <a:pt x="459" y="194"/>
                  <a:pt x="459" y="195"/>
                  <a:pt x="460" y="195"/>
                </a:cubicBezTo>
                <a:cubicBezTo>
                  <a:pt x="463" y="197"/>
                  <a:pt x="465" y="199"/>
                  <a:pt x="469" y="200"/>
                </a:cubicBezTo>
                <a:cubicBezTo>
                  <a:pt x="474" y="203"/>
                  <a:pt x="480" y="206"/>
                  <a:pt x="486" y="208"/>
                </a:cubicBezTo>
                <a:lnTo>
                  <a:pt x="489" y="209"/>
                </a:lnTo>
                <a:cubicBezTo>
                  <a:pt x="498" y="213"/>
                  <a:pt x="505" y="217"/>
                  <a:pt x="511" y="220"/>
                </a:cubicBezTo>
                <a:cubicBezTo>
                  <a:pt x="519" y="225"/>
                  <a:pt x="525" y="229"/>
                  <a:pt x="531" y="234"/>
                </a:cubicBezTo>
                <a:cubicBezTo>
                  <a:pt x="536" y="239"/>
                  <a:pt x="542" y="244"/>
                  <a:pt x="546" y="250"/>
                </a:cubicBezTo>
                <a:cubicBezTo>
                  <a:pt x="551" y="257"/>
                  <a:pt x="554" y="263"/>
                  <a:pt x="556" y="268"/>
                </a:cubicBezTo>
                <a:cubicBezTo>
                  <a:pt x="557" y="271"/>
                  <a:pt x="558" y="273"/>
                  <a:pt x="558" y="275"/>
                </a:cubicBezTo>
                <a:lnTo>
                  <a:pt x="559" y="277"/>
                </a:lnTo>
                <a:cubicBezTo>
                  <a:pt x="560" y="279"/>
                  <a:pt x="560" y="281"/>
                  <a:pt x="561" y="284"/>
                </a:cubicBezTo>
                <a:cubicBezTo>
                  <a:pt x="562" y="288"/>
                  <a:pt x="562" y="291"/>
                  <a:pt x="563" y="294"/>
                </a:cubicBezTo>
                <a:cubicBezTo>
                  <a:pt x="563" y="294"/>
                  <a:pt x="563" y="298"/>
                  <a:pt x="563" y="298"/>
                </a:cubicBezTo>
                <a:cubicBezTo>
                  <a:pt x="564" y="298"/>
                  <a:pt x="565" y="298"/>
                  <a:pt x="566" y="297"/>
                </a:cubicBezTo>
                <a:cubicBezTo>
                  <a:pt x="569" y="297"/>
                  <a:pt x="571" y="296"/>
                  <a:pt x="573" y="296"/>
                </a:cubicBezTo>
                <a:cubicBezTo>
                  <a:pt x="575" y="296"/>
                  <a:pt x="578" y="295"/>
                  <a:pt x="580" y="295"/>
                </a:cubicBezTo>
                <a:cubicBezTo>
                  <a:pt x="582" y="295"/>
                  <a:pt x="584" y="295"/>
                  <a:pt x="587" y="295"/>
                </a:cubicBezTo>
                <a:lnTo>
                  <a:pt x="588" y="295"/>
                </a:lnTo>
                <a:lnTo>
                  <a:pt x="590" y="299"/>
                </a:lnTo>
                <a:lnTo>
                  <a:pt x="590" y="295"/>
                </a:lnTo>
                <a:lnTo>
                  <a:pt x="599" y="296"/>
                </a:lnTo>
                <a:cubicBezTo>
                  <a:pt x="600" y="296"/>
                  <a:pt x="607" y="297"/>
                  <a:pt x="607" y="297"/>
                </a:cubicBezTo>
                <a:cubicBezTo>
                  <a:pt x="608" y="297"/>
                  <a:pt x="610" y="298"/>
                  <a:pt x="612" y="298"/>
                </a:cubicBezTo>
                <a:lnTo>
                  <a:pt x="615" y="299"/>
                </a:lnTo>
                <a:cubicBezTo>
                  <a:pt x="617" y="299"/>
                  <a:pt x="618" y="300"/>
                  <a:pt x="620" y="300"/>
                </a:cubicBezTo>
                <a:lnTo>
                  <a:pt x="628" y="303"/>
                </a:lnTo>
                <a:lnTo>
                  <a:pt x="635" y="306"/>
                </a:lnTo>
                <a:lnTo>
                  <a:pt x="643" y="310"/>
                </a:lnTo>
                <a:cubicBezTo>
                  <a:pt x="648" y="313"/>
                  <a:pt x="652" y="316"/>
                  <a:pt x="656" y="318"/>
                </a:cubicBezTo>
                <a:cubicBezTo>
                  <a:pt x="660" y="321"/>
                  <a:pt x="663" y="323"/>
                  <a:pt x="667" y="325"/>
                </a:cubicBezTo>
                <a:cubicBezTo>
                  <a:pt x="671" y="328"/>
                  <a:pt x="675" y="331"/>
                  <a:pt x="679" y="333"/>
                </a:cubicBezTo>
                <a:cubicBezTo>
                  <a:pt x="680" y="334"/>
                  <a:pt x="681" y="335"/>
                  <a:pt x="682" y="336"/>
                </a:cubicBezTo>
                <a:lnTo>
                  <a:pt x="684" y="336"/>
                </a:lnTo>
                <a:cubicBezTo>
                  <a:pt x="685" y="337"/>
                  <a:pt x="687" y="338"/>
                  <a:pt x="688" y="339"/>
                </a:cubicBezTo>
                <a:cubicBezTo>
                  <a:pt x="690" y="340"/>
                  <a:pt x="693" y="341"/>
                  <a:pt x="695" y="341"/>
                </a:cubicBezTo>
                <a:cubicBezTo>
                  <a:pt x="697" y="342"/>
                  <a:pt x="698" y="343"/>
                  <a:pt x="698" y="343"/>
                </a:cubicBezTo>
                <a:cubicBezTo>
                  <a:pt x="699" y="343"/>
                  <a:pt x="702" y="344"/>
                  <a:pt x="702" y="344"/>
                </a:cubicBezTo>
                <a:cubicBezTo>
                  <a:pt x="704" y="344"/>
                  <a:pt x="705" y="346"/>
                  <a:pt x="705" y="348"/>
                </a:cubicBezTo>
                <a:cubicBezTo>
                  <a:pt x="704" y="350"/>
                  <a:pt x="703" y="351"/>
                  <a:pt x="701" y="351"/>
                </a:cubicBezTo>
                <a:close/>
                <a:moveTo>
                  <a:pt x="496" y="669"/>
                </a:moveTo>
                <a:lnTo>
                  <a:pt x="496" y="669"/>
                </a:lnTo>
                <a:cubicBezTo>
                  <a:pt x="497" y="669"/>
                  <a:pt x="497" y="669"/>
                  <a:pt x="497" y="669"/>
                </a:cubicBezTo>
                <a:cubicBezTo>
                  <a:pt x="499" y="669"/>
                  <a:pt x="500" y="670"/>
                  <a:pt x="501" y="671"/>
                </a:cubicBezTo>
                <a:cubicBezTo>
                  <a:pt x="501" y="672"/>
                  <a:pt x="501" y="674"/>
                  <a:pt x="500" y="675"/>
                </a:cubicBezTo>
                <a:cubicBezTo>
                  <a:pt x="500" y="675"/>
                  <a:pt x="499" y="677"/>
                  <a:pt x="496" y="679"/>
                </a:cubicBezTo>
                <a:cubicBezTo>
                  <a:pt x="493" y="681"/>
                  <a:pt x="490" y="684"/>
                  <a:pt x="485" y="687"/>
                </a:cubicBezTo>
                <a:lnTo>
                  <a:pt x="484" y="688"/>
                </a:lnTo>
                <a:cubicBezTo>
                  <a:pt x="482" y="689"/>
                  <a:pt x="480" y="691"/>
                  <a:pt x="477" y="692"/>
                </a:cubicBezTo>
                <a:lnTo>
                  <a:pt x="475" y="693"/>
                </a:lnTo>
                <a:cubicBezTo>
                  <a:pt x="473" y="695"/>
                  <a:pt x="471" y="696"/>
                  <a:pt x="469" y="697"/>
                </a:cubicBezTo>
                <a:lnTo>
                  <a:pt x="465" y="698"/>
                </a:lnTo>
                <a:cubicBezTo>
                  <a:pt x="463" y="699"/>
                  <a:pt x="461" y="701"/>
                  <a:pt x="459" y="701"/>
                </a:cubicBezTo>
                <a:cubicBezTo>
                  <a:pt x="455" y="703"/>
                  <a:pt x="452" y="704"/>
                  <a:pt x="448" y="705"/>
                </a:cubicBezTo>
                <a:cubicBezTo>
                  <a:pt x="445" y="707"/>
                  <a:pt x="441" y="708"/>
                  <a:pt x="437" y="709"/>
                </a:cubicBezTo>
                <a:cubicBezTo>
                  <a:pt x="433" y="709"/>
                  <a:pt x="430" y="710"/>
                  <a:pt x="426" y="710"/>
                </a:cubicBezTo>
                <a:cubicBezTo>
                  <a:pt x="424" y="710"/>
                  <a:pt x="423" y="711"/>
                  <a:pt x="421" y="711"/>
                </a:cubicBezTo>
                <a:lnTo>
                  <a:pt x="416" y="710"/>
                </a:lnTo>
                <a:lnTo>
                  <a:pt x="413" y="707"/>
                </a:lnTo>
                <a:lnTo>
                  <a:pt x="413" y="710"/>
                </a:lnTo>
                <a:cubicBezTo>
                  <a:pt x="413" y="710"/>
                  <a:pt x="412" y="710"/>
                  <a:pt x="412" y="710"/>
                </a:cubicBezTo>
                <a:cubicBezTo>
                  <a:pt x="409" y="710"/>
                  <a:pt x="406" y="709"/>
                  <a:pt x="406" y="709"/>
                </a:cubicBezTo>
                <a:lnTo>
                  <a:pt x="404" y="709"/>
                </a:lnTo>
                <a:cubicBezTo>
                  <a:pt x="402" y="709"/>
                  <a:pt x="400" y="708"/>
                  <a:pt x="398" y="707"/>
                </a:cubicBezTo>
                <a:lnTo>
                  <a:pt x="396" y="707"/>
                </a:lnTo>
                <a:cubicBezTo>
                  <a:pt x="395" y="706"/>
                  <a:pt x="393" y="706"/>
                  <a:pt x="392" y="705"/>
                </a:cubicBezTo>
                <a:cubicBezTo>
                  <a:pt x="389" y="704"/>
                  <a:pt x="387" y="703"/>
                  <a:pt x="387" y="703"/>
                </a:cubicBezTo>
                <a:cubicBezTo>
                  <a:pt x="386" y="702"/>
                  <a:pt x="385" y="700"/>
                  <a:pt x="386" y="699"/>
                </a:cubicBezTo>
                <a:cubicBezTo>
                  <a:pt x="386" y="697"/>
                  <a:pt x="387" y="696"/>
                  <a:pt x="389" y="696"/>
                </a:cubicBezTo>
                <a:cubicBezTo>
                  <a:pt x="389" y="696"/>
                  <a:pt x="391" y="696"/>
                  <a:pt x="394" y="696"/>
                </a:cubicBezTo>
                <a:lnTo>
                  <a:pt x="400" y="696"/>
                </a:lnTo>
                <a:lnTo>
                  <a:pt x="407" y="696"/>
                </a:lnTo>
                <a:lnTo>
                  <a:pt x="408" y="696"/>
                </a:lnTo>
                <a:cubicBezTo>
                  <a:pt x="409" y="696"/>
                  <a:pt x="410" y="696"/>
                  <a:pt x="411" y="696"/>
                </a:cubicBezTo>
                <a:lnTo>
                  <a:pt x="411" y="696"/>
                </a:lnTo>
                <a:cubicBezTo>
                  <a:pt x="411" y="696"/>
                  <a:pt x="412" y="696"/>
                  <a:pt x="412" y="696"/>
                </a:cubicBezTo>
                <a:lnTo>
                  <a:pt x="412" y="696"/>
                </a:lnTo>
                <a:cubicBezTo>
                  <a:pt x="413" y="696"/>
                  <a:pt x="413" y="696"/>
                  <a:pt x="413" y="696"/>
                </a:cubicBezTo>
                <a:lnTo>
                  <a:pt x="413" y="695"/>
                </a:lnTo>
                <a:lnTo>
                  <a:pt x="415" y="695"/>
                </a:lnTo>
                <a:cubicBezTo>
                  <a:pt x="416" y="695"/>
                  <a:pt x="417" y="695"/>
                  <a:pt x="419" y="695"/>
                </a:cubicBezTo>
                <a:cubicBezTo>
                  <a:pt x="421" y="695"/>
                  <a:pt x="422" y="694"/>
                  <a:pt x="424" y="694"/>
                </a:cubicBezTo>
                <a:lnTo>
                  <a:pt x="433" y="692"/>
                </a:lnTo>
                <a:cubicBezTo>
                  <a:pt x="437" y="691"/>
                  <a:pt x="440" y="690"/>
                  <a:pt x="443" y="689"/>
                </a:cubicBezTo>
                <a:cubicBezTo>
                  <a:pt x="446" y="688"/>
                  <a:pt x="450" y="687"/>
                  <a:pt x="453" y="686"/>
                </a:cubicBezTo>
                <a:cubicBezTo>
                  <a:pt x="455" y="685"/>
                  <a:pt x="457" y="685"/>
                  <a:pt x="458" y="684"/>
                </a:cubicBezTo>
                <a:lnTo>
                  <a:pt x="462" y="682"/>
                </a:lnTo>
                <a:cubicBezTo>
                  <a:pt x="464" y="682"/>
                  <a:pt x="466" y="681"/>
                  <a:pt x="468" y="680"/>
                </a:cubicBezTo>
                <a:lnTo>
                  <a:pt x="472" y="678"/>
                </a:lnTo>
                <a:cubicBezTo>
                  <a:pt x="475" y="677"/>
                  <a:pt x="477" y="677"/>
                  <a:pt x="479" y="676"/>
                </a:cubicBezTo>
                <a:cubicBezTo>
                  <a:pt x="481" y="675"/>
                  <a:pt x="482" y="675"/>
                  <a:pt x="484" y="674"/>
                </a:cubicBezTo>
                <a:lnTo>
                  <a:pt x="491" y="671"/>
                </a:lnTo>
                <a:cubicBezTo>
                  <a:pt x="495" y="670"/>
                  <a:pt x="496" y="669"/>
                  <a:pt x="496" y="669"/>
                </a:cubicBezTo>
                <a:close/>
                <a:moveTo>
                  <a:pt x="376" y="635"/>
                </a:moveTo>
                <a:lnTo>
                  <a:pt x="376" y="635"/>
                </a:lnTo>
                <a:cubicBezTo>
                  <a:pt x="365" y="644"/>
                  <a:pt x="353" y="651"/>
                  <a:pt x="337" y="657"/>
                </a:cubicBezTo>
                <a:cubicBezTo>
                  <a:pt x="325" y="663"/>
                  <a:pt x="313" y="666"/>
                  <a:pt x="303" y="669"/>
                </a:cubicBezTo>
                <a:cubicBezTo>
                  <a:pt x="292" y="672"/>
                  <a:pt x="283" y="674"/>
                  <a:pt x="276" y="676"/>
                </a:cubicBezTo>
                <a:lnTo>
                  <a:pt x="253" y="681"/>
                </a:lnTo>
                <a:cubicBezTo>
                  <a:pt x="252" y="681"/>
                  <a:pt x="252" y="681"/>
                  <a:pt x="252" y="681"/>
                </a:cubicBezTo>
                <a:cubicBezTo>
                  <a:pt x="250" y="681"/>
                  <a:pt x="249" y="680"/>
                  <a:pt x="248" y="679"/>
                </a:cubicBezTo>
                <a:cubicBezTo>
                  <a:pt x="248" y="677"/>
                  <a:pt x="248" y="675"/>
                  <a:pt x="250" y="674"/>
                </a:cubicBezTo>
                <a:cubicBezTo>
                  <a:pt x="250" y="674"/>
                  <a:pt x="252" y="673"/>
                  <a:pt x="255" y="671"/>
                </a:cubicBezTo>
                <a:cubicBezTo>
                  <a:pt x="259" y="669"/>
                  <a:pt x="264" y="666"/>
                  <a:pt x="271" y="662"/>
                </a:cubicBezTo>
                <a:cubicBezTo>
                  <a:pt x="278" y="659"/>
                  <a:pt x="287" y="655"/>
                  <a:pt x="297" y="651"/>
                </a:cubicBezTo>
                <a:lnTo>
                  <a:pt x="302" y="649"/>
                </a:lnTo>
                <a:cubicBezTo>
                  <a:pt x="310" y="646"/>
                  <a:pt x="319" y="642"/>
                  <a:pt x="328" y="638"/>
                </a:cubicBezTo>
                <a:cubicBezTo>
                  <a:pt x="334" y="635"/>
                  <a:pt x="340" y="632"/>
                  <a:pt x="345" y="629"/>
                </a:cubicBezTo>
                <a:cubicBezTo>
                  <a:pt x="351" y="625"/>
                  <a:pt x="356" y="622"/>
                  <a:pt x="361" y="617"/>
                </a:cubicBezTo>
                <a:cubicBezTo>
                  <a:pt x="372" y="609"/>
                  <a:pt x="381" y="598"/>
                  <a:pt x="387" y="585"/>
                </a:cubicBezTo>
                <a:cubicBezTo>
                  <a:pt x="390" y="579"/>
                  <a:pt x="393" y="572"/>
                  <a:pt x="395" y="564"/>
                </a:cubicBezTo>
                <a:cubicBezTo>
                  <a:pt x="396" y="556"/>
                  <a:pt x="398" y="548"/>
                  <a:pt x="398" y="541"/>
                </a:cubicBezTo>
                <a:cubicBezTo>
                  <a:pt x="398" y="538"/>
                  <a:pt x="398" y="535"/>
                  <a:pt x="398" y="533"/>
                </a:cubicBezTo>
                <a:lnTo>
                  <a:pt x="399" y="529"/>
                </a:lnTo>
                <a:cubicBezTo>
                  <a:pt x="399" y="525"/>
                  <a:pt x="398" y="521"/>
                  <a:pt x="398" y="517"/>
                </a:cubicBezTo>
                <a:cubicBezTo>
                  <a:pt x="397" y="509"/>
                  <a:pt x="396" y="501"/>
                  <a:pt x="394" y="493"/>
                </a:cubicBezTo>
                <a:cubicBezTo>
                  <a:pt x="389" y="476"/>
                  <a:pt x="382" y="462"/>
                  <a:pt x="373" y="453"/>
                </a:cubicBezTo>
                <a:cubicBezTo>
                  <a:pt x="368" y="448"/>
                  <a:pt x="363" y="444"/>
                  <a:pt x="357" y="442"/>
                </a:cubicBezTo>
                <a:cubicBezTo>
                  <a:pt x="354" y="441"/>
                  <a:pt x="351" y="440"/>
                  <a:pt x="348" y="440"/>
                </a:cubicBezTo>
                <a:lnTo>
                  <a:pt x="347" y="440"/>
                </a:lnTo>
                <a:lnTo>
                  <a:pt x="344" y="440"/>
                </a:lnTo>
                <a:lnTo>
                  <a:pt x="340" y="441"/>
                </a:lnTo>
                <a:cubicBezTo>
                  <a:pt x="334" y="443"/>
                  <a:pt x="327" y="445"/>
                  <a:pt x="321" y="448"/>
                </a:cubicBezTo>
                <a:lnTo>
                  <a:pt x="319" y="449"/>
                </a:lnTo>
                <a:cubicBezTo>
                  <a:pt x="312" y="452"/>
                  <a:pt x="304" y="455"/>
                  <a:pt x="297" y="457"/>
                </a:cubicBezTo>
                <a:cubicBezTo>
                  <a:pt x="282" y="463"/>
                  <a:pt x="268" y="467"/>
                  <a:pt x="255" y="469"/>
                </a:cubicBezTo>
                <a:cubicBezTo>
                  <a:pt x="245" y="471"/>
                  <a:pt x="235" y="471"/>
                  <a:pt x="225" y="471"/>
                </a:cubicBezTo>
                <a:cubicBezTo>
                  <a:pt x="223" y="471"/>
                  <a:pt x="221" y="471"/>
                  <a:pt x="219" y="471"/>
                </a:cubicBezTo>
                <a:cubicBezTo>
                  <a:pt x="216" y="471"/>
                  <a:pt x="215" y="471"/>
                  <a:pt x="213" y="471"/>
                </a:cubicBezTo>
                <a:lnTo>
                  <a:pt x="208" y="470"/>
                </a:lnTo>
                <a:cubicBezTo>
                  <a:pt x="206" y="470"/>
                  <a:pt x="205" y="470"/>
                  <a:pt x="203" y="470"/>
                </a:cubicBezTo>
                <a:lnTo>
                  <a:pt x="198" y="469"/>
                </a:lnTo>
                <a:cubicBezTo>
                  <a:pt x="196" y="468"/>
                  <a:pt x="193" y="468"/>
                  <a:pt x="190" y="467"/>
                </a:cubicBezTo>
                <a:lnTo>
                  <a:pt x="180" y="465"/>
                </a:lnTo>
                <a:cubicBezTo>
                  <a:pt x="178" y="464"/>
                  <a:pt x="176" y="463"/>
                  <a:pt x="175" y="462"/>
                </a:cubicBezTo>
                <a:lnTo>
                  <a:pt x="167" y="459"/>
                </a:lnTo>
                <a:cubicBezTo>
                  <a:pt x="165" y="459"/>
                  <a:pt x="165" y="457"/>
                  <a:pt x="165" y="455"/>
                </a:cubicBezTo>
                <a:cubicBezTo>
                  <a:pt x="166" y="453"/>
                  <a:pt x="167" y="452"/>
                  <a:pt x="169" y="452"/>
                </a:cubicBezTo>
                <a:cubicBezTo>
                  <a:pt x="169" y="452"/>
                  <a:pt x="169" y="452"/>
                  <a:pt x="169" y="452"/>
                </a:cubicBezTo>
                <a:lnTo>
                  <a:pt x="178" y="454"/>
                </a:lnTo>
                <a:cubicBezTo>
                  <a:pt x="179" y="455"/>
                  <a:pt x="181" y="455"/>
                  <a:pt x="183" y="455"/>
                </a:cubicBezTo>
                <a:lnTo>
                  <a:pt x="192" y="457"/>
                </a:lnTo>
                <a:cubicBezTo>
                  <a:pt x="195" y="457"/>
                  <a:pt x="197" y="457"/>
                  <a:pt x="200" y="458"/>
                </a:cubicBezTo>
                <a:lnTo>
                  <a:pt x="204" y="458"/>
                </a:lnTo>
                <a:lnTo>
                  <a:pt x="207" y="458"/>
                </a:lnTo>
                <a:cubicBezTo>
                  <a:pt x="211" y="458"/>
                  <a:pt x="215" y="458"/>
                  <a:pt x="219" y="458"/>
                </a:cubicBezTo>
                <a:cubicBezTo>
                  <a:pt x="229" y="457"/>
                  <a:pt x="240" y="455"/>
                  <a:pt x="252" y="452"/>
                </a:cubicBezTo>
                <a:cubicBezTo>
                  <a:pt x="264" y="449"/>
                  <a:pt x="276" y="445"/>
                  <a:pt x="290" y="439"/>
                </a:cubicBezTo>
                <a:cubicBezTo>
                  <a:pt x="294" y="437"/>
                  <a:pt x="299" y="434"/>
                  <a:pt x="304" y="432"/>
                </a:cubicBezTo>
                <a:lnTo>
                  <a:pt x="313" y="428"/>
                </a:lnTo>
                <a:cubicBezTo>
                  <a:pt x="319" y="425"/>
                  <a:pt x="326" y="422"/>
                  <a:pt x="333" y="419"/>
                </a:cubicBezTo>
                <a:cubicBezTo>
                  <a:pt x="335" y="418"/>
                  <a:pt x="338" y="418"/>
                  <a:pt x="341" y="417"/>
                </a:cubicBezTo>
                <a:lnTo>
                  <a:pt x="344" y="417"/>
                </a:lnTo>
                <a:lnTo>
                  <a:pt x="345" y="417"/>
                </a:lnTo>
                <a:cubicBezTo>
                  <a:pt x="345" y="417"/>
                  <a:pt x="346" y="417"/>
                  <a:pt x="346" y="417"/>
                </a:cubicBezTo>
                <a:lnTo>
                  <a:pt x="349" y="417"/>
                </a:lnTo>
                <a:cubicBezTo>
                  <a:pt x="355" y="417"/>
                  <a:pt x="360" y="418"/>
                  <a:pt x="365" y="419"/>
                </a:cubicBezTo>
                <a:cubicBezTo>
                  <a:pt x="374" y="423"/>
                  <a:pt x="383" y="429"/>
                  <a:pt x="390" y="437"/>
                </a:cubicBezTo>
                <a:cubicBezTo>
                  <a:pt x="405" y="453"/>
                  <a:pt x="411" y="474"/>
                  <a:pt x="415" y="488"/>
                </a:cubicBezTo>
                <a:cubicBezTo>
                  <a:pt x="417" y="496"/>
                  <a:pt x="418" y="505"/>
                  <a:pt x="419" y="515"/>
                </a:cubicBezTo>
                <a:cubicBezTo>
                  <a:pt x="419" y="519"/>
                  <a:pt x="420" y="524"/>
                  <a:pt x="420" y="529"/>
                </a:cubicBezTo>
                <a:cubicBezTo>
                  <a:pt x="420" y="531"/>
                  <a:pt x="420" y="532"/>
                  <a:pt x="420" y="534"/>
                </a:cubicBezTo>
                <a:cubicBezTo>
                  <a:pt x="420" y="537"/>
                  <a:pt x="420" y="540"/>
                  <a:pt x="419" y="542"/>
                </a:cubicBezTo>
                <a:cubicBezTo>
                  <a:pt x="419" y="551"/>
                  <a:pt x="418" y="560"/>
                  <a:pt x="416" y="569"/>
                </a:cubicBezTo>
                <a:cubicBezTo>
                  <a:pt x="414" y="579"/>
                  <a:pt x="411" y="587"/>
                  <a:pt x="407" y="595"/>
                </a:cubicBezTo>
                <a:cubicBezTo>
                  <a:pt x="404" y="603"/>
                  <a:pt x="399" y="610"/>
                  <a:pt x="394" y="617"/>
                </a:cubicBezTo>
                <a:cubicBezTo>
                  <a:pt x="389" y="623"/>
                  <a:pt x="383" y="629"/>
                  <a:pt x="376" y="635"/>
                </a:cubicBezTo>
                <a:close/>
                <a:moveTo>
                  <a:pt x="161" y="361"/>
                </a:moveTo>
                <a:lnTo>
                  <a:pt x="161" y="361"/>
                </a:lnTo>
                <a:lnTo>
                  <a:pt x="161" y="365"/>
                </a:lnTo>
                <a:lnTo>
                  <a:pt x="160" y="361"/>
                </a:lnTo>
                <a:lnTo>
                  <a:pt x="160" y="365"/>
                </a:lnTo>
                <a:cubicBezTo>
                  <a:pt x="149" y="365"/>
                  <a:pt x="141" y="366"/>
                  <a:pt x="134" y="367"/>
                </a:cubicBezTo>
                <a:cubicBezTo>
                  <a:pt x="130" y="368"/>
                  <a:pt x="127" y="369"/>
                  <a:pt x="123" y="370"/>
                </a:cubicBezTo>
                <a:cubicBezTo>
                  <a:pt x="120" y="372"/>
                  <a:pt x="117" y="373"/>
                  <a:pt x="114" y="375"/>
                </a:cubicBezTo>
                <a:cubicBezTo>
                  <a:pt x="113" y="375"/>
                  <a:pt x="112" y="376"/>
                  <a:pt x="111" y="377"/>
                </a:cubicBezTo>
                <a:cubicBezTo>
                  <a:pt x="109" y="378"/>
                  <a:pt x="108" y="379"/>
                  <a:pt x="107" y="379"/>
                </a:cubicBezTo>
                <a:cubicBezTo>
                  <a:pt x="105" y="381"/>
                  <a:pt x="103" y="383"/>
                  <a:pt x="101" y="384"/>
                </a:cubicBezTo>
                <a:lnTo>
                  <a:pt x="96" y="389"/>
                </a:lnTo>
                <a:cubicBezTo>
                  <a:pt x="95" y="389"/>
                  <a:pt x="95" y="390"/>
                  <a:pt x="94" y="390"/>
                </a:cubicBezTo>
                <a:cubicBezTo>
                  <a:pt x="93" y="390"/>
                  <a:pt x="92" y="389"/>
                  <a:pt x="92" y="389"/>
                </a:cubicBezTo>
                <a:cubicBezTo>
                  <a:pt x="90" y="388"/>
                  <a:pt x="90" y="387"/>
                  <a:pt x="90" y="385"/>
                </a:cubicBezTo>
                <a:lnTo>
                  <a:pt x="91" y="383"/>
                </a:lnTo>
                <a:lnTo>
                  <a:pt x="91" y="382"/>
                </a:lnTo>
                <a:cubicBezTo>
                  <a:pt x="92" y="381"/>
                  <a:pt x="92" y="379"/>
                  <a:pt x="93" y="378"/>
                </a:cubicBezTo>
                <a:lnTo>
                  <a:pt x="93" y="377"/>
                </a:lnTo>
                <a:cubicBezTo>
                  <a:pt x="94" y="375"/>
                  <a:pt x="95" y="373"/>
                  <a:pt x="97" y="370"/>
                </a:cubicBezTo>
                <a:cubicBezTo>
                  <a:pt x="98" y="369"/>
                  <a:pt x="99" y="367"/>
                  <a:pt x="100" y="366"/>
                </a:cubicBezTo>
                <a:cubicBezTo>
                  <a:pt x="101" y="365"/>
                  <a:pt x="102" y="363"/>
                  <a:pt x="104" y="361"/>
                </a:cubicBezTo>
                <a:cubicBezTo>
                  <a:pt x="107" y="359"/>
                  <a:pt x="110" y="356"/>
                  <a:pt x="115" y="353"/>
                </a:cubicBezTo>
                <a:cubicBezTo>
                  <a:pt x="120" y="350"/>
                  <a:pt x="124" y="348"/>
                  <a:pt x="128" y="346"/>
                </a:cubicBezTo>
                <a:cubicBezTo>
                  <a:pt x="133" y="345"/>
                  <a:pt x="138" y="343"/>
                  <a:pt x="144" y="342"/>
                </a:cubicBezTo>
                <a:cubicBezTo>
                  <a:pt x="149" y="341"/>
                  <a:pt x="154" y="341"/>
                  <a:pt x="159" y="341"/>
                </a:cubicBezTo>
                <a:lnTo>
                  <a:pt x="162" y="341"/>
                </a:lnTo>
                <a:cubicBezTo>
                  <a:pt x="162" y="341"/>
                  <a:pt x="172" y="341"/>
                  <a:pt x="175" y="341"/>
                </a:cubicBezTo>
                <a:cubicBezTo>
                  <a:pt x="178" y="342"/>
                  <a:pt x="182" y="342"/>
                  <a:pt x="185" y="343"/>
                </a:cubicBezTo>
                <a:lnTo>
                  <a:pt x="189" y="343"/>
                </a:lnTo>
                <a:cubicBezTo>
                  <a:pt x="194" y="344"/>
                  <a:pt x="198" y="344"/>
                  <a:pt x="202" y="345"/>
                </a:cubicBezTo>
                <a:cubicBezTo>
                  <a:pt x="206" y="346"/>
                  <a:pt x="210" y="347"/>
                  <a:pt x="214" y="347"/>
                </a:cubicBezTo>
                <a:cubicBezTo>
                  <a:pt x="217" y="348"/>
                  <a:pt x="221" y="349"/>
                  <a:pt x="224" y="349"/>
                </a:cubicBezTo>
                <a:lnTo>
                  <a:pt x="227" y="350"/>
                </a:lnTo>
                <a:cubicBezTo>
                  <a:pt x="229" y="350"/>
                  <a:pt x="230" y="350"/>
                  <a:pt x="231" y="350"/>
                </a:cubicBezTo>
                <a:cubicBezTo>
                  <a:pt x="233" y="350"/>
                  <a:pt x="234" y="350"/>
                  <a:pt x="234" y="350"/>
                </a:cubicBezTo>
                <a:lnTo>
                  <a:pt x="236" y="350"/>
                </a:lnTo>
                <a:lnTo>
                  <a:pt x="237" y="350"/>
                </a:lnTo>
                <a:cubicBezTo>
                  <a:pt x="238" y="350"/>
                  <a:pt x="239" y="351"/>
                  <a:pt x="240" y="352"/>
                </a:cubicBezTo>
                <a:cubicBezTo>
                  <a:pt x="241" y="353"/>
                  <a:pt x="240" y="355"/>
                  <a:pt x="239" y="356"/>
                </a:cubicBezTo>
                <a:lnTo>
                  <a:pt x="238" y="357"/>
                </a:lnTo>
                <a:cubicBezTo>
                  <a:pt x="237" y="358"/>
                  <a:pt x="235" y="360"/>
                  <a:pt x="232" y="361"/>
                </a:cubicBezTo>
                <a:cubicBezTo>
                  <a:pt x="230" y="361"/>
                  <a:pt x="229" y="362"/>
                  <a:pt x="228" y="362"/>
                </a:cubicBezTo>
                <a:lnTo>
                  <a:pt x="224" y="363"/>
                </a:lnTo>
                <a:cubicBezTo>
                  <a:pt x="220" y="363"/>
                  <a:pt x="217" y="364"/>
                  <a:pt x="213" y="364"/>
                </a:cubicBezTo>
                <a:lnTo>
                  <a:pt x="207" y="365"/>
                </a:lnTo>
                <a:lnTo>
                  <a:pt x="202" y="365"/>
                </a:lnTo>
                <a:cubicBezTo>
                  <a:pt x="197" y="365"/>
                  <a:pt x="193" y="365"/>
                  <a:pt x="190" y="365"/>
                </a:cubicBezTo>
                <a:lnTo>
                  <a:pt x="163" y="365"/>
                </a:lnTo>
                <a:lnTo>
                  <a:pt x="161" y="361"/>
                </a:lnTo>
                <a:close/>
                <a:moveTo>
                  <a:pt x="542" y="669"/>
                </a:moveTo>
                <a:lnTo>
                  <a:pt x="542" y="669"/>
                </a:lnTo>
                <a:cubicBezTo>
                  <a:pt x="543" y="669"/>
                  <a:pt x="543" y="669"/>
                  <a:pt x="543" y="669"/>
                </a:cubicBezTo>
                <a:lnTo>
                  <a:pt x="550" y="670"/>
                </a:lnTo>
                <a:lnTo>
                  <a:pt x="556" y="673"/>
                </a:lnTo>
                <a:cubicBezTo>
                  <a:pt x="556" y="673"/>
                  <a:pt x="557" y="673"/>
                  <a:pt x="558" y="674"/>
                </a:cubicBezTo>
                <a:lnTo>
                  <a:pt x="558" y="678"/>
                </a:lnTo>
                <a:lnTo>
                  <a:pt x="560" y="675"/>
                </a:lnTo>
                <a:cubicBezTo>
                  <a:pt x="561" y="675"/>
                  <a:pt x="562" y="676"/>
                  <a:pt x="563" y="676"/>
                </a:cubicBezTo>
                <a:lnTo>
                  <a:pt x="566" y="678"/>
                </a:lnTo>
                <a:cubicBezTo>
                  <a:pt x="567" y="679"/>
                  <a:pt x="568" y="680"/>
                  <a:pt x="569" y="681"/>
                </a:cubicBezTo>
                <a:lnTo>
                  <a:pt x="571" y="682"/>
                </a:lnTo>
                <a:cubicBezTo>
                  <a:pt x="572" y="683"/>
                  <a:pt x="572" y="683"/>
                  <a:pt x="573" y="684"/>
                </a:cubicBezTo>
                <a:lnTo>
                  <a:pt x="574" y="685"/>
                </a:lnTo>
                <a:cubicBezTo>
                  <a:pt x="576" y="687"/>
                  <a:pt x="578" y="689"/>
                  <a:pt x="580" y="691"/>
                </a:cubicBezTo>
                <a:cubicBezTo>
                  <a:pt x="581" y="693"/>
                  <a:pt x="583" y="695"/>
                  <a:pt x="584" y="697"/>
                </a:cubicBezTo>
                <a:lnTo>
                  <a:pt x="586" y="699"/>
                </a:lnTo>
                <a:lnTo>
                  <a:pt x="587" y="701"/>
                </a:lnTo>
                <a:cubicBezTo>
                  <a:pt x="588" y="703"/>
                  <a:pt x="589" y="706"/>
                  <a:pt x="591" y="708"/>
                </a:cubicBezTo>
                <a:cubicBezTo>
                  <a:pt x="592" y="710"/>
                  <a:pt x="593" y="712"/>
                  <a:pt x="593" y="715"/>
                </a:cubicBezTo>
                <a:lnTo>
                  <a:pt x="594" y="717"/>
                </a:lnTo>
                <a:lnTo>
                  <a:pt x="595" y="719"/>
                </a:lnTo>
                <a:cubicBezTo>
                  <a:pt x="596" y="721"/>
                  <a:pt x="597" y="724"/>
                  <a:pt x="597" y="726"/>
                </a:cubicBezTo>
                <a:cubicBezTo>
                  <a:pt x="598" y="728"/>
                  <a:pt x="599" y="731"/>
                  <a:pt x="599" y="734"/>
                </a:cubicBezTo>
                <a:cubicBezTo>
                  <a:pt x="599" y="735"/>
                  <a:pt x="600" y="736"/>
                  <a:pt x="600" y="737"/>
                </a:cubicBezTo>
                <a:cubicBezTo>
                  <a:pt x="601" y="736"/>
                  <a:pt x="602" y="736"/>
                  <a:pt x="603" y="735"/>
                </a:cubicBezTo>
                <a:cubicBezTo>
                  <a:pt x="606" y="734"/>
                  <a:pt x="610" y="732"/>
                  <a:pt x="614" y="731"/>
                </a:cubicBezTo>
                <a:cubicBezTo>
                  <a:pt x="616" y="731"/>
                  <a:pt x="617" y="730"/>
                  <a:pt x="619" y="730"/>
                </a:cubicBezTo>
                <a:lnTo>
                  <a:pt x="622" y="730"/>
                </a:lnTo>
                <a:cubicBezTo>
                  <a:pt x="623" y="729"/>
                  <a:pt x="624" y="729"/>
                  <a:pt x="626" y="729"/>
                </a:cubicBezTo>
                <a:lnTo>
                  <a:pt x="631" y="729"/>
                </a:lnTo>
                <a:cubicBezTo>
                  <a:pt x="633" y="729"/>
                  <a:pt x="634" y="729"/>
                  <a:pt x="635" y="729"/>
                </a:cubicBezTo>
                <a:cubicBezTo>
                  <a:pt x="637" y="729"/>
                  <a:pt x="639" y="730"/>
                  <a:pt x="640" y="730"/>
                </a:cubicBezTo>
                <a:lnTo>
                  <a:pt x="642" y="730"/>
                </a:lnTo>
                <a:cubicBezTo>
                  <a:pt x="646" y="731"/>
                  <a:pt x="648" y="732"/>
                  <a:pt x="648" y="732"/>
                </a:cubicBezTo>
                <a:cubicBezTo>
                  <a:pt x="650" y="733"/>
                  <a:pt x="651" y="734"/>
                  <a:pt x="651" y="736"/>
                </a:cubicBezTo>
                <a:cubicBezTo>
                  <a:pt x="651" y="737"/>
                  <a:pt x="649" y="739"/>
                  <a:pt x="648" y="739"/>
                </a:cubicBezTo>
                <a:cubicBezTo>
                  <a:pt x="648" y="739"/>
                  <a:pt x="646" y="740"/>
                  <a:pt x="642" y="740"/>
                </a:cubicBezTo>
                <a:lnTo>
                  <a:pt x="641" y="741"/>
                </a:lnTo>
                <a:cubicBezTo>
                  <a:pt x="639" y="741"/>
                  <a:pt x="638" y="741"/>
                  <a:pt x="636" y="742"/>
                </a:cubicBezTo>
                <a:cubicBezTo>
                  <a:pt x="635" y="742"/>
                  <a:pt x="633" y="743"/>
                  <a:pt x="632" y="743"/>
                </a:cubicBezTo>
                <a:cubicBezTo>
                  <a:pt x="631" y="743"/>
                  <a:pt x="630" y="744"/>
                  <a:pt x="628" y="744"/>
                </a:cubicBezTo>
                <a:cubicBezTo>
                  <a:pt x="626" y="745"/>
                  <a:pt x="623" y="746"/>
                  <a:pt x="621" y="748"/>
                </a:cubicBezTo>
                <a:cubicBezTo>
                  <a:pt x="619" y="749"/>
                  <a:pt x="618" y="749"/>
                  <a:pt x="616" y="750"/>
                </a:cubicBezTo>
                <a:cubicBezTo>
                  <a:pt x="615" y="751"/>
                  <a:pt x="614" y="751"/>
                  <a:pt x="614" y="752"/>
                </a:cubicBezTo>
                <a:lnTo>
                  <a:pt x="609" y="754"/>
                </a:lnTo>
                <a:lnTo>
                  <a:pt x="606" y="757"/>
                </a:lnTo>
                <a:cubicBezTo>
                  <a:pt x="605" y="757"/>
                  <a:pt x="604" y="758"/>
                  <a:pt x="603" y="759"/>
                </a:cubicBezTo>
                <a:lnTo>
                  <a:pt x="599" y="762"/>
                </a:lnTo>
                <a:lnTo>
                  <a:pt x="594" y="766"/>
                </a:lnTo>
                <a:cubicBezTo>
                  <a:pt x="591" y="769"/>
                  <a:pt x="589" y="771"/>
                  <a:pt x="586" y="774"/>
                </a:cubicBezTo>
                <a:cubicBezTo>
                  <a:pt x="584" y="776"/>
                  <a:pt x="581" y="779"/>
                  <a:pt x="579" y="782"/>
                </a:cubicBezTo>
                <a:cubicBezTo>
                  <a:pt x="577" y="783"/>
                  <a:pt x="576" y="785"/>
                  <a:pt x="575" y="786"/>
                </a:cubicBezTo>
                <a:lnTo>
                  <a:pt x="569" y="793"/>
                </a:lnTo>
                <a:cubicBezTo>
                  <a:pt x="568" y="794"/>
                  <a:pt x="566" y="796"/>
                  <a:pt x="565" y="797"/>
                </a:cubicBezTo>
                <a:lnTo>
                  <a:pt x="556" y="809"/>
                </a:lnTo>
                <a:cubicBezTo>
                  <a:pt x="553" y="812"/>
                  <a:pt x="552" y="813"/>
                  <a:pt x="552" y="813"/>
                </a:cubicBezTo>
                <a:cubicBezTo>
                  <a:pt x="551" y="814"/>
                  <a:pt x="550" y="814"/>
                  <a:pt x="549" y="814"/>
                </a:cubicBezTo>
                <a:cubicBezTo>
                  <a:pt x="549" y="814"/>
                  <a:pt x="548" y="814"/>
                  <a:pt x="548" y="814"/>
                </a:cubicBezTo>
                <a:cubicBezTo>
                  <a:pt x="546" y="813"/>
                  <a:pt x="545" y="812"/>
                  <a:pt x="545" y="810"/>
                </a:cubicBezTo>
                <a:cubicBezTo>
                  <a:pt x="545" y="810"/>
                  <a:pt x="546" y="808"/>
                  <a:pt x="547" y="804"/>
                </a:cubicBezTo>
                <a:cubicBezTo>
                  <a:pt x="547" y="802"/>
                  <a:pt x="548" y="800"/>
                  <a:pt x="549" y="797"/>
                </a:cubicBezTo>
                <a:cubicBezTo>
                  <a:pt x="549" y="795"/>
                  <a:pt x="550" y="792"/>
                  <a:pt x="552" y="789"/>
                </a:cubicBezTo>
                <a:cubicBezTo>
                  <a:pt x="553" y="786"/>
                  <a:pt x="554" y="784"/>
                  <a:pt x="555" y="781"/>
                </a:cubicBezTo>
                <a:cubicBezTo>
                  <a:pt x="555" y="781"/>
                  <a:pt x="557" y="778"/>
                  <a:pt x="557" y="778"/>
                </a:cubicBezTo>
                <a:cubicBezTo>
                  <a:pt x="559" y="775"/>
                  <a:pt x="560" y="772"/>
                  <a:pt x="563" y="769"/>
                </a:cubicBezTo>
                <a:lnTo>
                  <a:pt x="566" y="764"/>
                </a:lnTo>
                <a:lnTo>
                  <a:pt x="571" y="759"/>
                </a:lnTo>
                <a:cubicBezTo>
                  <a:pt x="571" y="758"/>
                  <a:pt x="573" y="757"/>
                  <a:pt x="574" y="756"/>
                </a:cubicBezTo>
                <a:lnTo>
                  <a:pt x="575" y="754"/>
                </a:lnTo>
                <a:cubicBezTo>
                  <a:pt x="577" y="753"/>
                  <a:pt x="578" y="751"/>
                  <a:pt x="580" y="750"/>
                </a:cubicBezTo>
                <a:cubicBezTo>
                  <a:pt x="580" y="750"/>
                  <a:pt x="583" y="747"/>
                  <a:pt x="583" y="747"/>
                </a:cubicBezTo>
                <a:lnTo>
                  <a:pt x="583" y="746"/>
                </a:lnTo>
                <a:cubicBezTo>
                  <a:pt x="584" y="745"/>
                  <a:pt x="583" y="743"/>
                  <a:pt x="583" y="742"/>
                </a:cubicBezTo>
                <a:cubicBezTo>
                  <a:pt x="583" y="740"/>
                  <a:pt x="583" y="738"/>
                  <a:pt x="583" y="736"/>
                </a:cubicBezTo>
                <a:cubicBezTo>
                  <a:pt x="583" y="734"/>
                  <a:pt x="583" y="732"/>
                  <a:pt x="582" y="729"/>
                </a:cubicBezTo>
                <a:cubicBezTo>
                  <a:pt x="582" y="727"/>
                  <a:pt x="581" y="725"/>
                  <a:pt x="581" y="724"/>
                </a:cubicBezTo>
                <a:lnTo>
                  <a:pt x="580" y="721"/>
                </a:lnTo>
                <a:lnTo>
                  <a:pt x="580" y="719"/>
                </a:lnTo>
                <a:cubicBezTo>
                  <a:pt x="579" y="717"/>
                  <a:pt x="579" y="715"/>
                  <a:pt x="578" y="714"/>
                </a:cubicBezTo>
                <a:cubicBezTo>
                  <a:pt x="577" y="711"/>
                  <a:pt x="576" y="709"/>
                  <a:pt x="575" y="707"/>
                </a:cubicBezTo>
                <a:lnTo>
                  <a:pt x="575" y="705"/>
                </a:lnTo>
                <a:lnTo>
                  <a:pt x="573" y="703"/>
                </a:lnTo>
                <a:cubicBezTo>
                  <a:pt x="573" y="702"/>
                  <a:pt x="572" y="700"/>
                  <a:pt x="570" y="698"/>
                </a:cubicBezTo>
                <a:cubicBezTo>
                  <a:pt x="569" y="696"/>
                  <a:pt x="568" y="694"/>
                  <a:pt x="566" y="693"/>
                </a:cubicBezTo>
                <a:lnTo>
                  <a:pt x="565" y="691"/>
                </a:lnTo>
                <a:cubicBezTo>
                  <a:pt x="565" y="691"/>
                  <a:pt x="564" y="690"/>
                  <a:pt x="564" y="690"/>
                </a:cubicBezTo>
                <a:lnTo>
                  <a:pt x="563" y="689"/>
                </a:lnTo>
                <a:cubicBezTo>
                  <a:pt x="562" y="688"/>
                  <a:pt x="561" y="687"/>
                  <a:pt x="560" y="686"/>
                </a:cubicBezTo>
                <a:lnTo>
                  <a:pt x="557" y="684"/>
                </a:lnTo>
                <a:cubicBezTo>
                  <a:pt x="557" y="683"/>
                  <a:pt x="553" y="681"/>
                  <a:pt x="553" y="681"/>
                </a:cubicBezTo>
                <a:cubicBezTo>
                  <a:pt x="553" y="681"/>
                  <a:pt x="552" y="681"/>
                  <a:pt x="552" y="680"/>
                </a:cubicBezTo>
                <a:lnTo>
                  <a:pt x="550" y="680"/>
                </a:lnTo>
                <a:lnTo>
                  <a:pt x="550" y="675"/>
                </a:lnTo>
                <a:lnTo>
                  <a:pt x="548" y="679"/>
                </a:lnTo>
                <a:lnTo>
                  <a:pt x="547" y="678"/>
                </a:lnTo>
                <a:lnTo>
                  <a:pt x="541" y="676"/>
                </a:lnTo>
                <a:cubicBezTo>
                  <a:pt x="539" y="675"/>
                  <a:pt x="538" y="673"/>
                  <a:pt x="539" y="671"/>
                </a:cubicBezTo>
                <a:cubicBezTo>
                  <a:pt x="539" y="670"/>
                  <a:pt x="541" y="669"/>
                  <a:pt x="542" y="669"/>
                </a:cubicBezTo>
                <a:close/>
                <a:moveTo>
                  <a:pt x="853" y="743"/>
                </a:moveTo>
                <a:lnTo>
                  <a:pt x="853" y="743"/>
                </a:lnTo>
                <a:cubicBezTo>
                  <a:pt x="850" y="726"/>
                  <a:pt x="846" y="707"/>
                  <a:pt x="845" y="687"/>
                </a:cubicBezTo>
                <a:cubicBezTo>
                  <a:pt x="843" y="660"/>
                  <a:pt x="845" y="633"/>
                  <a:pt x="847" y="607"/>
                </a:cubicBezTo>
                <a:cubicBezTo>
                  <a:pt x="850" y="571"/>
                  <a:pt x="853" y="537"/>
                  <a:pt x="846" y="509"/>
                </a:cubicBezTo>
                <a:cubicBezTo>
                  <a:pt x="823" y="412"/>
                  <a:pt x="778" y="333"/>
                  <a:pt x="705" y="259"/>
                </a:cubicBezTo>
                <a:cubicBezTo>
                  <a:pt x="669" y="222"/>
                  <a:pt x="563" y="127"/>
                  <a:pt x="531" y="118"/>
                </a:cubicBezTo>
                <a:cubicBezTo>
                  <a:pt x="460" y="98"/>
                  <a:pt x="403" y="76"/>
                  <a:pt x="353" y="56"/>
                </a:cubicBezTo>
                <a:cubicBezTo>
                  <a:pt x="273" y="25"/>
                  <a:pt x="210" y="0"/>
                  <a:pt x="133" y="0"/>
                </a:cubicBezTo>
                <a:cubicBezTo>
                  <a:pt x="99" y="0"/>
                  <a:pt x="18" y="6"/>
                  <a:pt x="18" y="70"/>
                </a:cubicBezTo>
                <a:cubicBezTo>
                  <a:pt x="18" y="92"/>
                  <a:pt x="7" y="164"/>
                  <a:pt x="5" y="171"/>
                </a:cubicBezTo>
                <a:cubicBezTo>
                  <a:pt x="0" y="202"/>
                  <a:pt x="3" y="229"/>
                  <a:pt x="6" y="256"/>
                </a:cubicBezTo>
                <a:cubicBezTo>
                  <a:pt x="8" y="274"/>
                  <a:pt x="10" y="292"/>
                  <a:pt x="11" y="313"/>
                </a:cubicBezTo>
                <a:cubicBezTo>
                  <a:pt x="13" y="311"/>
                  <a:pt x="17" y="309"/>
                  <a:pt x="21" y="306"/>
                </a:cubicBezTo>
                <a:lnTo>
                  <a:pt x="23" y="305"/>
                </a:lnTo>
                <a:cubicBezTo>
                  <a:pt x="25" y="304"/>
                  <a:pt x="28" y="303"/>
                  <a:pt x="31" y="301"/>
                </a:cubicBezTo>
                <a:lnTo>
                  <a:pt x="34" y="300"/>
                </a:lnTo>
                <a:cubicBezTo>
                  <a:pt x="36" y="299"/>
                  <a:pt x="39" y="297"/>
                  <a:pt x="42" y="296"/>
                </a:cubicBezTo>
                <a:cubicBezTo>
                  <a:pt x="43" y="296"/>
                  <a:pt x="44" y="295"/>
                  <a:pt x="46" y="295"/>
                </a:cubicBezTo>
                <a:cubicBezTo>
                  <a:pt x="48" y="293"/>
                  <a:pt x="51" y="292"/>
                  <a:pt x="54" y="291"/>
                </a:cubicBezTo>
                <a:lnTo>
                  <a:pt x="67" y="287"/>
                </a:lnTo>
                <a:cubicBezTo>
                  <a:pt x="70" y="286"/>
                  <a:pt x="74" y="285"/>
                  <a:pt x="78" y="284"/>
                </a:cubicBezTo>
                <a:lnTo>
                  <a:pt x="86" y="282"/>
                </a:lnTo>
                <a:cubicBezTo>
                  <a:pt x="89" y="281"/>
                  <a:pt x="92" y="281"/>
                  <a:pt x="95" y="280"/>
                </a:cubicBezTo>
                <a:lnTo>
                  <a:pt x="115" y="277"/>
                </a:lnTo>
                <a:lnTo>
                  <a:pt x="128" y="275"/>
                </a:lnTo>
                <a:cubicBezTo>
                  <a:pt x="133" y="275"/>
                  <a:pt x="137" y="274"/>
                  <a:pt x="142" y="274"/>
                </a:cubicBezTo>
                <a:lnTo>
                  <a:pt x="149" y="274"/>
                </a:lnTo>
                <a:cubicBezTo>
                  <a:pt x="152" y="274"/>
                  <a:pt x="155" y="274"/>
                  <a:pt x="159" y="274"/>
                </a:cubicBezTo>
                <a:lnTo>
                  <a:pt x="166" y="274"/>
                </a:lnTo>
                <a:cubicBezTo>
                  <a:pt x="169" y="275"/>
                  <a:pt x="172" y="275"/>
                  <a:pt x="176" y="275"/>
                </a:cubicBezTo>
                <a:cubicBezTo>
                  <a:pt x="182" y="276"/>
                  <a:pt x="187" y="276"/>
                  <a:pt x="192" y="277"/>
                </a:cubicBezTo>
                <a:cubicBezTo>
                  <a:pt x="197" y="278"/>
                  <a:pt x="202" y="279"/>
                  <a:pt x="207" y="280"/>
                </a:cubicBezTo>
                <a:lnTo>
                  <a:pt x="207" y="280"/>
                </a:lnTo>
                <a:cubicBezTo>
                  <a:pt x="207" y="276"/>
                  <a:pt x="207" y="273"/>
                  <a:pt x="207" y="268"/>
                </a:cubicBezTo>
                <a:lnTo>
                  <a:pt x="207" y="266"/>
                </a:lnTo>
                <a:cubicBezTo>
                  <a:pt x="207" y="264"/>
                  <a:pt x="207" y="263"/>
                  <a:pt x="207" y="261"/>
                </a:cubicBezTo>
                <a:lnTo>
                  <a:pt x="207" y="259"/>
                </a:lnTo>
                <a:cubicBezTo>
                  <a:pt x="208" y="257"/>
                  <a:pt x="208" y="254"/>
                  <a:pt x="208" y="252"/>
                </a:cubicBezTo>
                <a:cubicBezTo>
                  <a:pt x="209" y="239"/>
                  <a:pt x="212" y="226"/>
                  <a:pt x="216" y="213"/>
                </a:cubicBezTo>
                <a:cubicBezTo>
                  <a:pt x="218" y="205"/>
                  <a:pt x="221" y="198"/>
                  <a:pt x="224" y="191"/>
                </a:cubicBezTo>
                <a:cubicBezTo>
                  <a:pt x="227" y="184"/>
                  <a:pt x="231" y="177"/>
                  <a:pt x="235" y="171"/>
                </a:cubicBezTo>
                <a:cubicBezTo>
                  <a:pt x="239" y="165"/>
                  <a:pt x="243" y="159"/>
                  <a:pt x="248" y="153"/>
                </a:cubicBezTo>
                <a:cubicBezTo>
                  <a:pt x="247" y="152"/>
                  <a:pt x="247" y="151"/>
                  <a:pt x="246" y="150"/>
                </a:cubicBezTo>
                <a:cubicBezTo>
                  <a:pt x="246" y="148"/>
                  <a:pt x="245" y="146"/>
                  <a:pt x="244" y="144"/>
                </a:cubicBezTo>
                <a:cubicBezTo>
                  <a:pt x="243" y="142"/>
                  <a:pt x="241" y="140"/>
                  <a:pt x="239" y="137"/>
                </a:cubicBezTo>
                <a:cubicBezTo>
                  <a:pt x="235" y="132"/>
                  <a:pt x="229" y="127"/>
                  <a:pt x="222" y="123"/>
                </a:cubicBezTo>
                <a:cubicBezTo>
                  <a:pt x="215" y="119"/>
                  <a:pt x="207" y="114"/>
                  <a:pt x="198" y="110"/>
                </a:cubicBezTo>
                <a:lnTo>
                  <a:pt x="194" y="108"/>
                </a:lnTo>
                <a:cubicBezTo>
                  <a:pt x="187" y="105"/>
                  <a:pt x="179" y="102"/>
                  <a:pt x="173" y="98"/>
                </a:cubicBezTo>
                <a:cubicBezTo>
                  <a:pt x="164" y="93"/>
                  <a:pt x="157" y="89"/>
                  <a:pt x="151" y="85"/>
                </a:cubicBezTo>
                <a:cubicBezTo>
                  <a:pt x="149" y="82"/>
                  <a:pt x="146" y="80"/>
                  <a:pt x="144" y="78"/>
                </a:cubicBezTo>
                <a:lnTo>
                  <a:pt x="141" y="75"/>
                </a:lnTo>
                <a:lnTo>
                  <a:pt x="138" y="72"/>
                </a:lnTo>
                <a:cubicBezTo>
                  <a:pt x="137" y="71"/>
                  <a:pt x="137" y="70"/>
                  <a:pt x="136" y="69"/>
                </a:cubicBezTo>
                <a:cubicBezTo>
                  <a:pt x="136" y="69"/>
                  <a:pt x="134" y="67"/>
                  <a:pt x="134" y="67"/>
                </a:cubicBezTo>
                <a:cubicBezTo>
                  <a:pt x="133" y="65"/>
                  <a:pt x="133" y="63"/>
                  <a:pt x="135" y="62"/>
                </a:cubicBezTo>
                <a:cubicBezTo>
                  <a:pt x="135" y="61"/>
                  <a:pt x="136" y="61"/>
                  <a:pt x="137" y="61"/>
                </a:cubicBezTo>
                <a:cubicBezTo>
                  <a:pt x="138" y="61"/>
                  <a:pt x="139" y="61"/>
                  <a:pt x="140" y="62"/>
                </a:cubicBezTo>
                <a:lnTo>
                  <a:pt x="141" y="63"/>
                </a:lnTo>
                <a:cubicBezTo>
                  <a:pt x="142" y="65"/>
                  <a:pt x="143" y="66"/>
                  <a:pt x="144" y="67"/>
                </a:cubicBezTo>
                <a:lnTo>
                  <a:pt x="146" y="69"/>
                </a:lnTo>
                <a:lnTo>
                  <a:pt x="149" y="71"/>
                </a:lnTo>
                <a:cubicBezTo>
                  <a:pt x="151" y="73"/>
                  <a:pt x="154" y="75"/>
                  <a:pt x="157" y="77"/>
                </a:cubicBezTo>
                <a:cubicBezTo>
                  <a:pt x="162" y="81"/>
                  <a:pt x="169" y="85"/>
                  <a:pt x="178" y="88"/>
                </a:cubicBezTo>
                <a:cubicBezTo>
                  <a:pt x="184" y="91"/>
                  <a:pt x="191" y="94"/>
                  <a:pt x="198" y="97"/>
                </a:cubicBezTo>
                <a:lnTo>
                  <a:pt x="203" y="99"/>
                </a:lnTo>
                <a:cubicBezTo>
                  <a:pt x="212" y="102"/>
                  <a:pt x="221" y="106"/>
                  <a:pt x="230" y="110"/>
                </a:cubicBezTo>
                <a:cubicBezTo>
                  <a:pt x="239" y="115"/>
                  <a:pt x="246" y="121"/>
                  <a:pt x="251" y="126"/>
                </a:cubicBezTo>
                <a:cubicBezTo>
                  <a:pt x="254" y="129"/>
                  <a:pt x="256" y="132"/>
                  <a:pt x="258" y="135"/>
                </a:cubicBezTo>
                <a:cubicBezTo>
                  <a:pt x="259" y="137"/>
                  <a:pt x="260" y="138"/>
                  <a:pt x="261" y="140"/>
                </a:cubicBezTo>
                <a:cubicBezTo>
                  <a:pt x="263" y="138"/>
                  <a:pt x="264" y="137"/>
                  <a:pt x="266" y="136"/>
                </a:cubicBezTo>
                <a:cubicBezTo>
                  <a:pt x="271" y="131"/>
                  <a:pt x="277" y="128"/>
                  <a:pt x="284" y="124"/>
                </a:cubicBezTo>
                <a:cubicBezTo>
                  <a:pt x="290" y="121"/>
                  <a:pt x="296" y="119"/>
                  <a:pt x="302" y="117"/>
                </a:cubicBezTo>
                <a:cubicBezTo>
                  <a:pt x="308" y="115"/>
                  <a:pt x="313" y="114"/>
                  <a:pt x="318" y="114"/>
                </a:cubicBezTo>
                <a:cubicBezTo>
                  <a:pt x="322" y="113"/>
                  <a:pt x="325" y="113"/>
                  <a:pt x="329" y="113"/>
                </a:cubicBezTo>
                <a:lnTo>
                  <a:pt x="330" y="113"/>
                </a:lnTo>
                <a:cubicBezTo>
                  <a:pt x="330" y="113"/>
                  <a:pt x="337" y="113"/>
                  <a:pt x="338" y="113"/>
                </a:cubicBezTo>
                <a:lnTo>
                  <a:pt x="340" y="113"/>
                </a:lnTo>
                <a:cubicBezTo>
                  <a:pt x="342" y="113"/>
                  <a:pt x="344" y="115"/>
                  <a:pt x="344" y="117"/>
                </a:cubicBezTo>
                <a:cubicBezTo>
                  <a:pt x="344" y="119"/>
                  <a:pt x="342" y="121"/>
                  <a:pt x="340" y="121"/>
                </a:cubicBezTo>
                <a:lnTo>
                  <a:pt x="338" y="121"/>
                </a:lnTo>
                <a:cubicBezTo>
                  <a:pt x="337" y="121"/>
                  <a:pt x="330" y="121"/>
                  <a:pt x="330" y="121"/>
                </a:cubicBezTo>
                <a:lnTo>
                  <a:pt x="328" y="122"/>
                </a:lnTo>
                <a:cubicBezTo>
                  <a:pt x="326" y="122"/>
                  <a:pt x="323" y="122"/>
                  <a:pt x="319" y="123"/>
                </a:cubicBezTo>
                <a:cubicBezTo>
                  <a:pt x="315" y="124"/>
                  <a:pt x="310" y="125"/>
                  <a:pt x="305" y="127"/>
                </a:cubicBezTo>
                <a:cubicBezTo>
                  <a:pt x="300" y="129"/>
                  <a:pt x="295" y="132"/>
                  <a:pt x="290" y="135"/>
                </a:cubicBezTo>
                <a:cubicBezTo>
                  <a:pt x="284" y="139"/>
                  <a:pt x="279" y="143"/>
                  <a:pt x="275" y="146"/>
                </a:cubicBezTo>
                <a:cubicBezTo>
                  <a:pt x="272" y="149"/>
                  <a:pt x="268" y="153"/>
                  <a:pt x="265" y="156"/>
                </a:cubicBezTo>
                <a:cubicBezTo>
                  <a:pt x="265" y="158"/>
                  <a:pt x="263" y="159"/>
                  <a:pt x="262" y="160"/>
                </a:cubicBezTo>
                <a:cubicBezTo>
                  <a:pt x="257" y="166"/>
                  <a:pt x="253" y="173"/>
                  <a:pt x="250" y="179"/>
                </a:cubicBezTo>
                <a:cubicBezTo>
                  <a:pt x="243" y="191"/>
                  <a:pt x="238" y="204"/>
                  <a:pt x="235" y="218"/>
                </a:cubicBezTo>
                <a:cubicBezTo>
                  <a:pt x="232" y="230"/>
                  <a:pt x="230" y="242"/>
                  <a:pt x="229" y="254"/>
                </a:cubicBezTo>
                <a:cubicBezTo>
                  <a:pt x="229" y="259"/>
                  <a:pt x="229" y="264"/>
                  <a:pt x="229" y="269"/>
                </a:cubicBezTo>
                <a:lnTo>
                  <a:pt x="230" y="280"/>
                </a:lnTo>
                <a:cubicBezTo>
                  <a:pt x="230" y="282"/>
                  <a:pt x="230" y="285"/>
                  <a:pt x="229" y="287"/>
                </a:cubicBezTo>
                <a:cubicBezTo>
                  <a:pt x="237" y="289"/>
                  <a:pt x="244" y="292"/>
                  <a:pt x="250" y="295"/>
                </a:cubicBezTo>
                <a:cubicBezTo>
                  <a:pt x="259" y="299"/>
                  <a:pt x="266" y="302"/>
                  <a:pt x="273" y="303"/>
                </a:cubicBezTo>
                <a:cubicBezTo>
                  <a:pt x="276" y="304"/>
                  <a:pt x="279" y="305"/>
                  <a:pt x="282" y="305"/>
                </a:cubicBezTo>
                <a:lnTo>
                  <a:pt x="284" y="306"/>
                </a:lnTo>
                <a:lnTo>
                  <a:pt x="291" y="306"/>
                </a:lnTo>
                <a:lnTo>
                  <a:pt x="297" y="306"/>
                </a:lnTo>
                <a:cubicBezTo>
                  <a:pt x="299" y="306"/>
                  <a:pt x="300" y="306"/>
                  <a:pt x="302" y="306"/>
                </a:cubicBezTo>
                <a:lnTo>
                  <a:pt x="304" y="306"/>
                </a:lnTo>
                <a:cubicBezTo>
                  <a:pt x="306" y="306"/>
                  <a:pt x="307" y="306"/>
                  <a:pt x="309" y="305"/>
                </a:cubicBezTo>
                <a:lnTo>
                  <a:pt x="315" y="305"/>
                </a:lnTo>
                <a:lnTo>
                  <a:pt x="323" y="303"/>
                </a:lnTo>
                <a:lnTo>
                  <a:pt x="324" y="303"/>
                </a:lnTo>
                <a:cubicBezTo>
                  <a:pt x="326" y="303"/>
                  <a:pt x="327" y="304"/>
                  <a:pt x="328" y="305"/>
                </a:cubicBezTo>
                <a:cubicBezTo>
                  <a:pt x="328" y="307"/>
                  <a:pt x="327" y="309"/>
                  <a:pt x="325" y="310"/>
                </a:cubicBezTo>
                <a:lnTo>
                  <a:pt x="317" y="313"/>
                </a:lnTo>
                <a:lnTo>
                  <a:pt x="311" y="314"/>
                </a:lnTo>
                <a:cubicBezTo>
                  <a:pt x="309" y="315"/>
                  <a:pt x="307" y="315"/>
                  <a:pt x="304" y="316"/>
                </a:cubicBezTo>
                <a:cubicBezTo>
                  <a:pt x="301" y="316"/>
                  <a:pt x="298" y="316"/>
                  <a:pt x="295" y="317"/>
                </a:cubicBezTo>
                <a:lnTo>
                  <a:pt x="291" y="317"/>
                </a:lnTo>
                <a:lnTo>
                  <a:pt x="283" y="317"/>
                </a:lnTo>
                <a:lnTo>
                  <a:pt x="281" y="317"/>
                </a:lnTo>
                <a:cubicBezTo>
                  <a:pt x="278" y="317"/>
                  <a:pt x="274" y="316"/>
                  <a:pt x="271" y="316"/>
                </a:cubicBezTo>
                <a:cubicBezTo>
                  <a:pt x="264" y="315"/>
                  <a:pt x="256" y="312"/>
                  <a:pt x="245" y="309"/>
                </a:cubicBezTo>
                <a:cubicBezTo>
                  <a:pt x="237" y="306"/>
                  <a:pt x="228" y="303"/>
                  <a:pt x="219" y="300"/>
                </a:cubicBezTo>
                <a:cubicBezTo>
                  <a:pt x="214" y="299"/>
                  <a:pt x="210" y="298"/>
                  <a:pt x="205" y="298"/>
                </a:cubicBezTo>
                <a:lnTo>
                  <a:pt x="201" y="297"/>
                </a:lnTo>
                <a:cubicBezTo>
                  <a:pt x="197" y="296"/>
                  <a:pt x="193" y="296"/>
                  <a:pt x="190" y="296"/>
                </a:cubicBezTo>
                <a:cubicBezTo>
                  <a:pt x="185" y="295"/>
                  <a:pt x="181" y="295"/>
                  <a:pt x="176" y="295"/>
                </a:cubicBezTo>
                <a:lnTo>
                  <a:pt x="175" y="295"/>
                </a:lnTo>
                <a:cubicBezTo>
                  <a:pt x="173" y="295"/>
                  <a:pt x="171" y="295"/>
                  <a:pt x="169" y="295"/>
                </a:cubicBezTo>
                <a:lnTo>
                  <a:pt x="159" y="295"/>
                </a:lnTo>
                <a:lnTo>
                  <a:pt x="144" y="296"/>
                </a:lnTo>
                <a:cubicBezTo>
                  <a:pt x="140" y="296"/>
                  <a:pt x="135" y="296"/>
                  <a:pt x="131" y="297"/>
                </a:cubicBezTo>
                <a:lnTo>
                  <a:pt x="118" y="299"/>
                </a:lnTo>
                <a:lnTo>
                  <a:pt x="100" y="303"/>
                </a:lnTo>
                <a:cubicBezTo>
                  <a:pt x="97" y="303"/>
                  <a:pt x="95" y="304"/>
                  <a:pt x="92" y="305"/>
                </a:cubicBezTo>
                <a:lnTo>
                  <a:pt x="85" y="307"/>
                </a:lnTo>
                <a:cubicBezTo>
                  <a:pt x="81" y="308"/>
                  <a:pt x="78" y="309"/>
                  <a:pt x="74" y="310"/>
                </a:cubicBezTo>
                <a:lnTo>
                  <a:pt x="69" y="312"/>
                </a:lnTo>
                <a:cubicBezTo>
                  <a:pt x="63" y="315"/>
                  <a:pt x="57" y="317"/>
                  <a:pt x="51" y="319"/>
                </a:cubicBezTo>
                <a:cubicBezTo>
                  <a:pt x="49" y="320"/>
                  <a:pt x="41" y="323"/>
                  <a:pt x="41" y="323"/>
                </a:cubicBezTo>
                <a:cubicBezTo>
                  <a:pt x="38" y="325"/>
                  <a:pt x="36" y="326"/>
                  <a:pt x="33" y="327"/>
                </a:cubicBezTo>
                <a:cubicBezTo>
                  <a:pt x="29" y="329"/>
                  <a:pt x="27" y="330"/>
                  <a:pt x="24" y="331"/>
                </a:cubicBezTo>
                <a:cubicBezTo>
                  <a:pt x="23" y="331"/>
                  <a:pt x="21" y="332"/>
                  <a:pt x="20" y="333"/>
                </a:cubicBezTo>
                <a:cubicBezTo>
                  <a:pt x="19" y="333"/>
                  <a:pt x="18" y="334"/>
                  <a:pt x="17" y="334"/>
                </a:cubicBezTo>
                <a:cubicBezTo>
                  <a:pt x="14" y="335"/>
                  <a:pt x="12" y="337"/>
                  <a:pt x="10" y="337"/>
                </a:cubicBezTo>
                <a:cubicBezTo>
                  <a:pt x="9" y="347"/>
                  <a:pt x="9" y="356"/>
                  <a:pt x="8" y="365"/>
                </a:cubicBezTo>
                <a:lnTo>
                  <a:pt x="8" y="367"/>
                </a:lnTo>
                <a:cubicBezTo>
                  <a:pt x="7" y="384"/>
                  <a:pt x="5" y="401"/>
                  <a:pt x="5" y="415"/>
                </a:cubicBezTo>
                <a:lnTo>
                  <a:pt x="5" y="504"/>
                </a:lnTo>
                <a:lnTo>
                  <a:pt x="6" y="505"/>
                </a:lnTo>
                <a:cubicBezTo>
                  <a:pt x="10" y="511"/>
                  <a:pt x="15" y="518"/>
                  <a:pt x="21" y="524"/>
                </a:cubicBezTo>
                <a:cubicBezTo>
                  <a:pt x="31" y="536"/>
                  <a:pt x="44" y="545"/>
                  <a:pt x="58" y="551"/>
                </a:cubicBezTo>
                <a:cubicBezTo>
                  <a:pt x="71" y="557"/>
                  <a:pt x="86" y="561"/>
                  <a:pt x="103" y="563"/>
                </a:cubicBezTo>
                <a:lnTo>
                  <a:pt x="115" y="564"/>
                </a:lnTo>
                <a:lnTo>
                  <a:pt x="126" y="565"/>
                </a:lnTo>
                <a:cubicBezTo>
                  <a:pt x="130" y="565"/>
                  <a:pt x="135" y="565"/>
                  <a:pt x="139" y="565"/>
                </a:cubicBezTo>
                <a:cubicBezTo>
                  <a:pt x="142" y="565"/>
                  <a:pt x="191" y="565"/>
                  <a:pt x="191" y="565"/>
                </a:cubicBezTo>
                <a:lnTo>
                  <a:pt x="201" y="565"/>
                </a:lnTo>
                <a:lnTo>
                  <a:pt x="210" y="566"/>
                </a:lnTo>
                <a:cubicBezTo>
                  <a:pt x="216" y="566"/>
                  <a:pt x="222" y="567"/>
                  <a:pt x="227" y="567"/>
                </a:cubicBezTo>
                <a:cubicBezTo>
                  <a:pt x="239" y="569"/>
                  <a:pt x="248" y="571"/>
                  <a:pt x="255" y="573"/>
                </a:cubicBezTo>
                <a:cubicBezTo>
                  <a:pt x="258" y="573"/>
                  <a:pt x="261" y="574"/>
                  <a:pt x="264" y="575"/>
                </a:cubicBezTo>
                <a:lnTo>
                  <a:pt x="265" y="575"/>
                </a:lnTo>
                <a:cubicBezTo>
                  <a:pt x="268" y="576"/>
                  <a:pt x="271" y="577"/>
                  <a:pt x="273" y="578"/>
                </a:cubicBezTo>
                <a:lnTo>
                  <a:pt x="278" y="580"/>
                </a:lnTo>
                <a:cubicBezTo>
                  <a:pt x="280" y="581"/>
                  <a:pt x="281" y="583"/>
                  <a:pt x="281" y="585"/>
                </a:cubicBezTo>
                <a:cubicBezTo>
                  <a:pt x="280" y="586"/>
                  <a:pt x="279" y="587"/>
                  <a:pt x="277" y="587"/>
                </a:cubicBezTo>
                <a:cubicBezTo>
                  <a:pt x="277" y="587"/>
                  <a:pt x="276" y="587"/>
                  <a:pt x="276" y="587"/>
                </a:cubicBezTo>
                <a:lnTo>
                  <a:pt x="270" y="586"/>
                </a:lnTo>
                <a:cubicBezTo>
                  <a:pt x="268" y="585"/>
                  <a:pt x="266" y="585"/>
                  <a:pt x="263" y="584"/>
                </a:cubicBezTo>
                <a:cubicBezTo>
                  <a:pt x="260" y="584"/>
                  <a:pt x="257" y="583"/>
                  <a:pt x="253" y="583"/>
                </a:cubicBezTo>
                <a:cubicBezTo>
                  <a:pt x="246" y="581"/>
                  <a:pt x="237" y="581"/>
                  <a:pt x="226" y="580"/>
                </a:cubicBezTo>
                <a:cubicBezTo>
                  <a:pt x="223" y="580"/>
                  <a:pt x="220" y="580"/>
                  <a:pt x="216" y="580"/>
                </a:cubicBezTo>
                <a:lnTo>
                  <a:pt x="210" y="580"/>
                </a:lnTo>
                <a:lnTo>
                  <a:pt x="201" y="580"/>
                </a:lnTo>
                <a:lnTo>
                  <a:pt x="191" y="581"/>
                </a:lnTo>
                <a:lnTo>
                  <a:pt x="145" y="584"/>
                </a:lnTo>
                <a:cubicBezTo>
                  <a:pt x="139" y="584"/>
                  <a:pt x="133" y="584"/>
                  <a:pt x="126" y="585"/>
                </a:cubicBezTo>
                <a:lnTo>
                  <a:pt x="114" y="585"/>
                </a:lnTo>
                <a:lnTo>
                  <a:pt x="101" y="584"/>
                </a:lnTo>
                <a:cubicBezTo>
                  <a:pt x="82" y="583"/>
                  <a:pt x="65" y="579"/>
                  <a:pt x="49" y="573"/>
                </a:cubicBezTo>
                <a:cubicBezTo>
                  <a:pt x="33" y="566"/>
                  <a:pt x="17" y="556"/>
                  <a:pt x="5" y="543"/>
                </a:cubicBezTo>
                <a:lnTo>
                  <a:pt x="5" y="578"/>
                </a:lnTo>
                <a:cubicBezTo>
                  <a:pt x="5" y="600"/>
                  <a:pt x="6" y="620"/>
                  <a:pt x="7" y="640"/>
                </a:cubicBezTo>
                <a:cubicBezTo>
                  <a:pt x="10" y="638"/>
                  <a:pt x="13" y="636"/>
                  <a:pt x="16" y="634"/>
                </a:cubicBezTo>
                <a:cubicBezTo>
                  <a:pt x="21" y="631"/>
                  <a:pt x="26" y="630"/>
                  <a:pt x="31" y="629"/>
                </a:cubicBezTo>
                <a:cubicBezTo>
                  <a:pt x="33" y="628"/>
                  <a:pt x="35" y="628"/>
                  <a:pt x="37" y="628"/>
                </a:cubicBezTo>
                <a:cubicBezTo>
                  <a:pt x="38" y="628"/>
                  <a:pt x="39" y="628"/>
                  <a:pt x="40" y="628"/>
                </a:cubicBezTo>
                <a:cubicBezTo>
                  <a:pt x="42" y="629"/>
                  <a:pt x="45" y="629"/>
                  <a:pt x="48" y="630"/>
                </a:cubicBezTo>
                <a:cubicBezTo>
                  <a:pt x="56" y="632"/>
                  <a:pt x="62" y="636"/>
                  <a:pt x="68" y="640"/>
                </a:cubicBezTo>
                <a:lnTo>
                  <a:pt x="70" y="641"/>
                </a:lnTo>
                <a:cubicBezTo>
                  <a:pt x="73" y="643"/>
                  <a:pt x="76" y="645"/>
                  <a:pt x="79" y="646"/>
                </a:cubicBezTo>
                <a:cubicBezTo>
                  <a:pt x="81" y="648"/>
                  <a:pt x="83" y="649"/>
                  <a:pt x="85" y="650"/>
                </a:cubicBezTo>
                <a:cubicBezTo>
                  <a:pt x="86" y="650"/>
                  <a:pt x="88" y="651"/>
                  <a:pt x="89" y="651"/>
                </a:cubicBezTo>
                <a:lnTo>
                  <a:pt x="90" y="652"/>
                </a:lnTo>
                <a:cubicBezTo>
                  <a:pt x="92" y="653"/>
                  <a:pt x="93" y="655"/>
                  <a:pt x="93" y="656"/>
                </a:cubicBezTo>
                <a:cubicBezTo>
                  <a:pt x="92" y="658"/>
                  <a:pt x="91" y="659"/>
                  <a:pt x="89" y="659"/>
                </a:cubicBezTo>
                <a:cubicBezTo>
                  <a:pt x="89" y="659"/>
                  <a:pt x="89" y="659"/>
                  <a:pt x="88" y="659"/>
                </a:cubicBezTo>
                <a:lnTo>
                  <a:pt x="87" y="659"/>
                </a:lnTo>
                <a:cubicBezTo>
                  <a:pt x="85" y="658"/>
                  <a:pt x="84" y="658"/>
                  <a:pt x="82" y="657"/>
                </a:cubicBezTo>
                <a:cubicBezTo>
                  <a:pt x="80" y="657"/>
                  <a:pt x="77" y="656"/>
                  <a:pt x="74" y="654"/>
                </a:cubicBezTo>
                <a:cubicBezTo>
                  <a:pt x="72" y="653"/>
                  <a:pt x="69" y="652"/>
                  <a:pt x="66" y="650"/>
                </a:cubicBezTo>
                <a:lnTo>
                  <a:pt x="64" y="649"/>
                </a:lnTo>
                <a:cubicBezTo>
                  <a:pt x="58" y="646"/>
                  <a:pt x="52" y="643"/>
                  <a:pt x="45" y="642"/>
                </a:cubicBezTo>
                <a:cubicBezTo>
                  <a:pt x="43" y="642"/>
                  <a:pt x="42" y="642"/>
                  <a:pt x="40" y="642"/>
                </a:cubicBezTo>
                <a:cubicBezTo>
                  <a:pt x="38" y="642"/>
                  <a:pt x="36" y="642"/>
                  <a:pt x="34" y="642"/>
                </a:cubicBezTo>
                <a:cubicBezTo>
                  <a:pt x="31" y="643"/>
                  <a:pt x="27" y="645"/>
                  <a:pt x="24" y="647"/>
                </a:cubicBezTo>
                <a:cubicBezTo>
                  <a:pt x="21" y="650"/>
                  <a:pt x="18" y="653"/>
                  <a:pt x="16" y="655"/>
                </a:cubicBezTo>
                <a:lnTo>
                  <a:pt x="15" y="657"/>
                </a:lnTo>
                <a:cubicBezTo>
                  <a:pt x="14" y="658"/>
                  <a:pt x="13" y="659"/>
                  <a:pt x="13" y="660"/>
                </a:cubicBezTo>
                <a:lnTo>
                  <a:pt x="11" y="663"/>
                </a:lnTo>
                <a:lnTo>
                  <a:pt x="10" y="665"/>
                </a:lnTo>
                <a:cubicBezTo>
                  <a:pt x="9" y="666"/>
                  <a:pt x="9" y="667"/>
                  <a:pt x="9" y="668"/>
                </a:cubicBezTo>
                <a:cubicBezTo>
                  <a:pt x="10" y="687"/>
                  <a:pt x="12" y="706"/>
                  <a:pt x="15" y="726"/>
                </a:cubicBezTo>
                <a:cubicBezTo>
                  <a:pt x="20" y="730"/>
                  <a:pt x="26" y="735"/>
                  <a:pt x="32" y="738"/>
                </a:cubicBezTo>
                <a:lnTo>
                  <a:pt x="35" y="740"/>
                </a:lnTo>
                <a:cubicBezTo>
                  <a:pt x="36" y="740"/>
                  <a:pt x="37" y="741"/>
                  <a:pt x="39" y="742"/>
                </a:cubicBezTo>
                <a:lnTo>
                  <a:pt x="46" y="745"/>
                </a:lnTo>
                <a:cubicBezTo>
                  <a:pt x="47" y="746"/>
                  <a:pt x="49" y="746"/>
                  <a:pt x="50" y="746"/>
                </a:cubicBezTo>
                <a:cubicBezTo>
                  <a:pt x="51" y="747"/>
                  <a:pt x="56" y="748"/>
                  <a:pt x="56" y="748"/>
                </a:cubicBezTo>
                <a:lnTo>
                  <a:pt x="68" y="751"/>
                </a:lnTo>
                <a:lnTo>
                  <a:pt x="80" y="751"/>
                </a:lnTo>
                <a:lnTo>
                  <a:pt x="91" y="751"/>
                </a:lnTo>
                <a:cubicBezTo>
                  <a:pt x="95" y="751"/>
                  <a:pt x="98" y="751"/>
                  <a:pt x="100" y="751"/>
                </a:cubicBezTo>
                <a:cubicBezTo>
                  <a:pt x="102" y="751"/>
                  <a:pt x="103" y="751"/>
                  <a:pt x="105" y="750"/>
                </a:cubicBezTo>
                <a:cubicBezTo>
                  <a:pt x="107" y="750"/>
                  <a:pt x="109" y="750"/>
                  <a:pt x="110" y="750"/>
                </a:cubicBezTo>
                <a:lnTo>
                  <a:pt x="119" y="748"/>
                </a:lnTo>
                <a:lnTo>
                  <a:pt x="124" y="747"/>
                </a:lnTo>
                <a:cubicBezTo>
                  <a:pt x="127" y="747"/>
                  <a:pt x="130" y="746"/>
                  <a:pt x="132" y="745"/>
                </a:cubicBezTo>
                <a:cubicBezTo>
                  <a:pt x="137" y="744"/>
                  <a:pt x="141" y="743"/>
                  <a:pt x="146" y="742"/>
                </a:cubicBezTo>
                <a:cubicBezTo>
                  <a:pt x="148" y="741"/>
                  <a:pt x="150" y="741"/>
                  <a:pt x="153" y="741"/>
                </a:cubicBezTo>
                <a:cubicBezTo>
                  <a:pt x="153" y="741"/>
                  <a:pt x="157" y="740"/>
                  <a:pt x="159" y="740"/>
                </a:cubicBezTo>
                <a:lnTo>
                  <a:pt x="168" y="740"/>
                </a:lnTo>
                <a:lnTo>
                  <a:pt x="170" y="740"/>
                </a:lnTo>
                <a:lnTo>
                  <a:pt x="173" y="740"/>
                </a:lnTo>
                <a:cubicBezTo>
                  <a:pt x="176" y="741"/>
                  <a:pt x="179" y="741"/>
                  <a:pt x="182" y="742"/>
                </a:cubicBezTo>
                <a:lnTo>
                  <a:pt x="183" y="743"/>
                </a:lnTo>
                <a:cubicBezTo>
                  <a:pt x="186" y="743"/>
                  <a:pt x="188" y="744"/>
                  <a:pt x="191" y="745"/>
                </a:cubicBezTo>
                <a:lnTo>
                  <a:pt x="193" y="746"/>
                </a:lnTo>
                <a:cubicBezTo>
                  <a:pt x="194" y="747"/>
                  <a:pt x="196" y="747"/>
                  <a:pt x="197" y="748"/>
                </a:cubicBezTo>
                <a:lnTo>
                  <a:pt x="205" y="753"/>
                </a:lnTo>
                <a:cubicBezTo>
                  <a:pt x="206" y="754"/>
                  <a:pt x="207" y="756"/>
                  <a:pt x="206" y="758"/>
                </a:cubicBezTo>
                <a:cubicBezTo>
                  <a:pt x="205" y="759"/>
                  <a:pt x="204" y="760"/>
                  <a:pt x="203" y="760"/>
                </a:cubicBezTo>
                <a:cubicBezTo>
                  <a:pt x="202" y="760"/>
                  <a:pt x="202" y="760"/>
                  <a:pt x="201" y="760"/>
                </a:cubicBezTo>
                <a:lnTo>
                  <a:pt x="193" y="756"/>
                </a:lnTo>
                <a:cubicBezTo>
                  <a:pt x="192" y="756"/>
                  <a:pt x="187" y="755"/>
                  <a:pt x="187" y="755"/>
                </a:cubicBezTo>
                <a:cubicBezTo>
                  <a:pt x="185" y="754"/>
                  <a:pt x="183" y="754"/>
                  <a:pt x="182" y="754"/>
                </a:cubicBezTo>
                <a:lnTo>
                  <a:pt x="180" y="754"/>
                </a:lnTo>
                <a:cubicBezTo>
                  <a:pt x="178" y="753"/>
                  <a:pt x="177" y="753"/>
                  <a:pt x="175" y="753"/>
                </a:cubicBezTo>
                <a:lnTo>
                  <a:pt x="169" y="753"/>
                </a:lnTo>
                <a:lnTo>
                  <a:pt x="161" y="755"/>
                </a:lnTo>
                <a:cubicBezTo>
                  <a:pt x="160" y="755"/>
                  <a:pt x="156" y="756"/>
                  <a:pt x="156" y="756"/>
                </a:cubicBezTo>
                <a:cubicBezTo>
                  <a:pt x="154" y="756"/>
                  <a:pt x="152" y="757"/>
                  <a:pt x="150" y="758"/>
                </a:cubicBezTo>
                <a:cubicBezTo>
                  <a:pt x="147" y="759"/>
                  <a:pt x="143" y="760"/>
                  <a:pt x="140" y="761"/>
                </a:cubicBezTo>
                <a:cubicBezTo>
                  <a:pt x="135" y="763"/>
                  <a:pt x="129" y="765"/>
                  <a:pt x="124" y="767"/>
                </a:cubicBezTo>
                <a:cubicBezTo>
                  <a:pt x="121" y="768"/>
                  <a:pt x="115" y="769"/>
                  <a:pt x="115" y="769"/>
                </a:cubicBezTo>
                <a:cubicBezTo>
                  <a:pt x="112" y="770"/>
                  <a:pt x="110" y="770"/>
                  <a:pt x="108" y="771"/>
                </a:cubicBezTo>
                <a:lnTo>
                  <a:pt x="104" y="771"/>
                </a:lnTo>
                <a:cubicBezTo>
                  <a:pt x="100" y="772"/>
                  <a:pt x="95" y="773"/>
                  <a:pt x="91" y="773"/>
                </a:cubicBezTo>
                <a:lnTo>
                  <a:pt x="81" y="774"/>
                </a:lnTo>
                <a:lnTo>
                  <a:pt x="79" y="770"/>
                </a:lnTo>
                <a:lnTo>
                  <a:pt x="79" y="774"/>
                </a:lnTo>
                <a:lnTo>
                  <a:pt x="65" y="773"/>
                </a:lnTo>
                <a:lnTo>
                  <a:pt x="56" y="772"/>
                </a:lnTo>
                <a:cubicBezTo>
                  <a:pt x="42" y="770"/>
                  <a:pt x="30" y="766"/>
                  <a:pt x="20" y="760"/>
                </a:cubicBezTo>
                <a:cubicBezTo>
                  <a:pt x="19" y="760"/>
                  <a:pt x="19" y="760"/>
                  <a:pt x="19" y="759"/>
                </a:cubicBezTo>
                <a:cubicBezTo>
                  <a:pt x="24" y="785"/>
                  <a:pt x="27" y="807"/>
                  <a:pt x="27" y="830"/>
                </a:cubicBezTo>
                <a:cubicBezTo>
                  <a:pt x="27" y="835"/>
                  <a:pt x="27" y="840"/>
                  <a:pt x="27" y="844"/>
                </a:cubicBezTo>
                <a:cubicBezTo>
                  <a:pt x="27" y="851"/>
                  <a:pt x="27" y="857"/>
                  <a:pt x="26" y="863"/>
                </a:cubicBezTo>
                <a:cubicBezTo>
                  <a:pt x="25" y="891"/>
                  <a:pt x="22" y="915"/>
                  <a:pt x="18" y="936"/>
                </a:cubicBezTo>
                <a:cubicBezTo>
                  <a:pt x="18" y="944"/>
                  <a:pt x="19" y="952"/>
                  <a:pt x="21" y="960"/>
                </a:cubicBezTo>
                <a:cubicBezTo>
                  <a:pt x="26" y="982"/>
                  <a:pt x="59" y="1008"/>
                  <a:pt x="83" y="1010"/>
                </a:cubicBezTo>
                <a:cubicBezTo>
                  <a:pt x="105" y="1011"/>
                  <a:pt x="122" y="1017"/>
                  <a:pt x="142" y="1024"/>
                </a:cubicBezTo>
                <a:cubicBezTo>
                  <a:pt x="151" y="1027"/>
                  <a:pt x="161" y="1030"/>
                  <a:pt x="173" y="1034"/>
                </a:cubicBezTo>
                <a:cubicBezTo>
                  <a:pt x="189" y="1038"/>
                  <a:pt x="217" y="1044"/>
                  <a:pt x="247" y="1048"/>
                </a:cubicBezTo>
                <a:cubicBezTo>
                  <a:pt x="258" y="1045"/>
                  <a:pt x="271" y="1038"/>
                  <a:pt x="283" y="1028"/>
                </a:cubicBezTo>
                <a:cubicBezTo>
                  <a:pt x="291" y="1021"/>
                  <a:pt x="298" y="1014"/>
                  <a:pt x="304" y="1007"/>
                </a:cubicBezTo>
                <a:cubicBezTo>
                  <a:pt x="312" y="997"/>
                  <a:pt x="318" y="988"/>
                  <a:pt x="323" y="979"/>
                </a:cubicBezTo>
                <a:cubicBezTo>
                  <a:pt x="326" y="974"/>
                  <a:pt x="328" y="968"/>
                  <a:pt x="330" y="963"/>
                </a:cubicBezTo>
                <a:cubicBezTo>
                  <a:pt x="332" y="957"/>
                  <a:pt x="334" y="952"/>
                  <a:pt x="335" y="947"/>
                </a:cubicBezTo>
                <a:cubicBezTo>
                  <a:pt x="335" y="944"/>
                  <a:pt x="335" y="941"/>
                  <a:pt x="335" y="939"/>
                </a:cubicBezTo>
                <a:lnTo>
                  <a:pt x="335" y="937"/>
                </a:lnTo>
                <a:lnTo>
                  <a:pt x="335" y="933"/>
                </a:lnTo>
                <a:cubicBezTo>
                  <a:pt x="335" y="932"/>
                  <a:pt x="335" y="931"/>
                  <a:pt x="335" y="931"/>
                </a:cubicBezTo>
                <a:lnTo>
                  <a:pt x="335" y="929"/>
                </a:lnTo>
                <a:cubicBezTo>
                  <a:pt x="335" y="928"/>
                  <a:pt x="335" y="928"/>
                  <a:pt x="334" y="927"/>
                </a:cubicBezTo>
                <a:lnTo>
                  <a:pt x="333" y="923"/>
                </a:lnTo>
                <a:lnTo>
                  <a:pt x="332" y="919"/>
                </a:lnTo>
                <a:lnTo>
                  <a:pt x="330" y="916"/>
                </a:lnTo>
                <a:cubicBezTo>
                  <a:pt x="326" y="907"/>
                  <a:pt x="318" y="900"/>
                  <a:pt x="308" y="896"/>
                </a:cubicBezTo>
                <a:cubicBezTo>
                  <a:pt x="304" y="895"/>
                  <a:pt x="299" y="894"/>
                  <a:pt x="293" y="893"/>
                </a:cubicBezTo>
                <a:lnTo>
                  <a:pt x="291" y="893"/>
                </a:lnTo>
                <a:lnTo>
                  <a:pt x="282" y="893"/>
                </a:lnTo>
                <a:cubicBezTo>
                  <a:pt x="280" y="893"/>
                  <a:pt x="278" y="893"/>
                  <a:pt x="276" y="894"/>
                </a:cubicBezTo>
                <a:lnTo>
                  <a:pt x="267" y="895"/>
                </a:lnTo>
                <a:lnTo>
                  <a:pt x="259" y="897"/>
                </a:lnTo>
                <a:cubicBezTo>
                  <a:pt x="255" y="897"/>
                  <a:pt x="252" y="898"/>
                  <a:pt x="248" y="899"/>
                </a:cubicBezTo>
                <a:lnTo>
                  <a:pt x="242" y="900"/>
                </a:lnTo>
                <a:cubicBezTo>
                  <a:pt x="229" y="903"/>
                  <a:pt x="219" y="905"/>
                  <a:pt x="209" y="906"/>
                </a:cubicBezTo>
                <a:lnTo>
                  <a:pt x="207" y="907"/>
                </a:lnTo>
                <a:cubicBezTo>
                  <a:pt x="203" y="907"/>
                  <a:pt x="200" y="907"/>
                  <a:pt x="196" y="907"/>
                </a:cubicBezTo>
                <a:cubicBezTo>
                  <a:pt x="196" y="907"/>
                  <a:pt x="184" y="907"/>
                  <a:pt x="184" y="907"/>
                </a:cubicBezTo>
                <a:lnTo>
                  <a:pt x="180" y="907"/>
                </a:lnTo>
                <a:cubicBezTo>
                  <a:pt x="176" y="907"/>
                  <a:pt x="172" y="906"/>
                  <a:pt x="168" y="905"/>
                </a:cubicBezTo>
                <a:lnTo>
                  <a:pt x="163" y="903"/>
                </a:lnTo>
                <a:cubicBezTo>
                  <a:pt x="162" y="902"/>
                  <a:pt x="160" y="902"/>
                  <a:pt x="159" y="901"/>
                </a:cubicBezTo>
                <a:lnTo>
                  <a:pt x="158" y="901"/>
                </a:lnTo>
                <a:cubicBezTo>
                  <a:pt x="156" y="899"/>
                  <a:pt x="154" y="898"/>
                  <a:pt x="152" y="897"/>
                </a:cubicBezTo>
                <a:cubicBezTo>
                  <a:pt x="150" y="896"/>
                  <a:pt x="148" y="895"/>
                  <a:pt x="146" y="894"/>
                </a:cubicBezTo>
                <a:lnTo>
                  <a:pt x="142" y="892"/>
                </a:lnTo>
                <a:cubicBezTo>
                  <a:pt x="140" y="892"/>
                  <a:pt x="139" y="890"/>
                  <a:pt x="140" y="888"/>
                </a:cubicBezTo>
                <a:cubicBezTo>
                  <a:pt x="140" y="886"/>
                  <a:pt x="142" y="885"/>
                  <a:pt x="143" y="885"/>
                </a:cubicBezTo>
                <a:cubicBezTo>
                  <a:pt x="144" y="885"/>
                  <a:pt x="149" y="886"/>
                  <a:pt x="149" y="886"/>
                </a:cubicBezTo>
                <a:cubicBezTo>
                  <a:pt x="149" y="886"/>
                  <a:pt x="150" y="886"/>
                  <a:pt x="150" y="886"/>
                </a:cubicBezTo>
                <a:cubicBezTo>
                  <a:pt x="152" y="887"/>
                  <a:pt x="153" y="887"/>
                  <a:pt x="155" y="888"/>
                </a:cubicBezTo>
                <a:lnTo>
                  <a:pt x="157" y="888"/>
                </a:lnTo>
                <a:cubicBezTo>
                  <a:pt x="158" y="889"/>
                  <a:pt x="160" y="890"/>
                  <a:pt x="162" y="890"/>
                </a:cubicBezTo>
                <a:cubicBezTo>
                  <a:pt x="162" y="890"/>
                  <a:pt x="165" y="891"/>
                  <a:pt x="166" y="891"/>
                </a:cubicBezTo>
                <a:lnTo>
                  <a:pt x="171" y="892"/>
                </a:lnTo>
                <a:lnTo>
                  <a:pt x="172" y="892"/>
                </a:lnTo>
                <a:cubicBezTo>
                  <a:pt x="174" y="892"/>
                  <a:pt x="175" y="892"/>
                  <a:pt x="177" y="892"/>
                </a:cubicBezTo>
                <a:cubicBezTo>
                  <a:pt x="179" y="892"/>
                  <a:pt x="180" y="892"/>
                  <a:pt x="181" y="892"/>
                </a:cubicBezTo>
                <a:lnTo>
                  <a:pt x="184" y="892"/>
                </a:lnTo>
                <a:lnTo>
                  <a:pt x="184" y="892"/>
                </a:lnTo>
                <a:cubicBezTo>
                  <a:pt x="184" y="892"/>
                  <a:pt x="185" y="892"/>
                  <a:pt x="185" y="892"/>
                </a:cubicBezTo>
                <a:lnTo>
                  <a:pt x="192" y="891"/>
                </a:lnTo>
                <a:cubicBezTo>
                  <a:pt x="196" y="891"/>
                  <a:pt x="199" y="890"/>
                  <a:pt x="201" y="889"/>
                </a:cubicBezTo>
                <a:cubicBezTo>
                  <a:pt x="203" y="889"/>
                  <a:pt x="205" y="889"/>
                  <a:pt x="206" y="888"/>
                </a:cubicBezTo>
                <a:cubicBezTo>
                  <a:pt x="213" y="887"/>
                  <a:pt x="220" y="885"/>
                  <a:pt x="228" y="883"/>
                </a:cubicBezTo>
                <a:lnTo>
                  <a:pt x="242" y="878"/>
                </a:lnTo>
                <a:cubicBezTo>
                  <a:pt x="246" y="877"/>
                  <a:pt x="250" y="876"/>
                  <a:pt x="254" y="875"/>
                </a:cubicBezTo>
                <a:cubicBezTo>
                  <a:pt x="257" y="874"/>
                  <a:pt x="260" y="873"/>
                  <a:pt x="263" y="873"/>
                </a:cubicBezTo>
                <a:lnTo>
                  <a:pt x="273" y="871"/>
                </a:lnTo>
                <a:cubicBezTo>
                  <a:pt x="276" y="870"/>
                  <a:pt x="278" y="870"/>
                  <a:pt x="281" y="870"/>
                </a:cubicBezTo>
                <a:lnTo>
                  <a:pt x="289" y="869"/>
                </a:lnTo>
                <a:lnTo>
                  <a:pt x="294" y="869"/>
                </a:lnTo>
                <a:cubicBezTo>
                  <a:pt x="300" y="869"/>
                  <a:pt x="306" y="870"/>
                  <a:pt x="311" y="872"/>
                </a:cubicBezTo>
                <a:lnTo>
                  <a:pt x="313" y="869"/>
                </a:lnTo>
                <a:cubicBezTo>
                  <a:pt x="313" y="869"/>
                  <a:pt x="313" y="868"/>
                  <a:pt x="314" y="867"/>
                </a:cubicBezTo>
                <a:cubicBezTo>
                  <a:pt x="315" y="866"/>
                  <a:pt x="316" y="865"/>
                  <a:pt x="316" y="864"/>
                </a:cubicBezTo>
                <a:cubicBezTo>
                  <a:pt x="318" y="861"/>
                  <a:pt x="319" y="858"/>
                  <a:pt x="320" y="855"/>
                </a:cubicBezTo>
                <a:cubicBezTo>
                  <a:pt x="321" y="852"/>
                  <a:pt x="323" y="849"/>
                  <a:pt x="323" y="844"/>
                </a:cubicBezTo>
                <a:cubicBezTo>
                  <a:pt x="323" y="842"/>
                  <a:pt x="324" y="840"/>
                  <a:pt x="324" y="838"/>
                </a:cubicBezTo>
                <a:cubicBezTo>
                  <a:pt x="324" y="838"/>
                  <a:pt x="324" y="837"/>
                  <a:pt x="324" y="836"/>
                </a:cubicBezTo>
                <a:lnTo>
                  <a:pt x="324" y="835"/>
                </a:lnTo>
                <a:lnTo>
                  <a:pt x="324" y="832"/>
                </a:lnTo>
                <a:cubicBezTo>
                  <a:pt x="324" y="830"/>
                  <a:pt x="324" y="829"/>
                  <a:pt x="323" y="828"/>
                </a:cubicBezTo>
                <a:lnTo>
                  <a:pt x="323" y="825"/>
                </a:lnTo>
                <a:cubicBezTo>
                  <a:pt x="323" y="824"/>
                  <a:pt x="323" y="822"/>
                  <a:pt x="323" y="821"/>
                </a:cubicBezTo>
                <a:lnTo>
                  <a:pt x="322" y="818"/>
                </a:lnTo>
                <a:cubicBezTo>
                  <a:pt x="322" y="817"/>
                  <a:pt x="321" y="815"/>
                  <a:pt x="321" y="814"/>
                </a:cubicBezTo>
                <a:lnTo>
                  <a:pt x="320" y="811"/>
                </a:lnTo>
                <a:lnTo>
                  <a:pt x="318" y="805"/>
                </a:lnTo>
                <a:lnTo>
                  <a:pt x="315" y="798"/>
                </a:lnTo>
                <a:lnTo>
                  <a:pt x="313" y="796"/>
                </a:lnTo>
                <a:cubicBezTo>
                  <a:pt x="313" y="794"/>
                  <a:pt x="312" y="793"/>
                  <a:pt x="311" y="791"/>
                </a:cubicBezTo>
                <a:cubicBezTo>
                  <a:pt x="309" y="787"/>
                  <a:pt x="306" y="783"/>
                  <a:pt x="304" y="779"/>
                </a:cubicBezTo>
                <a:lnTo>
                  <a:pt x="300" y="773"/>
                </a:lnTo>
                <a:lnTo>
                  <a:pt x="296" y="768"/>
                </a:lnTo>
                <a:cubicBezTo>
                  <a:pt x="293" y="764"/>
                  <a:pt x="291" y="761"/>
                  <a:pt x="289" y="758"/>
                </a:cubicBezTo>
                <a:cubicBezTo>
                  <a:pt x="284" y="752"/>
                  <a:pt x="280" y="748"/>
                  <a:pt x="277" y="744"/>
                </a:cubicBezTo>
                <a:lnTo>
                  <a:pt x="272" y="739"/>
                </a:lnTo>
                <a:cubicBezTo>
                  <a:pt x="270" y="737"/>
                  <a:pt x="270" y="735"/>
                  <a:pt x="272" y="734"/>
                </a:cubicBezTo>
                <a:cubicBezTo>
                  <a:pt x="272" y="733"/>
                  <a:pt x="273" y="733"/>
                  <a:pt x="274" y="733"/>
                </a:cubicBezTo>
                <a:cubicBezTo>
                  <a:pt x="275" y="733"/>
                  <a:pt x="276" y="733"/>
                  <a:pt x="277" y="734"/>
                </a:cubicBezTo>
                <a:lnTo>
                  <a:pt x="282" y="739"/>
                </a:lnTo>
                <a:cubicBezTo>
                  <a:pt x="286" y="742"/>
                  <a:pt x="290" y="747"/>
                  <a:pt x="295" y="752"/>
                </a:cubicBezTo>
                <a:cubicBezTo>
                  <a:pt x="298" y="755"/>
                  <a:pt x="301" y="758"/>
                  <a:pt x="304" y="762"/>
                </a:cubicBezTo>
                <a:lnTo>
                  <a:pt x="308" y="767"/>
                </a:lnTo>
                <a:lnTo>
                  <a:pt x="313" y="773"/>
                </a:lnTo>
                <a:cubicBezTo>
                  <a:pt x="316" y="777"/>
                  <a:pt x="319" y="781"/>
                  <a:pt x="321" y="785"/>
                </a:cubicBezTo>
                <a:cubicBezTo>
                  <a:pt x="322" y="787"/>
                  <a:pt x="325" y="792"/>
                  <a:pt x="325" y="792"/>
                </a:cubicBezTo>
                <a:cubicBezTo>
                  <a:pt x="326" y="794"/>
                  <a:pt x="327" y="796"/>
                  <a:pt x="328" y="797"/>
                </a:cubicBezTo>
                <a:lnTo>
                  <a:pt x="329" y="800"/>
                </a:lnTo>
                <a:lnTo>
                  <a:pt x="332" y="807"/>
                </a:lnTo>
                <a:lnTo>
                  <a:pt x="333" y="809"/>
                </a:lnTo>
                <a:cubicBezTo>
                  <a:pt x="334" y="811"/>
                  <a:pt x="335" y="813"/>
                  <a:pt x="335" y="815"/>
                </a:cubicBezTo>
                <a:lnTo>
                  <a:pt x="336" y="818"/>
                </a:lnTo>
                <a:cubicBezTo>
                  <a:pt x="336" y="819"/>
                  <a:pt x="337" y="821"/>
                  <a:pt x="337" y="823"/>
                </a:cubicBezTo>
                <a:lnTo>
                  <a:pt x="338" y="826"/>
                </a:lnTo>
                <a:cubicBezTo>
                  <a:pt x="338" y="827"/>
                  <a:pt x="338" y="829"/>
                  <a:pt x="339" y="831"/>
                </a:cubicBezTo>
                <a:lnTo>
                  <a:pt x="339" y="836"/>
                </a:lnTo>
                <a:lnTo>
                  <a:pt x="339" y="839"/>
                </a:lnTo>
                <a:cubicBezTo>
                  <a:pt x="339" y="841"/>
                  <a:pt x="339" y="844"/>
                  <a:pt x="339" y="847"/>
                </a:cubicBezTo>
                <a:cubicBezTo>
                  <a:pt x="338" y="851"/>
                  <a:pt x="337" y="855"/>
                  <a:pt x="336" y="860"/>
                </a:cubicBezTo>
                <a:cubicBezTo>
                  <a:pt x="335" y="865"/>
                  <a:pt x="333" y="868"/>
                  <a:pt x="332" y="871"/>
                </a:cubicBezTo>
                <a:cubicBezTo>
                  <a:pt x="331" y="873"/>
                  <a:pt x="330" y="875"/>
                  <a:pt x="329" y="877"/>
                </a:cubicBezTo>
                <a:lnTo>
                  <a:pt x="328" y="879"/>
                </a:lnTo>
                <a:cubicBezTo>
                  <a:pt x="334" y="883"/>
                  <a:pt x="340" y="888"/>
                  <a:pt x="345" y="893"/>
                </a:cubicBezTo>
                <a:cubicBezTo>
                  <a:pt x="351" y="890"/>
                  <a:pt x="358" y="885"/>
                  <a:pt x="366" y="880"/>
                </a:cubicBezTo>
                <a:cubicBezTo>
                  <a:pt x="371" y="877"/>
                  <a:pt x="375" y="875"/>
                  <a:pt x="381" y="872"/>
                </a:cubicBezTo>
                <a:cubicBezTo>
                  <a:pt x="386" y="869"/>
                  <a:pt x="392" y="866"/>
                  <a:pt x="398" y="863"/>
                </a:cubicBezTo>
                <a:cubicBezTo>
                  <a:pt x="404" y="861"/>
                  <a:pt x="410" y="858"/>
                  <a:pt x="416" y="855"/>
                </a:cubicBezTo>
                <a:cubicBezTo>
                  <a:pt x="420" y="854"/>
                  <a:pt x="423" y="853"/>
                  <a:pt x="427" y="852"/>
                </a:cubicBezTo>
                <a:cubicBezTo>
                  <a:pt x="430" y="851"/>
                  <a:pt x="433" y="850"/>
                  <a:pt x="437" y="849"/>
                </a:cubicBezTo>
                <a:cubicBezTo>
                  <a:pt x="443" y="847"/>
                  <a:pt x="450" y="846"/>
                  <a:pt x="458" y="845"/>
                </a:cubicBezTo>
                <a:cubicBezTo>
                  <a:pt x="460" y="844"/>
                  <a:pt x="463" y="844"/>
                  <a:pt x="465" y="844"/>
                </a:cubicBezTo>
                <a:lnTo>
                  <a:pt x="469" y="844"/>
                </a:lnTo>
                <a:lnTo>
                  <a:pt x="475" y="843"/>
                </a:lnTo>
                <a:cubicBezTo>
                  <a:pt x="475" y="842"/>
                  <a:pt x="474" y="841"/>
                  <a:pt x="474" y="839"/>
                </a:cubicBezTo>
                <a:lnTo>
                  <a:pt x="472" y="835"/>
                </a:lnTo>
                <a:lnTo>
                  <a:pt x="470" y="831"/>
                </a:lnTo>
                <a:cubicBezTo>
                  <a:pt x="469" y="829"/>
                  <a:pt x="469" y="829"/>
                  <a:pt x="469" y="829"/>
                </a:cubicBezTo>
                <a:lnTo>
                  <a:pt x="466" y="825"/>
                </a:lnTo>
                <a:cubicBezTo>
                  <a:pt x="465" y="824"/>
                  <a:pt x="465" y="823"/>
                  <a:pt x="464" y="822"/>
                </a:cubicBezTo>
                <a:lnTo>
                  <a:pt x="460" y="818"/>
                </a:lnTo>
                <a:cubicBezTo>
                  <a:pt x="459" y="817"/>
                  <a:pt x="458" y="816"/>
                  <a:pt x="458" y="815"/>
                </a:cubicBezTo>
                <a:lnTo>
                  <a:pt x="456" y="813"/>
                </a:lnTo>
                <a:cubicBezTo>
                  <a:pt x="454" y="812"/>
                  <a:pt x="453" y="811"/>
                  <a:pt x="451" y="810"/>
                </a:cubicBezTo>
                <a:lnTo>
                  <a:pt x="450" y="808"/>
                </a:lnTo>
                <a:cubicBezTo>
                  <a:pt x="449" y="807"/>
                  <a:pt x="447" y="807"/>
                  <a:pt x="446" y="806"/>
                </a:cubicBezTo>
                <a:lnTo>
                  <a:pt x="445" y="805"/>
                </a:lnTo>
                <a:cubicBezTo>
                  <a:pt x="442" y="803"/>
                  <a:pt x="439" y="801"/>
                  <a:pt x="436" y="799"/>
                </a:cubicBezTo>
                <a:cubicBezTo>
                  <a:pt x="433" y="797"/>
                  <a:pt x="430" y="796"/>
                  <a:pt x="427" y="795"/>
                </a:cubicBezTo>
                <a:lnTo>
                  <a:pt x="425" y="794"/>
                </a:lnTo>
                <a:cubicBezTo>
                  <a:pt x="421" y="792"/>
                  <a:pt x="417" y="791"/>
                  <a:pt x="414" y="789"/>
                </a:cubicBezTo>
                <a:lnTo>
                  <a:pt x="412" y="789"/>
                </a:lnTo>
                <a:cubicBezTo>
                  <a:pt x="409" y="788"/>
                  <a:pt x="407" y="787"/>
                  <a:pt x="405" y="786"/>
                </a:cubicBezTo>
                <a:cubicBezTo>
                  <a:pt x="401" y="786"/>
                  <a:pt x="399" y="785"/>
                  <a:pt x="396" y="785"/>
                </a:cubicBezTo>
                <a:lnTo>
                  <a:pt x="394" y="784"/>
                </a:lnTo>
                <a:cubicBezTo>
                  <a:pt x="392" y="784"/>
                  <a:pt x="391" y="783"/>
                  <a:pt x="389" y="783"/>
                </a:cubicBezTo>
                <a:lnTo>
                  <a:pt x="383" y="783"/>
                </a:lnTo>
                <a:cubicBezTo>
                  <a:pt x="381" y="782"/>
                  <a:pt x="380" y="781"/>
                  <a:pt x="380" y="779"/>
                </a:cubicBezTo>
                <a:cubicBezTo>
                  <a:pt x="380" y="777"/>
                  <a:pt x="382" y="775"/>
                  <a:pt x="384" y="775"/>
                </a:cubicBezTo>
                <a:cubicBezTo>
                  <a:pt x="384" y="775"/>
                  <a:pt x="390" y="776"/>
                  <a:pt x="390" y="776"/>
                </a:cubicBezTo>
                <a:cubicBezTo>
                  <a:pt x="391" y="776"/>
                  <a:pt x="393" y="776"/>
                  <a:pt x="395" y="776"/>
                </a:cubicBezTo>
                <a:lnTo>
                  <a:pt x="397" y="776"/>
                </a:lnTo>
                <a:cubicBezTo>
                  <a:pt x="400" y="776"/>
                  <a:pt x="403" y="777"/>
                  <a:pt x="406" y="778"/>
                </a:cubicBezTo>
                <a:cubicBezTo>
                  <a:pt x="409" y="778"/>
                  <a:pt x="412" y="779"/>
                  <a:pt x="415" y="780"/>
                </a:cubicBezTo>
                <a:lnTo>
                  <a:pt x="417" y="780"/>
                </a:lnTo>
                <a:cubicBezTo>
                  <a:pt x="420" y="781"/>
                  <a:pt x="423" y="782"/>
                  <a:pt x="427" y="783"/>
                </a:cubicBezTo>
                <a:lnTo>
                  <a:pt x="429" y="784"/>
                </a:lnTo>
                <a:lnTo>
                  <a:pt x="432" y="785"/>
                </a:lnTo>
                <a:cubicBezTo>
                  <a:pt x="435" y="786"/>
                  <a:pt x="438" y="787"/>
                  <a:pt x="441" y="789"/>
                </a:cubicBezTo>
                <a:cubicBezTo>
                  <a:pt x="444" y="790"/>
                  <a:pt x="448" y="792"/>
                  <a:pt x="451" y="794"/>
                </a:cubicBezTo>
                <a:lnTo>
                  <a:pt x="453" y="795"/>
                </a:lnTo>
                <a:cubicBezTo>
                  <a:pt x="455" y="796"/>
                  <a:pt x="459" y="799"/>
                  <a:pt x="459" y="799"/>
                </a:cubicBezTo>
                <a:cubicBezTo>
                  <a:pt x="461" y="800"/>
                  <a:pt x="463" y="802"/>
                  <a:pt x="465" y="803"/>
                </a:cubicBezTo>
                <a:lnTo>
                  <a:pt x="466" y="804"/>
                </a:lnTo>
                <a:cubicBezTo>
                  <a:pt x="468" y="805"/>
                  <a:pt x="469" y="807"/>
                  <a:pt x="470" y="808"/>
                </a:cubicBezTo>
                <a:lnTo>
                  <a:pt x="475" y="812"/>
                </a:lnTo>
                <a:cubicBezTo>
                  <a:pt x="476" y="813"/>
                  <a:pt x="477" y="814"/>
                  <a:pt x="478" y="816"/>
                </a:cubicBezTo>
                <a:lnTo>
                  <a:pt x="481" y="820"/>
                </a:lnTo>
                <a:cubicBezTo>
                  <a:pt x="482" y="820"/>
                  <a:pt x="482" y="821"/>
                  <a:pt x="483" y="822"/>
                </a:cubicBezTo>
                <a:lnTo>
                  <a:pt x="486" y="828"/>
                </a:lnTo>
                <a:lnTo>
                  <a:pt x="489" y="833"/>
                </a:lnTo>
                <a:cubicBezTo>
                  <a:pt x="490" y="836"/>
                  <a:pt x="491" y="839"/>
                  <a:pt x="492" y="841"/>
                </a:cubicBezTo>
                <a:cubicBezTo>
                  <a:pt x="492" y="841"/>
                  <a:pt x="493" y="844"/>
                  <a:pt x="493" y="844"/>
                </a:cubicBezTo>
                <a:cubicBezTo>
                  <a:pt x="495" y="845"/>
                  <a:pt x="497" y="845"/>
                  <a:pt x="500" y="845"/>
                </a:cubicBezTo>
                <a:cubicBezTo>
                  <a:pt x="506" y="847"/>
                  <a:pt x="511" y="849"/>
                  <a:pt x="517" y="851"/>
                </a:cubicBezTo>
                <a:lnTo>
                  <a:pt x="519" y="852"/>
                </a:lnTo>
                <a:cubicBezTo>
                  <a:pt x="521" y="853"/>
                  <a:pt x="523" y="854"/>
                  <a:pt x="525" y="855"/>
                </a:cubicBezTo>
                <a:cubicBezTo>
                  <a:pt x="526" y="856"/>
                  <a:pt x="528" y="857"/>
                  <a:pt x="529" y="858"/>
                </a:cubicBezTo>
                <a:lnTo>
                  <a:pt x="531" y="859"/>
                </a:lnTo>
                <a:cubicBezTo>
                  <a:pt x="534" y="861"/>
                  <a:pt x="537" y="864"/>
                  <a:pt x="539" y="866"/>
                </a:cubicBezTo>
                <a:cubicBezTo>
                  <a:pt x="539" y="866"/>
                  <a:pt x="540" y="867"/>
                  <a:pt x="540" y="867"/>
                </a:cubicBezTo>
                <a:cubicBezTo>
                  <a:pt x="542" y="869"/>
                  <a:pt x="543" y="871"/>
                  <a:pt x="544" y="872"/>
                </a:cubicBezTo>
                <a:lnTo>
                  <a:pt x="546" y="875"/>
                </a:lnTo>
                <a:cubicBezTo>
                  <a:pt x="547" y="876"/>
                  <a:pt x="547" y="878"/>
                  <a:pt x="546" y="879"/>
                </a:cubicBezTo>
                <a:cubicBezTo>
                  <a:pt x="546" y="880"/>
                  <a:pt x="545" y="881"/>
                  <a:pt x="543" y="881"/>
                </a:cubicBezTo>
                <a:cubicBezTo>
                  <a:pt x="543" y="881"/>
                  <a:pt x="543" y="880"/>
                  <a:pt x="543" y="880"/>
                </a:cubicBezTo>
                <a:cubicBezTo>
                  <a:pt x="543" y="880"/>
                  <a:pt x="541" y="880"/>
                  <a:pt x="540" y="880"/>
                </a:cubicBezTo>
                <a:cubicBezTo>
                  <a:pt x="538" y="879"/>
                  <a:pt x="535" y="879"/>
                  <a:pt x="533" y="877"/>
                </a:cubicBezTo>
                <a:cubicBezTo>
                  <a:pt x="531" y="877"/>
                  <a:pt x="530" y="877"/>
                  <a:pt x="528" y="876"/>
                </a:cubicBezTo>
                <a:lnTo>
                  <a:pt x="523" y="875"/>
                </a:lnTo>
                <a:cubicBezTo>
                  <a:pt x="521" y="874"/>
                  <a:pt x="519" y="874"/>
                  <a:pt x="517" y="873"/>
                </a:cubicBezTo>
                <a:lnTo>
                  <a:pt x="510" y="872"/>
                </a:lnTo>
                <a:cubicBezTo>
                  <a:pt x="506" y="871"/>
                  <a:pt x="501" y="870"/>
                  <a:pt x="496" y="869"/>
                </a:cubicBezTo>
                <a:cubicBezTo>
                  <a:pt x="494" y="869"/>
                  <a:pt x="492" y="869"/>
                  <a:pt x="491" y="869"/>
                </a:cubicBezTo>
                <a:lnTo>
                  <a:pt x="488" y="868"/>
                </a:lnTo>
                <a:cubicBezTo>
                  <a:pt x="487" y="868"/>
                  <a:pt x="486" y="868"/>
                  <a:pt x="485" y="868"/>
                </a:cubicBezTo>
                <a:lnTo>
                  <a:pt x="479" y="868"/>
                </a:lnTo>
                <a:lnTo>
                  <a:pt x="470" y="868"/>
                </a:lnTo>
                <a:lnTo>
                  <a:pt x="467" y="869"/>
                </a:lnTo>
                <a:cubicBezTo>
                  <a:pt x="465" y="869"/>
                  <a:pt x="463" y="869"/>
                  <a:pt x="462" y="869"/>
                </a:cubicBezTo>
                <a:cubicBezTo>
                  <a:pt x="454" y="871"/>
                  <a:pt x="449" y="872"/>
                  <a:pt x="443" y="873"/>
                </a:cubicBezTo>
                <a:cubicBezTo>
                  <a:pt x="440" y="874"/>
                  <a:pt x="437" y="875"/>
                  <a:pt x="434" y="876"/>
                </a:cubicBezTo>
                <a:cubicBezTo>
                  <a:pt x="431" y="877"/>
                  <a:pt x="428" y="878"/>
                  <a:pt x="425" y="879"/>
                </a:cubicBezTo>
                <a:cubicBezTo>
                  <a:pt x="419" y="881"/>
                  <a:pt x="413" y="883"/>
                  <a:pt x="407" y="886"/>
                </a:cubicBezTo>
                <a:cubicBezTo>
                  <a:pt x="402" y="888"/>
                  <a:pt x="396" y="890"/>
                  <a:pt x="391" y="893"/>
                </a:cubicBezTo>
                <a:cubicBezTo>
                  <a:pt x="386" y="895"/>
                  <a:pt x="381" y="898"/>
                  <a:pt x="377" y="900"/>
                </a:cubicBezTo>
                <a:lnTo>
                  <a:pt x="355" y="910"/>
                </a:lnTo>
                <a:lnTo>
                  <a:pt x="357" y="916"/>
                </a:lnTo>
                <a:lnTo>
                  <a:pt x="359" y="921"/>
                </a:lnTo>
                <a:cubicBezTo>
                  <a:pt x="359" y="923"/>
                  <a:pt x="360" y="925"/>
                  <a:pt x="360" y="926"/>
                </a:cubicBezTo>
                <a:lnTo>
                  <a:pt x="360" y="928"/>
                </a:lnTo>
                <a:cubicBezTo>
                  <a:pt x="360" y="930"/>
                  <a:pt x="360" y="931"/>
                  <a:pt x="361" y="932"/>
                </a:cubicBezTo>
                <a:lnTo>
                  <a:pt x="361" y="937"/>
                </a:lnTo>
                <a:lnTo>
                  <a:pt x="361" y="940"/>
                </a:lnTo>
                <a:cubicBezTo>
                  <a:pt x="360" y="943"/>
                  <a:pt x="360" y="947"/>
                  <a:pt x="359" y="951"/>
                </a:cubicBezTo>
                <a:cubicBezTo>
                  <a:pt x="357" y="964"/>
                  <a:pt x="352" y="977"/>
                  <a:pt x="344" y="991"/>
                </a:cubicBezTo>
                <a:cubicBezTo>
                  <a:pt x="338" y="1002"/>
                  <a:pt x="331" y="1013"/>
                  <a:pt x="322" y="1022"/>
                </a:cubicBezTo>
                <a:cubicBezTo>
                  <a:pt x="315" y="1031"/>
                  <a:pt x="306" y="1039"/>
                  <a:pt x="297" y="1046"/>
                </a:cubicBezTo>
                <a:cubicBezTo>
                  <a:pt x="294" y="1048"/>
                  <a:pt x="292" y="1050"/>
                  <a:pt x="289" y="1052"/>
                </a:cubicBezTo>
                <a:cubicBezTo>
                  <a:pt x="291" y="1052"/>
                  <a:pt x="294" y="1052"/>
                  <a:pt x="297" y="1052"/>
                </a:cubicBezTo>
                <a:cubicBezTo>
                  <a:pt x="327" y="1052"/>
                  <a:pt x="363" y="1050"/>
                  <a:pt x="398" y="1049"/>
                </a:cubicBezTo>
                <a:lnTo>
                  <a:pt x="413" y="1049"/>
                </a:lnTo>
                <a:lnTo>
                  <a:pt x="413" y="1048"/>
                </a:lnTo>
                <a:cubicBezTo>
                  <a:pt x="414" y="1045"/>
                  <a:pt x="415" y="1043"/>
                  <a:pt x="417" y="1041"/>
                </a:cubicBezTo>
                <a:lnTo>
                  <a:pt x="419" y="1036"/>
                </a:lnTo>
                <a:cubicBezTo>
                  <a:pt x="421" y="1033"/>
                  <a:pt x="423" y="1029"/>
                  <a:pt x="426" y="1026"/>
                </a:cubicBezTo>
                <a:lnTo>
                  <a:pt x="428" y="1023"/>
                </a:lnTo>
                <a:cubicBezTo>
                  <a:pt x="430" y="1019"/>
                  <a:pt x="433" y="1015"/>
                  <a:pt x="436" y="1011"/>
                </a:cubicBezTo>
                <a:lnTo>
                  <a:pt x="439" y="1008"/>
                </a:lnTo>
                <a:cubicBezTo>
                  <a:pt x="441" y="1005"/>
                  <a:pt x="443" y="1003"/>
                  <a:pt x="446" y="1000"/>
                </a:cubicBezTo>
                <a:lnTo>
                  <a:pt x="449" y="997"/>
                </a:lnTo>
                <a:cubicBezTo>
                  <a:pt x="450" y="995"/>
                  <a:pt x="452" y="993"/>
                  <a:pt x="453" y="992"/>
                </a:cubicBezTo>
                <a:lnTo>
                  <a:pt x="458" y="987"/>
                </a:lnTo>
                <a:cubicBezTo>
                  <a:pt x="462" y="983"/>
                  <a:pt x="466" y="979"/>
                  <a:pt x="471" y="976"/>
                </a:cubicBezTo>
                <a:cubicBezTo>
                  <a:pt x="485" y="965"/>
                  <a:pt x="499" y="954"/>
                  <a:pt x="515" y="945"/>
                </a:cubicBezTo>
                <a:cubicBezTo>
                  <a:pt x="530" y="936"/>
                  <a:pt x="547" y="927"/>
                  <a:pt x="566" y="917"/>
                </a:cubicBezTo>
                <a:lnTo>
                  <a:pt x="580" y="910"/>
                </a:lnTo>
                <a:cubicBezTo>
                  <a:pt x="593" y="903"/>
                  <a:pt x="607" y="896"/>
                  <a:pt x="620" y="888"/>
                </a:cubicBezTo>
                <a:cubicBezTo>
                  <a:pt x="642" y="877"/>
                  <a:pt x="658" y="866"/>
                  <a:pt x="672" y="855"/>
                </a:cubicBezTo>
                <a:cubicBezTo>
                  <a:pt x="689" y="841"/>
                  <a:pt x="703" y="827"/>
                  <a:pt x="713" y="812"/>
                </a:cubicBezTo>
                <a:cubicBezTo>
                  <a:pt x="723" y="796"/>
                  <a:pt x="731" y="779"/>
                  <a:pt x="736" y="760"/>
                </a:cubicBezTo>
                <a:cubicBezTo>
                  <a:pt x="740" y="744"/>
                  <a:pt x="742" y="727"/>
                  <a:pt x="743" y="706"/>
                </a:cubicBezTo>
                <a:lnTo>
                  <a:pt x="743" y="704"/>
                </a:lnTo>
                <a:lnTo>
                  <a:pt x="743" y="697"/>
                </a:lnTo>
                <a:cubicBezTo>
                  <a:pt x="743" y="696"/>
                  <a:pt x="743" y="694"/>
                  <a:pt x="742" y="693"/>
                </a:cubicBezTo>
                <a:lnTo>
                  <a:pt x="742" y="687"/>
                </a:lnTo>
                <a:cubicBezTo>
                  <a:pt x="742" y="685"/>
                  <a:pt x="741" y="683"/>
                  <a:pt x="741" y="681"/>
                </a:cubicBezTo>
                <a:lnTo>
                  <a:pt x="741" y="680"/>
                </a:lnTo>
                <a:cubicBezTo>
                  <a:pt x="740" y="677"/>
                  <a:pt x="739" y="673"/>
                  <a:pt x="738" y="670"/>
                </a:cubicBezTo>
                <a:lnTo>
                  <a:pt x="738" y="668"/>
                </a:lnTo>
                <a:cubicBezTo>
                  <a:pt x="737" y="667"/>
                  <a:pt x="737" y="666"/>
                  <a:pt x="737" y="665"/>
                </a:cubicBezTo>
                <a:lnTo>
                  <a:pt x="735" y="660"/>
                </a:lnTo>
                <a:cubicBezTo>
                  <a:pt x="729" y="645"/>
                  <a:pt x="720" y="634"/>
                  <a:pt x="713" y="628"/>
                </a:cubicBezTo>
                <a:cubicBezTo>
                  <a:pt x="712" y="627"/>
                  <a:pt x="710" y="625"/>
                  <a:pt x="709" y="624"/>
                </a:cubicBezTo>
                <a:cubicBezTo>
                  <a:pt x="708" y="624"/>
                  <a:pt x="708" y="623"/>
                  <a:pt x="707" y="623"/>
                </a:cubicBezTo>
                <a:cubicBezTo>
                  <a:pt x="700" y="618"/>
                  <a:pt x="693" y="616"/>
                  <a:pt x="689" y="615"/>
                </a:cubicBezTo>
                <a:cubicBezTo>
                  <a:pt x="686" y="614"/>
                  <a:pt x="683" y="613"/>
                  <a:pt x="679" y="613"/>
                </a:cubicBezTo>
                <a:cubicBezTo>
                  <a:pt x="677" y="613"/>
                  <a:pt x="674" y="614"/>
                  <a:pt x="672" y="614"/>
                </a:cubicBezTo>
                <a:cubicBezTo>
                  <a:pt x="679" y="622"/>
                  <a:pt x="684" y="629"/>
                  <a:pt x="688" y="637"/>
                </a:cubicBezTo>
                <a:cubicBezTo>
                  <a:pt x="693" y="645"/>
                  <a:pt x="697" y="654"/>
                  <a:pt x="699" y="663"/>
                </a:cubicBezTo>
                <a:cubicBezTo>
                  <a:pt x="701" y="670"/>
                  <a:pt x="703" y="678"/>
                  <a:pt x="704" y="687"/>
                </a:cubicBezTo>
                <a:cubicBezTo>
                  <a:pt x="705" y="694"/>
                  <a:pt x="705" y="700"/>
                  <a:pt x="706" y="705"/>
                </a:cubicBezTo>
                <a:lnTo>
                  <a:pt x="706" y="713"/>
                </a:lnTo>
                <a:cubicBezTo>
                  <a:pt x="707" y="717"/>
                  <a:pt x="707" y="720"/>
                  <a:pt x="707" y="723"/>
                </a:cubicBezTo>
                <a:cubicBezTo>
                  <a:pt x="707" y="728"/>
                  <a:pt x="708" y="731"/>
                  <a:pt x="708" y="733"/>
                </a:cubicBezTo>
                <a:lnTo>
                  <a:pt x="709" y="737"/>
                </a:lnTo>
                <a:cubicBezTo>
                  <a:pt x="709" y="739"/>
                  <a:pt x="708" y="740"/>
                  <a:pt x="706" y="741"/>
                </a:cubicBezTo>
                <a:lnTo>
                  <a:pt x="705" y="741"/>
                </a:lnTo>
                <a:cubicBezTo>
                  <a:pt x="704" y="741"/>
                  <a:pt x="702" y="740"/>
                  <a:pt x="702" y="739"/>
                </a:cubicBezTo>
                <a:lnTo>
                  <a:pt x="701" y="735"/>
                </a:lnTo>
                <a:cubicBezTo>
                  <a:pt x="700" y="733"/>
                  <a:pt x="699" y="729"/>
                  <a:pt x="698" y="725"/>
                </a:cubicBezTo>
                <a:cubicBezTo>
                  <a:pt x="697" y="721"/>
                  <a:pt x="696" y="715"/>
                  <a:pt x="695" y="709"/>
                </a:cubicBezTo>
                <a:lnTo>
                  <a:pt x="695" y="708"/>
                </a:lnTo>
                <a:cubicBezTo>
                  <a:pt x="694" y="703"/>
                  <a:pt x="692" y="696"/>
                  <a:pt x="691" y="690"/>
                </a:cubicBezTo>
                <a:cubicBezTo>
                  <a:pt x="687" y="672"/>
                  <a:pt x="682" y="658"/>
                  <a:pt x="674" y="645"/>
                </a:cubicBezTo>
                <a:cubicBezTo>
                  <a:pt x="669" y="638"/>
                  <a:pt x="663" y="631"/>
                  <a:pt x="657" y="624"/>
                </a:cubicBezTo>
                <a:cubicBezTo>
                  <a:pt x="651" y="618"/>
                  <a:pt x="644" y="612"/>
                  <a:pt x="636" y="606"/>
                </a:cubicBezTo>
                <a:cubicBezTo>
                  <a:pt x="632" y="603"/>
                  <a:pt x="628" y="600"/>
                  <a:pt x="624" y="598"/>
                </a:cubicBezTo>
                <a:cubicBezTo>
                  <a:pt x="621" y="595"/>
                  <a:pt x="617" y="593"/>
                  <a:pt x="613" y="590"/>
                </a:cubicBezTo>
                <a:cubicBezTo>
                  <a:pt x="603" y="585"/>
                  <a:pt x="595" y="580"/>
                  <a:pt x="588" y="576"/>
                </a:cubicBezTo>
                <a:cubicBezTo>
                  <a:pt x="584" y="574"/>
                  <a:pt x="580" y="572"/>
                  <a:pt x="576" y="570"/>
                </a:cubicBezTo>
                <a:cubicBezTo>
                  <a:pt x="571" y="568"/>
                  <a:pt x="568" y="567"/>
                  <a:pt x="564" y="565"/>
                </a:cubicBezTo>
                <a:lnTo>
                  <a:pt x="553" y="560"/>
                </a:lnTo>
                <a:lnTo>
                  <a:pt x="542" y="555"/>
                </a:lnTo>
                <a:cubicBezTo>
                  <a:pt x="538" y="553"/>
                  <a:pt x="535" y="551"/>
                  <a:pt x="531" y="550"/>
                </a:cubicBezTo>
                <a:cubicBezTo>
                  <a:pt x="528" y="549"/>
                  <a:pt x="526" y="548"/>
                  <a:pt x="524" y="547"/>
                </a:cubicBezTo>
                <a:cubicBezTo>
                  <a:pt x="519" y="545"/>
                  <a:pt x="515" y="543"/>
                  <a:pt x="511" y="542"/>
                </a:cubicBezTo>
                <a:lnTo>
                  <a:pt x="509" y="541"/>
                </a:lnTo>
                <a:cubicBezTo>
                  <a:pt x="506" y="539"/>
                  <a:pt x="503" y="538"/>
                  <a:pt x="501" y="537"/>
                </a:cubicBezTo>
                <a:lnTo>
                  <a:pt x="497" y="536"/>
                </a:lnTo>
                <a:cubicBezTo>
                  <a:pt x="495" y="535"/>
                  <a:pt x="494" y="533"/>
                  <a:pt x="495" y="531"/>
                </a:cubicBezTo>
                <a:cubicBezTo>
                  <a:pt x="495" y="529"/>
                  <a:pt x="497" y="529"/>
                  <a:pt x="498" y="529"/>
                </a:cubicBezTo>
                <a:lnTo>
                  <a:pt x="499" y="529"/>
                </a:lnTo>
                <a:lnTo>
                  <a:pt x="503" y="529"/>
                </a:lnTo>
                <a:cubicBezTo>
                  <a:pt x="505" y="530"/>
                  <a:pt x="508" y="530"/>
                  <a:pt x="513" y="531"/>
                </a:cubicBezTo>
                <a:cubicBezTo>
                  <a:pt x="517" y="532"/>
                  <a:pt x="522" y="534"/>
                  <a:pt x="528" y="535"/>
                </a:cubicBezTo>
                <a:cubicBezTo>
                  <a:pt x="534" y="537"/>
                  <a:pt x="541" y="539"/>
                  <a:pt x="548" y="541"/>
                </a:cubicBezTo>
                <a:cubicBezTo>
                  <a:pt x="551" y="542"/>
                  <a:pt x="555" y="543"/>
                  <a:pt x="559" y="545"/>
                </a:cubicBezTo>
                <a:lnTo>
                  <a:pt x="571" y="549"/>
                </a:lnTo>
                <a:cubicBezTo>
                  <a:pt x="574" y="550"/>
                  <a:pt x="577" y="551"/>
                  <a:pt x="580" y="553"/>
                </a:cubicBezTo>
                <a:lnTo>
                  <a:pt x="583" y="554"/>
                </a:lnTo>
                <a:cubicBezTo>
                  <a:pt x="587" y="556"/>
                  <a:pt x="591" y="557"/>
                  <a:pt x="594" y="559"/>
                </a:cubicBezTo>
                <a:lnTo>
                  <a:pt x="594" y="557"/>
                </a:lnTo>
                <a:cubicBezTo>
                  <a:pt x="594" y="555"/>
                  <a:pt x="593" y="552"/>
                  <a:pt x="593" y="549"/>
                </a:cubicBezTo>
                <a:lnTo>
                  <a:pt x="592" y="543"/>
                </a:lnTo>
                <a:cubicBezTo>
                  <a:pt x="591" y="542"/>
                  <a:pt x="590" y="537"/>
                  <a:pt x="590" y="537"/>
                </a:cubicBezTo>
                <a:cubicBezTo>
                  <a:pt x="589" y="534"/>
                  <a:pt x="588" y="531"/>
                  <a:pt x="587" y="527"/>
                </a:cubicBezTo>
                <a:lnTo>
                  <a:pt x="586" y="524"/>
                </a:lnTo>
                <a:cubicBezTo>
                  <a:pt x="585" y="523"/>
                  <a:pt x="585" y="521"/>
                  <a:pt x="584" y="520"/>
                </a:cubicBezTo>
                <a:lnTo>
                  <a:pt x="581" y="514"/>
                </a:lnTo>
                <a:lnTo>
                  <a:pt x="578" y="508"/>
                </a:lnTo>
                <a:cubicBezTo>
                  <a:pt x="577" y="507"/>
                  <a:pt x="577" y="506"/>
                  <a:pt x="576" y="504"/>
                </a:cubicBezTo>
                <a:lnTo>
                  <a:pt x="571" y="498"/>
                </a:lnTo>
                <a:lnTo>
                  <a:pt x="569" y="496"/>
                </a:lnTo>
                <a:cubicBezTo>
                  <a:pt x="567" y="493"/>
                  <a:pt x="564" y="490"/>
                  <a:pt x="561" y="487"/>
                </a:cubicBezTo>
                <a:cubicBezTo>
                  <a:pt x="558" y="484"/>
                  <a:pt x="555" y="482"/>
                  <a:pt x="552" y="480"/>
                </a:cubicBezTo>
                <a:lnTo>
                  <a:pt x="549" y="478"/>
                </a:lnTo>
                <a:lnTo>
                  <a:pt x="546" y="476"/>
                </a:lnTo>
                <a:cubicBezTo>
                  <a:pt x="543" y="474"/>
                  <a:pt x="540" y="472"/>
                  <a:pt x="537" y="471"/>
                </a:cubicBezTo>
                <a:lnTo>
                  <a:pt x="535" y="470"/>
                </a:lnTo>
                <a:cubicBezTo>
                  <a:pt x="534" y="470"/>
                  <a:pt x="533" y="469"/>
                  <a:pt x="531" y="469"/>
                </a:cubicBezTo>
                <a:lnTo>
                  <a:pt x="526" y="467"/>
                </a:lnTo>
                <a:cubicBezTo>
                  <a:pt x="523" y="466"/>
                  <a:pt x="520" y="466"/>
                  <a:pt x="518" y="465"/>
                </a:cubicBezTo>
                <a:lnTo>
                  <a:pt x="514" y="464"/>
                </a:lnTo>
                <a:cubicBezTo>
                  <a:pt x="513" y="464"/>
                  <a:pt x="512" y="464"/>
                  <a:pt x="511" y="464"/>
                </a:cubicBezTo>
                <a:lnTo>
                  <a:pt x="500" y="463"/>
                </a:lnTo>
                <a:cubicBezTo>
                  <a:pt x="498" y="463"/>
                  <a:pt x="496" y="461"/>
                  <a:pt x="496" y="459"/>
                </a:cubicBezTo>
                <a:cubicBezTo>
                  <a:pt x="497" y="457"/>
                  <a:pt x="498" y="455"/>
                  <a:pt x="500" y="455"/>
                </a:cubicBezTo>
                <a:lnTo>
                  <a:pt x="512" y="456"/>
                </a:lnTo>
                <a:cubicBezTo>
                  <a:pt x="513" y="456"/>
                  <a:pt x="514" y="456"/>
                  <a:pt x="515" y="456"/>
                </a:cubicBezTo>
                <a:lnTo>
                  <a:pt x="519" y="457"/>
                </a:lnTo>
                <a:cubicBezTo>
                  <a:pt x="522" y="457"/>
                  <a:pt x="525" y="457"/>
                  <a:pt x="528" y="458"/>
                </a:cubicBezTo>
                <a:lnTo>
                  <a:pt x="534" y="460"/>
                </a:lnTo>
                <a:cubicBezTo>
                  <a:pt x="536" y="460"/>
                  <a:pt x="537" y="461"/>
                  <a:pt x="539" y="461"/>
                </a:cubicBezTo>
                <a:lnTo>
                  <a:pt x="541" y="462"/>
                </a:lnTo>
                <a:cubicBezTo>
                  <a:pt x="545" y="463"/>
                  <a:pt x="548" y="465"/>
                  <a:pt x="551" y="467"/>
                </a:cubicBezTo>
                <a:lnTo>
                  <a:pt x="555" y="469"/>
                </a:lnTo>
                <a:lnTo>
                  <a:pt x="558" y="471"/>
                </a:lnTo>
                <a:cubicBezTo>
                  <a:pt x="562" y="473"/>
                  <a:pt x="565" y="475"/>
                  <a:pt x="569" y="478"/>
                </a:cubicBezTo>
                <a:cubicBezTo>
                  <a:pt x="572" y="481"/>
                  <a:pt x="576" y="485"/>
                  <a:pt x="579" y="488"/>
                </a:cubicBezTo>
                <a:lnTo>
                  <a:pt x="581" y="490"/>
                </a:lnTo>
                <a:lnTo>
                  <a:pt x="586" y="497"/>
                </a:lnTo>
                <a:cubicBezTo>
                  <a:pt x="587" y="498"/>
                  <a:pt x="588" y="500"/>
                  <a:pt x="589" y="501"/>
                </a:cubicBezTo>
                <a:lnTo>
                  <a:pt x="593" y="507"/>
                </a:lnTo>
                <a:lnTo>
                  <a:pt x="597" y="513"/>
                </a:lnTo>
                <a:cubicBezTo>
                  <a:pt x="598" y="515"/>
                  <a:pt x="598" y="517"/>
                  <a:pt x="599" y="518"/>
                </a:cubicBezTo>
                <a:lnTo>
                  <a:pt x="601" y="521"/>
                </a:lnTo>
                <a:cubicBezTo>
                  <a:pt x="602" y="525"/>
                  <a:pt x="604" y="529"/>
                  <a:pt x="605" y="533"/>
                </a:cubicBezTo>
                <a:lnTo>
                  <a:pt x="606" y="535"/>
                </a:lnTo>
                <a:cubicBezTo>
                  <a:pt x="606" y="536"/>
                  <a:pt x="607" y="538"/>
                  <a:pt x="607" y="539"/>
                </a:cubicBezTo>
                <a:lnTo>
                  <a:pt x="609" y="546"/>
                </a:lnTo>
                <a:cubicBezTo>
                  <a:pt x="610" y="549"/>
                  <a:pt x="610" y="552"/>
                  <a:pt x="611" y="555"/>
                </a:cubicBezTo>
                <a:lnTo>
                  <a:pt x="612" y="562"/>
                </a:lnTo>
                <a:lnTo>
                  <a:pt x="613" y="568"/>
                </a:lnTo>
                <a:cubicBezTo>
                  <a:pt x="616" y="570"/>
                  <a:pt x="619" y="572"/>
                  <a:pt x="622" y="574"/>
                </a:cubicBezTo>
                <a:lnTo>
                  <a:pt x="628" y="577"/>
                </a:lnTo>
                <a:cubicBezTo>
                  <a:pt x="630" y="579"/>
                  <a:pt x="631" y="579"/>
                  <a:pt x="633" y="581"/>
                </a:cubicBezTo>
                <a:lnTo>
                  <a:pt x="635" y="582"/>
                </a:lnTo>
                <a:cubicBezTo>
                  <a:pt x="639" y="585"/>
                  <a:pt x="643" y="588"/>
                  <a:pt x="647" y="591"/>
                </a:cubicBezTo>
                <a:cubicBezTo>
                  <a:pt x="651" y="594"/>
                  <a:pt x="654" y="597"/>
                  <a:pt x="658" y="599"/>
                </a:cubicBezTo>
                <a:cubicBezTo>
                  <a:pt x="658" y="599"/>
                  <a:pt x="658" y="599"/>
                  <a:pt x="659" y="599"/>
                </a:cubicBezTo>
                <a:lnTo>
                  <a:pt x="661" y="598"/>
                </a:lnTo>
                <a:cubicBezTo>
                  <a:pt x="663" y="597"/>
                  <a:pt x="665" y="597"/>
                  <a:pt x="667" y="596"/>
                </a:cubicBezTo>
                <a:cubicBezTo>
                  <a:pt x="671" y="595"/>
                  <a:pt x="676" y="594"/>
                  <a:pt x="683" y="594"/>
                </a:cubicBezTo>
                <a:cubicBezTo>
                  <a:pt x="686" y="594"/>
                  <a:pt x="689" y="594"/>
                  <a:pt x="693" y="595"/>
                </a:cubicBezTo>
                <a:cubicBezTo>
                  <a:pt x="695" y="595"/>
                  <a:pt x="696" y="596"/>
                  <a:pt x="698" y="596"/>
                </a:cubicBezTo>
                <a:lnTo>
                  <a:pt x="697" y="590"/>
                </a:lnTo>
                <a:cubicBezTo>
                  <a:pt x="697" y="588"/>
                  <a:pt x="697" y="586"/>
                  <a:pt x="697" y="585"/>
                </a:cubicBezTo>
                <a:lnTo>
                  <a:pt x="696" y="579"/>
                </a:lnTo>
                <a:lnTo>
                  <a:pt x="696" y="572"/>
                </a:lnTo>
                <a:cubicBezTo>
                  <a:pt x="696" y="568"/>
                  <a:pt x="697" y="564"/>
                  <a:pt x="697" y="561"/>
                </a:cubicBezTo>
                <a:cubicBezTo>
                  <a:pt x="698" y="554"/>
                  <a:pt x="701" y="546"/>
                  <a:pt x="704" y="539"/>
                </a:cubicBezTo>
                <a:cubicBezTo>
                  <a:pt x="707" y="532"/>
                  <a:pt x="712" y="526"/>
                  <a:pt x="717" y="519"/>
                </a:cubicBezTo>
                <a:cubicBezTo>
                  <a:pt x="722" y="513"/>
                  <a:pt x="727" y="507"/>
                  <a:pt x="733" y="502"/>
                </a:cubicBezTo>
                <a:cubicBezTo>
                  <a:pt x="738" y="496"/>
                  <a:pt x="743" y="491"/>
                  <a:pt x="747" y="486"/>
                </a:cubicBezTo>
                <a:cubicBezTo>
                  <a:pt x="752" y="481"/>
                  <a:pt x="756" y="476"/>
                  <a:pt x="759" y="471"/>
                </a:cubicBezTo>
                <a:cubicBezTo>
                  <a:pt x="762" y="466"/>
                  <a:pt x="765" y="461"/>
                  <a:pt x="767" y="456"/>
                </a:cubicBezTo>
                <a:cubicBezTo>
                  <a:pt x="769" y="451"/>
                  <a:pt x="770" y="446"/>
                  <a:pt x="771" y="441"/>
                </a:cubicBezTo>
                <a:lnTo>
                  <a:pt x="771" y="438"/>
                </a:lnTo>
                <a:lnTo>
                  <a:pt x="775" y="437"/>
                </a:lnTo>
                <a:lnTo>
                  <a:pt x="771" y="437"/>
                </a:lnTo>
                <a:cubicBezTo>
                  <a:pt x="771" y="437"/>
                  <a:pt x="772" y="430"/>
                  <a:pt x="772" y="430"/>
                </a:cubicBezTo>
                <a:cubicBezTo>
                  <a:pt x="772" y="430"/>
                  <a:pt x="772" y="425"/>
                  <a:pt x="772" y="425"/>
                </a:cubicBezTo>
                <a:cubicBezTo>
                  <a:pt x="772" y="424"/>
                  <a:pt x="772" y="423"/>
                  <a:pt x="771" y="422"/>
                </a:cubicBezTo>
                <a:cubicBezTo>
                  <a:pt x="771" y="420"/>
                  <a:pt x="771" y="418"/>
                  <a:pt x="771" y="417"/>
                </a:cubicBezTo>
                <a:cubicBezTo>
                  <a:pt x="771" y="415"/>
                  <a:pt x="771" y="414"/>
                  <a:pt x="770" y="414"/>
                </a:cubicBezTo>
                <a:lnTo>
                  <a:pt x="769" y="407"/>
                </a:lnTo>
                <a:cubicBezTo>
                  <a:pt x="769" y="405"/>
                  <a:pt x="770" y="403"/>
                  <a:pt x="771" y="403"/>
                </a:cubicBezTo>
                <a:cubicBezTo>
                  <a:pt x="772" y="402"/>
                  <a:pt x="772" y="402"/>
                  <a:pt x="773" y="402"/>
                </a:cubicBezTo>
                <a:cubicBezTo>
                  <a:pt x="774" y="402"/>
                  <a:pt x="775" y="403"/>
                  <a:pt x="776" y="404"/>
                </a:cubicBezTo>
                <a:lnTo>
                  <a:pt x="778" y="408"/>
                </a:lnTo>
                <a:cubicBezTo>
                  <a:pt x="779" y="409"/>
                  <a:pt x="780" y="411"/>
                  <a:pt x="781" y="413"/>
                </a:cubicBezTo>
                <a:cubicBezTo>
                  <a:pt x="783" y="416"/>
                  <a:pt x="785" y="420"/>
                  <a:pt x="786" y="425"/>
                </a:cubicBezTo>
                <a:cubicBezTo>
                  <a:pt x="787" y="427"/>
                  <a:pt x="787" y="430"/>
                  <a:pt x="787" y="432"/>
                </a:cubicBezTo>
                <a:lnTo>
                  <a:pt x="784" y="435"/>
                </a:lnTo>
                <a:lnTo>
                  <a:pt x="788" y="435"/>
                </a:lnTo>
                <a:cubicBezTo>
                  <a:pt x="788" y="435"/>
                  <a:pt x="788" y="436"/>
                  <a:pt x="788" y="436"/>
                </a:cubicBezTo>
                <a:cubicBezTo>
                  <a:pt x="788" y="436"/>
                  <a:pt x="789" y="441"/>
                  <a:pt x="789" y="442"/>
                </a:cubicBezTo>
                <a:cubicBezTo>
                  <a:pt x="789" y="448"/>
                  <a:pt x="789" y="454"/>
                  <a:pt x="787" y="462"/>
                </a:cubicBezTo>
                <a:cubicBezTo>
                  <a:pt x="787" y="464"/>
                  <a:pt x="786" y="465"/>
                  <a:pt x="785" y="467"/>
                </a:cubicBezTo>
                <a:lnTo>
                  <a:pt x="786" y="467"/>
                </a:lnTo>
                <a:cubicBezTo>
                  <a:pt x="788" y="469"/>
                  <a:pt x="789" y="471"/>
                  <a:pt x="791" y="472"/>
                </a:cubicBezTo>
                <a:cubicBezTo>
                  <a:pt x="792" y="474"/>
                  <a:pt x="794" y="475"/>
                  <a:pt x="795" y="477"/>
                </a:cubicBezTo>
                <a:cubicBezTo>
                  <a:pt x="796" y="478"/>
                  <a:pt x="797" y="479"/>
                  <a:pt x="798" y="481"/>
                </a:cubicBezTo>
                <a:lnTo>
                  <a:pt x="799" y="482"/>
                </a:lnTo>
                <a:cubicBezTo>
                  <a:pt x="800" y="483"/>
                  <a:pt x="801" y="485"/>
                  <a:pt x="801" y="486"/>
                </a:cubicBezTo>
                <a:lnTo>
                  <a:pt x="802" y="487"/>
                </a:lnTo>
                <a:cubicBezTo>
                  <a:pt x="803" y="489"/>
                  <a:pt x="804" y="490"/>
                  <a:pt x="805" y="492"/>
                </a:cubicBezTo>
                <a:lnTo>
                  <a:pt x="805" y="493"/>
                </a:lnTo>
                <a:cubicBezTo>
                  <a:pt x="806" y="495"/>
                  <a:pt x="807" y="497"/>
                  <a:pt x="808" y="499"/>
                </a:cubicBezTo>
                <a:lnTo>
                  <a:pt x="809" y="501"/>
                </a:lnTo>
                <a:cubicBezTo>
                  <a:pt x="809" y="502"/>
                  <a:pt x="810" y="503"/>
                  <a:pt x="810" y="505"/>
                </a:cubicBezTo>
                <a:lnTo>
                  <a:pt x="812" y="510"/>
                </a:lnTo>
                <a:cubicBezTo>
                  <a:pt x="813" y="511"/>
                  <a:pt x="813" y="513"/>
                  <a:pt x="813" y="514"/>
                </a:cubicBezTo>
                <a:lnTo>
                  <a:pt x="814" y="516"/>
                </a:lnTo>
                <a:cubicBezTo>
                  <a:pt x="815" y="519"/>
                  <a:pt x="815" y="520"/>
                  <a:pt x="815" y="522"/>
                </a:cubicBezTo>
                <a:lnTo>
                  <a:pt x="816" y="528"/>
                </a:lnTo>
                <a:cubicBezTo>
                  <a:pt x="816" y="529"/>
                  <a:pt x="817" y="531"/>
                  <a:pt x="817" y="532"/>
                </a:cubicBezTo>
                <a:lnTo>
                  <a:pt x="817" y="540"/>
                </a:lnTo>
                <a:lnTo>
                  <a:pt x="818" y="552"/>
                </a:lnTo>
                <a:cubicBezTo>
                  <a:pt x="818" y="553"/>
                  <a:pt x="816" y="555"/>
                  <a:pt x="814" y="555"/>
                </a:cubicBezTo>
                <a:lnTo>
                  <a:pt x="814" y="555"/>
                </a:lnTo>
                <a:cubicBezTo>
                  <a:pt x="812" y="555"/>
                  <a:pt x="810" y="554"/>
                  <a:pt x="810" y="552"/>
                </a:cubicBezTo>
                <a:lnTo>
                  <a:pt x="809" y="541"/>
                </a:lnTo>
                <a:lnTo>
                  <a:pt x="807" y="533"/>
                </a:lnTo>
                <a:cubicBezTo>
                  <a:pt x="807" y="532"/>
                  <a:pt x="807" y="531"/>
                  <a:pt x="806" y="530"/>
                </a:cubicBezTo>
                <a:lnTo>
                  <a:pt x="805" y="525"/>
                </a:lnTo>
                <a:cubicBezTo>
                  <a:pt x="804" y="523"/>
                  <a:pt x="804" y="522"/>
                  <a:pt x="803" y="520"/>
                </a:cubicBezTo>
                <a:lnTo>
                  <a:pt x="802" y="518"/>
                </a:lnTo>
                <a:cubicBezTo>
                  <a:pt x="802" y="516"/>
                  <a:pt x="801" y="515"/>
                  <a:pt x="801" y="514"/>
                </a:cubicBezTo>
                <a:lnTo>
                  <a:pt x="799" y="509"/>
                </a:lnTo>
                <a:cubicBezTo>
                  <a:pt x="798" y="508"/>
                  <a:pt x="798" y="507"/>
                  <a:pt x="797" y="506"/>
                </a:cubicBezTo>
                <a:lnTo>
                  <a:pt x="796" y="504"/>
                </a:lnTo>
                <a:cubicBezTo>
                  <a:pt x="795" y="503"/>
                  <a:pt x="794" y="501"/>
                  <a:pt x="793" y="500"/>
                </a:cubicBezTo>
                <a:lnTo>
                  <a:pt x="792" y="499"/>
                </a:lnTo>
                <a:cubicBezTo>
                  <a:pt x="792" y="498"/>
                  <a:pt x="791" y="497"/>
                  <a:pt x="790" y="496"/>
                </a:cubicBezTo>
                <a:lnTo>
                  <a:pt x="789" y="494"/>
                </a:lnTo>
                <a:cubicBezTo>
                  <a:pt x="788" y="493"/>
                  <a:pt x="788" y="492"/>
                  <a:pt x="787" y="492"/>
                </a:cubicBezTo>
                <a:lnTo>
                  <a:pt x="786" y="491"/>
                </a:lnTo>
                <a:cubicBezTo>
                  <a:pt x="785" y="490"/>
                  <a:pt x="784" y="489"/>
                  <a:pt x="783" y="488"/>
                </a:cubicBezTo>
                <a:cubicBezTo>
                  <a:pt x="782" y="487"/>
                  <a:pt x="781" y="485"/>
                  <a:pt x="780" y="484"/>
                </a:cubicBezTo>
                <a:cubicBezTo>
                  <a:pt x="779" y="484"/>
                  <a:pt x="779" y="484"/>
                  <a:pt x="779" y="484"/>
                </a:cubicBezTo>
                <a:cubicBezTo>
                  <a:pt x="775" y="490"/>
                  <a:pt x="771" y="496"/>
                  <a:pt x="766" y="502"/>
                </a:cubicBezTo>
                <a:cubicBezTo>
                  <a:pt x="761" y="508"/>
                  <a:pt x="757" y="513"/>
                  <a:pt x="752" y="517"/>
                </a:cubicBezTo>
                <a:lnTo>
                  <a:pt x="752" y="518"/>
                </a:lnTo>
                <a:cubicBezTo>
                  <a:pt x="753" y="519"/>
                  <a:pt x="755" y="520"/>
                  <a:pt x="756" y="522"/>
                </a:cubicBezTo>
                <a:cubicBezTo>
                  <a:pt x="758" y="523"/>
                  <a:pt x="760" y="525"/>
                  <a:pt x="762" y="527"/>
                </a:cubicBezTo>
                <a:lnTo>
                  <a:pt x="764" y="528"/>
                </a:lnTo>
                <a:lnTo>
                  <a:pt x="765" y="529"/>
                </a:lnTo>
                <a:cubicBezTo>
                  <a:pt x="767" y="531"/>
                  <a:pt x="769" y="534"/>
                  <a:pt x="771" y="536"/>
                </a:cubicBezTo>
                <a:cubicBezTo>
                  <a:pt x="772" y="538"/>
                  <a:pt x="773" y="539"/>
                  <a:pt x="774" y="541"/>
                </a:cubicBezTo>
                <a:lnTo>
                  <a:pt x="775" y="542"/>
                </a:lnTo>
                <a:cubicBezTo>
                  <a:pt x="776" y="543"/>
                  <a:pt x="777" y="544"/>
                  <a:pt x="777" y="545"/>
                </a:cubicBezTo>
                <a:lnTo>
                  <a:pt x="780" y="550"/>
                </a:lnTo>
                <a:lnTo>
                  <a:pt x="783" y="555"/>
                </a:lnTo>
                <a:cubicBezTo>
                  <a:pt x="785" y="559"/>
                  <a:pt x="786" y="563"/>
                  <a:pt x="787" y="566"/>
                </a:cubicBezTo>
                <a:cubicBezTo>
                  <a:pt x="788" y="568"/>
                  <a:pt x="789" y="570"/>
                  <a:pt x="789" y="572"/>
                </a:cubicBezTo>
                <a:lnTo>
                  <a:pt x="789" y="573"/>
                </a:lnTo>
                <a:cubicBezTo>
                  <a:pt x="790" y="574"/>
                  <a:pt x="790" y="576"/>
                  <a:pt x="790" y="577"/>
                </a:cubicBezTo>
                <a:lnTo>
                  <a:pt x="791" y="582"/>
                </a:lnTo>
                <a:lnTo>
                  <a:pt x="792" y="587"/>
                </a:lnTo>
                <a:cubicBezTo>
                  <a:pt x="792" y="590"/>
                  <a:pt x="793" y="593"/>
                  <a:pt x="793" y="596"/>
                </a:cubicBezTo>
                <a:lnTo>
                  <a:pt x="793" y="599"/>
                </a:lnTo>
                <a:cubicBezTo>
                  <a:pt x="793" y="601"/>
                  <a:pt x="793" y="603"/>
                  <a:pt x="792" y="604"/>
                </a:cubicBezTo>
                <a:lnTo>
                  <a:pt x="791" y="615"/>
                </a:lnTo>
                <a:cubicBezTo>
                  <a:pt x="791" y="617"/>
                  <a:pt x="789" y="618"/>
                  <a:pt x="787" y="618"/>
                </a:cubicBezTo>
                <a:lnTo>
                  <a:pt x="787" y="618"/>
                </a:lnTo>
                <a:cubicBezTo>
                  <a:pt x="785" y="618"/>
                  <a:pt x="784" y="616"/>
                  <a:pt x="784" y="614"/>
                </a:cubicBezTo>
                <a:lnTo>
                  <a:pt x="784" y="604"/>
                </a:lnTo>
                <a:cubicBezTo>
                  <a:pt x="784" y="602"/>
                  <a:pt x="784" y="601"/>
                  <a:pt x="784" y="599"/>
                </a:cubicBezTo>
                <a:lnTo>
                  <a:pt x="784" y="597"/>
                </a:lnTo>
                <a:cubicBezTo>
                  <a:pt x="783" y="594"/>
                  <a:pt x="783" y="591"/>
                  <a:pt x="782" y="589"/>
                </a:cubicBezTo>
                <a:lnTo>
                  <a:pt x="781" y="585"/>
                </a:lnTo>
                <a:lnTo>
                  <a:pt x="780" y="580"/>
                </a:lnTo>
                <a:cubicBezTo>
                  <a:pt x="780" y="578"/>
                  <a:pt x="779" y="577"/>
                  <a:pt x="779" y="576"/>
                </a:cubicBezTo>
                <a:lnTo>
                  <a:pt x="778" y="575"/>
                </a:lnTo>
                <a:cubicBezTo>
                  <a:pt x="778" y="573"/>
                  <a:pt x="777" y="572"/>
                  <a:pt x="777" y="571"/>
                </a:cubicBezTo>
                <a:cubicBezTo>
                  <a:pt x="775" y="567"/>
                  <a:pt x="773" y="564"/>
                  <a:pt x="772" y="561"/>
                </a:cubicBezTo>
                <a:lnTo>
                  <a:pt x="769" y="557"/>
                </a:lnTo>
                <a:cubicBezTo>
                  <a:pt x="769" y="556"/>
                  <a:pt x="766" y="553"/>
                  <a:pt x="766" y="553"/>
                </a:cubicBezTo>
                <a:cubicBezTo>
                  <a:pt x="765" y="552"/>
                  <a:pt x="765" y="551"/>
                  <a:pt x="764" y="551"/>
                </a:cubicBezTo>
                <a:lnTo>
                  <a:pt x="763" y="549"/>
                </a:lnTo>
                <a:cubicBezTo>
                  <a:pt x="762" y="548"/>
                  <a:pt x="761" y="547"/>
                  <a:pt x="760" y="546"/>
                </a:cubicBezTo>
                <a:cubicBezTo>
                  <a:pt x="758" y="544"/>
                  <a:pt x="756" y="542"/>
                  <a:pt x="754" y="541"/>
                </a:cubicBezTo>
                <a:lnTo>
                  <a:pt x="753" y="540"/>
                </a:lnTo>
                <a:lnTo>
                  <a:pt x="751" y="538"/>
                </a:lnTo>
                <a:cubicBezTo>
                  <a:pt x="750" y="537"/>
                  <a:pt x="748" y="536"/>
                  <a:pt x="747" y="535"/>
                </a:cubicBezTo>
                <a:cubicBezTo>
                  <a:pt x="745" y="534"/>
                  <a:pt x="743" y="533"/>
                  <a:pt x="741" y="532"/>
                </a:cubicBezTo>
                <a:cubicBezTo>
                  <a:pt x="741" y="531"/>
                  <a:pt x="740" y="531"/>
                  <a:pt x="740" y="531"/>
                </a:cubicBezTo>
                <a:cubicBezTo>
                  <a:pt x="739" y="532"/>
                  <a:pt x="738" y="533"/>
                  <a:pt x="737" y="535"/>
                </a:cubicBezTo>
                <a:cubicBezTo>
                  <a:pt x="733" y="540"/>
                  <a:pt x="729" y="545"/>
                  <a:pt x="727" y="550"/>
                </a:cubicBezTo>
                <a:cubicBezTo>
                  <a:pt x="724" y="555"/>
                  <a:pt x="722" y="560"/>
                  <a:pt x="721" y="566"/>
                </a:cubicBezTo>
                <a:cubicBezTo>
                  <a:pt x="720" y="568"/>
                  <a:pt x="720" y="570"/>
                  <a:pt x="720" y="572"/>
                </a:cubicBezTo>
                <a:lnTo>
                  <a:pt x="719" y="573"/>
                </a:lnTo>
                <a:lnTo>
                  <a:pt x="719" y="577"/>
                </a:lnTo>
                <a:lnTo>
                  <a:pt x="715" y="578"/>
                </a:lnTo>
                <a:lnTo>
                  <a:pt x="719" y="579"/>
                </a:lnTo>
                <a:lnTo>
                  <a:pt x="719" y="583"/>
                </a:lnTo>
                <a:lnTo>
                  <a:pt x="719" y="588"/>
                </a:lnTo>
                <a:lnTo>
                  <a:pt x="719" y="594"/>
                </a:lnTo>
                <a:cubicBezTo>
                  <a:pt x="720" y="597"/>
                  <a:pt x="720" y="600"/>
                  <a:pt x="720" y="602"/>
                </a:cubicBezTo>
                <a:lnTo>
                  <a:pt x="721" y="605"/>
                </a:lnTo>
                <a:lnTo>
                  <a:pt x="721" y="607"/>
                </a:lnTo>
                <a:cubicBezTo>
                  <a:pt x="723" y="608"/>
                  <a:pt x="725" y="610"/>
                  <a:pt x="727" y="612"/>
                </a:cubicBezTo>
                <a:cubicBezTo>
                  <a:pt x="736" y="619"/>
                  <a:pt x="748" y="632"/>
                  <a:pt x="756" y="651"/>
                </a:cubicBezTo>
                <a:lnTo>
                  <a:pt x="759" y="657"/>
                </a:lnTo>
                <a:cubicBezTo>
                  <a:pt x="760" y="658"/>
                  <a:pt x="760" y="660"/>
                  <a:pt x="761" y="661"/>
                </a:cubicBezTo>
                <a:lnTo>
                  <a:pt x="761" y="663"/>
                </a:lnTo>
                <a:cubicBezTo>
                  <a:pt x="763" y="667"/>
                  <a:pt x="763" y="671"/>
                  <a:pt x="764" y="676"/>
                </a:cubicBezTo>
                <a:cubicBezTo>
                  <a:pt x="765" y="679"/>
                  <a:pt x="766" y="681"/>
                  <a:pt x="766" y="684"/>
                </a:cubicBezTo>
                <a:lnTo>
                  <a:pt x="767" y="691"/>
                </a:lnTo>
                <a:cubicBezTo>
                  <a:pt x="767" y="693"/>
                  <a:pt x="767" y="694"/>
                  <a:pt x="767" y="696"/>
                </a:cubicBezTo>
                <a:lnTo>
                  <a:pt x="768" y="703"/>
                </a:lnTo>
                <a:lnTo>
                  <a:pt x="768" y="705"/>
                </a:lnTo>
                <a:cubicBezTo>
                  <a:pt x="768" y="724"/>
                  <a:pt x="766" y="741"/>
                  <a:pt x="763" y="758"/>
                </a:cubicBezTo>
                <a:cubicBezTo>
                  <a:pt x="765" y="760"/>
                  <a:pt x="767" y="763"/>
                  <a:pt x="769" y="766"/>
                </a:cubicBezTo>
                <a:cubicBezTo>
                  <a:pt x="769" y="767"/>
                  <a:pt x="770" y="769"/>
                  <a:pt x="771" y="771"/>
                </a:cubicBezTo>
                <a:lnTo>
                  <a:pt x="774" y="775"/>
                </a:lnTo>
                <a:cubicBezTo>
                  <a:pt x="775" y="777"/>
                  <a:pt x="776" y="779"/>
                  <a:pt x="777" y="782"/>
                </a:cubicBezTo>
                <a:cubicBezTo>
                  <a:pt x="780" y="788"/>
                  <a:pt x="783" y="795"/>
                  <a:pt x="785" y="800"/>
                </a:cubicBezTo>
                <a:cubicBezTo>
                  <a:pt x="787" y="804"/>
                  <a:pt x="788" y="807"/>
                  <a:pt x="789" y="810"/>
                </a:cubicBezTo>
                <a:cubicBezTo>
                  <a:pt x="790" y="814"/>
                  <a:pt x="791" y="817"/>
                  <a:pt x="792" y="820"/>
                </a:cubicBezTo>
                <a:lnTo>
                  <a:pt x="792" y="822"/>
                </a:lnTo>
                <a:cubicBezTo>
                  <a:pt x="793" y="825"/>
                  <a:pt x="793" y="827"/>
                  <a:pt x="793" y="830"/>
                </a:cubicBezTo>
                <a:cubicBezTo>
                  <a:pt x="794" y="832"/>
                  <a:pt x="794" y="834"/>
                  <a:pt x="794" y="836"/>
                </a:cubicBezTo>
                <a:lnTo>
                  <a:pt x="795" y="838"/>
                </a:lnTo>
                <a:cubicBezTo>
                  <a:pt x="795" y="840"/>
                  <a:pt x="795" y="842"/>
                  <a:pt x="795" y="843"/>
                </a:cubicBezTo>
                <a:lnTo>
                  <a:pt x="795" y="846"/>
                </a:lnTo>
                <a:lnTo>
                  <a:pt x="794" y="851"/>
                </a:lnTo>
                <a:cubicBezTo>
                  <a:pt x="794" y="853"/>
                  <a:pt x="794" y="854"/>
                  <a:pt x="794" y="854"/>
                </a:cubicBezTo>
                <a:cubicBezTo>
                  <a:pt x="794" y="856"/>
                  <a:pt x="792" y="859"/>
                  <a:pt x="790" y="859"/>
                </a:cubicBezTo>
                <a:cubicBezTo>
                  <a:pt x="788" y="859"/>
                  <a:pt x="787" y="858"/>
                  <a:pt x="786" y="856"/>
                </a:cubicBezTo>
                <a:cubicBezTo>
                  <a:pt x="786" y="856"/>
                  <a:pt x="786" y="853"/>
                  <a:pt x="786" y="852"/>
                </a:cubicBezTo>
                <a:lnTo>
                  <a:pt x="785" y="847"/>
                </a:lnTo>
                <a:lnTo>
                  <a:pt x="785" y="845"/>
                </a:lnTo>
                <a:cubicBezTo>
                  <a:pt x="784" y="843"/>
                  <a:pt x="784" y="842"/>
                  <a:pt x="784" y="840"/>
                </a:cubicBezTo>
                <a:cubicBezTo>
                  <a:pt x="782" y="835"/>
                  <a:pt x="780" y="830"/>
                  <a:pt x="778" y="825"/>
                </a:cubicBezTo>
                <a:lnTo>
                  <a:pt x="777" y="824"/>
                </a:lnTo>
                <a:cubicBezTo>
                  <a:pt x="776" y="821"/>
                  <a:pt x="775" y="819"/>
                  <a:pt x="774" y="816"/>
                </a:cubicBezTo>
                <a:cubicBezTo>
                  <a:pt x="773" y="814"/>
                  <a:pt x="771" y="811"/>
                  <a:pt x="770" y="808"/>
                </a:cubicBezTo>
                <a:cubicBezTo>
                  <a:pt x="766" y="802"/>
                  <a:pt x="763" y="797"/>
                  <a:pt x="760" y="791"/>
                </a:cubicBezTo>
                <a:cubicBezTo>
                  <a:pt x="758" y="789"/>
                  <a:pt x="757" y="787"/>
                  <a:pt x="755" y="785"/>
                </a:cubicBezTo>
                <a:cubicBezTo>
                  <a:pt x="750" y="800"/>
                  <a:pt x="743" y="814"/>
                  <a:pt x="735" y="827"/>
                </a:cubicBezTo>
                <a:cubicBezTo>
                  <a:pt x="723" y="845"/>
                  <a:pt x="707" y="861"/>
                  <a:pt x="688" y="876"/>
                </a:cubicBezTo>
                <a:cubicBezTo>
                  <a:pt x="673" y="888"/>
                  <a:pt x="655" y="899"/>
                  <a:pt x="633" y="911"/>
                </a:cubicBezTo>
                <a:cubicBezTo>
                  <a:pt x="616" y="920"/>
                  <a:pt x="600" y="928"/>
                  <a:pt x="584" y="936"/>
                </a:cubicBezTo>
                <a:lnTo>
                  <a:pt x="568" y="943"/>
                </a:lnTo>
                <a:cubicBezTo>
                  <a:pt x="553" y="951"/>
                  <a:pt x="539" y="957"/>
                  <a:pt x="526" y="965"/>
                </a:cubicBezTo>
                <a:cubicBezTo>
                  <a:pt x="520" y="968"/>
                  <a:pt x="514" y="971"/>
                  <a:pt x="508" y="975"/>
                </a:cubicBezTo>
                <a:lnTo>
                  <a:pt x="503" y="978"/>
                </a:lnTo>
                <a:lnTo>
                  <a:pt x="499" y="980"/>
                </a:lnTo>
                <a:cubicBezTo>
                  <a:pt x="494" y="984"/>
                  <a:pt x="488" y="987"/>
                  <a:pt x="483" y="991"/>
                </a:cubicBezTo>
                <a:cubicBezTo>
                  <a:pt x="478" y="994"/>
                  <a:pt x="474" y="998"/>
                  <a:pt x="470" y="1001"/>
                </a:cubicBezTo>
                <a:lnTo>
                  <a:pt x="465" y="1005"/>
                </a:lnTo>
                <a:cubicBezTo>
                  <a:pt x="463" y="1006"/>
                  <a:pt x="457" y="1011"/>
                  <a:pt x="457" y="1011"/>
                </a:cubicBezTo>
                <a:cubicBezTo>
                  <a:pt x="455" y="1013"/>
                  <a:pt x="453" y="1016"/>
                  <a:pt x="451" y="1018"/>
                </a:cubicBezTo>
                <a:lnTo>
                  <a:pt x="447" y="1021"/>
                </a:lnTo>
                <a:cubicBezTo>
                  <a:pt x="444" y="1024"/>
                  <a:pt x="441" y="1027"/>
                  <a:pt x="439" y="1031"/>
                </a:cubicBezTo>
                <a:lnTo>
                  <a:pt x="436" y="1034"/>
                </a:lnTo>
                <a:cubicBezTo>
                  <a:pt x="433" y="1037"/>
                  <a:pt x="431" y="1040"/>
                  <a:pt x="429" y="1042"/>
                </a:cubicBezTo>
                <a:cubicBezTo>
                  <a:pt x="429" y="1042"/>
                  <a:pt x="425" y="1047"/>
                  <a:pt x="425" y="1048"/>
                </a:cubicBezTo>
                <a:cubicBezTo>
                  <a:pt x="452" y="1047"/>
                  <a:pt x="480" y="1047"/>
                  <a:pt x="504" y="1047"/>
                </a:cubicBezTo>
                <a:cubicBezTo>
                  <a:pt x="551" y="1047"/>
                  <a:pt x="652" y="1035"/>
                  <a:pt x="735" y="993"/>
                </a:cubicBezTo>
                <a:lnTo>
                  <a:pt x="739" y="973"/>
                </a:lnTo>
                <a:cubicBezTo>
                  <a:pt x="739" y="971"/>
                  <a:pt x="740" y="969"/>
                  <a:pt x="740" y="967"/>
                </a:cubicBezTo>
                <a:lnTo>
                  <a:pt x="743" y="958"/>
                </a:lnTo>
                <a:lnTo>
                  <a:pt x="745" y="949"/>
                </a:lnTo>
                <a:cubicBezTo>
                  <a:pt x="746" y="946"/>
                  <a:pt x="747" y="943"/>
                  <a:pt x="748" y="941"/>
                </a:cubicBezTo>
                <a:lnTo>
                  <a:pt x="750" y="937"/>
                </a:lnTo>
                <a:cubicBezTo>
                  <a:pt x="751" y="935"/>
                  <a:pt x="751" y="934"/>
                  <a:pt x="752" y="932"/>
                </a:cubicBezTo>
                <a:lnTo>
                  <a:pt x="756" y="926"/>
                </a:lnTo>
                <a:cubicBezTo>
                  <a:pt x="757" y="924"/>
                  <a:pt x="757" y="923"/>
                  <a:pt x="758" y="923"/>
                </a:cubicBezTo>
                <a:lnTo>
                  <a:pt x="763" y="916"/>
                </a:lnTo>
                <a:lnTo>
                  <a:pt x="765" y="913"/>
                </a:lnTo>
                <a:cubicBezTo>
                  <a:pt x="766" y="912"/>
                  <a:pt x="767" y="911"/>
                  <a:pt x="768" y="911"/>
                </a:cubicBezTo>
                <a:cubicBezTo>
                  <a:pt x="769" y="911"/>
                  <a:pt x="770" y="912"/>
                  <a:pt x="770" y="912"/>
                </a:cubicBezTo>
                <a:cubicBezTo>
                  <a:pt x="772" y="913"/>
                  <a:pt x="773" y="915"/>
                  <a:pt x="772" y="917"/>
                </a:cubicBezTo>
                <a:lnTo>
                  <a:pt x="767" y="927"/>
                </a:lnTo>
                <a:cubicBezTo>
                  <a:pt x="767" y="928"/>
                  <a:pt x="767" y="928"/>
                  <a:pt x="767" y="929"/>
                </a:cubicBezTo>
                <a:lnTo>
                  <a:pt x="764" y="937"/>
                </a:lnTo>
                <a:cubicBezTo>
                  <a:pt x="764" y="939"/>
                  <a:pt x="763" y="940"/>
                  <a:pt x="763" y="941"/>
                </a:cubicBezTo>
                <a:cubicBezTo>
                  <a:pt x="763" y="943"/>
                  <a:pt x="762" y="946"/>
                  <a:pt x="762" y="946"/>
                </a:cubicBezTo>
                <a:cubicBezTo>
                  <a:pt x="762" y="948"/>
                  <a:pt x="761" y="950"/>
                  <a:pt x="761" y="952"/>
                </a:cubicBezTo>
                <a:lnTo>
                  <a:pt x="760" y="961"/>
                </a:lnTo>
                <a:lnTo>
                  <a:pt x="759" y="970"/>
                </a:lnTo>
                <a:cubicBezTo>
                  <a:pt x="759" y="972"/>
                  <a:pt x="759" y="974"/>
                  <a:pt x="759" y="975"/>
                </a:cubicBezTo>
                <a:lnTo>
                  <a:pt x="759" y="980"/>
                </a:lnTo>
                <a:cubicBezTo>
                  <a:pt x="826" y="939"/>
                  <a:pt x="860" y="884"/>
                  <a:pt x="860" y="816"/>
                </a:cubicBezTo>
                <a:cubicBezTo>
                  <a:pt x="860" y="788"/>
                  <a:pt x="857" y="766"/>
                  <a:pt x="853" y="743"/>
                </a:cubicBez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en-US" sz="1500">
              <a:solidFill>
                <a:srgbClr val="3F3F3F"/>
              </a:solidFill>
              <a:latin typeface="CVS Health Sans"/>
            </a:endParaRPr>
          </a:p>
        </p:txBody>
      </p:sp>
      <p:sp>
        <p:nvSpPr>
          <p:cNvPr id="33" name="Freeform 17">
            <a:extLst>
              <a:ext uri="{FF2B5EF4-FFF2-40B4-BE49-F238E27FC236}">
                <a16:creationId xmlns:a16="http://schemas.microsoft.com/office/drawing/2014/main" id="{62F00C8F-1EEF-C63D-1278-93ED30158EA1}"/>
              </a:ext>
            </a:extLst>
          </p:cNvPr>
          <p:cNvSpPr>
            <a:spLocks noEditPoints="1"/>
          </p:cNvSpPr>
          <p:nvPr/>
        </p:nvSpPr>
        <p:spPr bwMode="auto">
          <a:xfrm>
            <a:off x="5892384" y="3245533"/>
            <a:ext cx="422275" cy="522288"/>
          </a:xfrm>
          <a:custGeom>
            <a:avLst/>
            <a:gdLst>
              <a:gd name="T0" fmla="*/ 708 w 857"/>
              <a:gd name="T1" fmla="*/ 794 h 1058"/>
              <a:gd name="T2" fmla="*/ 733 w 857"/>
              <a:gd name="T3" fmla="*/ 779 h 1058"/>
              <a:gd name="T4" fmla="*/ 663 w 857"/>
              <a:gd name="T5" fmla="*/ 898 h 1058"/>
              <a:gd name="T6" fmla="*/ 385 w 857"/>
              <a:gd name="T7" fmla="*/ 841 h 1058"/>
              <a:gd name="T8" fmla="*/ 296 w 857"/>
              <a:gd name="T9" fmla="*/ 758 h 1058"/>
              <a:gd name="T10" fmla="*/ 429 w 857"/>
              <a:gd name="T11" fmla="*/ 805 h 1058"/>
              <a:gd name="T12" fmla="*/ 520 w 857"/>
              <a:gd name="T13" fmla="*/ 796 h 1058"/>
              <a:gd name="T14" fmla="*/ 574 w 857"/>
              <a:gd name="T15" fmla="*/ 762 h 1058"/>
              <a:gd name="T16" fmla="*/ 650 w 857"/>
              <a:gd name="T17" fmla="*/ 866 h 1058"/>
              <a:gd name="T18" fmla="*/ 391 w 857"/>
              <a:gd name="T19" fmla="*/ 998 h 1058"/>
              <a:gd name="T20" fmla="*/ 228 w 857"/>
              <a:gd name="T21" fmla="*/ 943 h 1058"/>
              <a:gd name="T22" fmla="*/ 202 w 857"/>
              <a:gd name="T23" fmla="*/ 892 h 1058"/>
              <a:gd name="T24" fmla="*/ 24 w 857"/>
              <a:gd name="T25" fmla="*/ 699 h 1058"/>
              <a:gd name="T26" fmla="*/ 202 w 857"/>
              <a:gd name="T27" fmla="*/ 848 h 1058"/>
              <a:gd name="T28" fmla="*/ 285 w 857"/>
              <a:gd name="T29" fmla="*/ 886 h 1058"/>
              <a:gd name="T30" fmla="*/ 325 w 857"/>
              <a:gd name="T31" fmla="*/ 934 h 1058"/>
              <a:gd name="T32" fmla="*/ 80 w 857"/>
              <a:gd name="T33" fmla="*/ 524 h 1058"/>
              <a:gd name="T34" fmla="*/ 95 w 857"/>
              <a:gd name="T35" fmla="*/ 501 h 1058"/>
              <a:gd name="T36" fmla="*/ 234 w 857"/>
              <a:gd name="T37" fmla="*/ 502 h 1058"/>
              <a:gd name="T38" fmla="*/ 356 w 857"/>
              <a:gd name="T39" fmla="*/ 508 h 1058"/>
              <a:gd name="T40" fmla="*/ 162 w 857"/>
              <a:gd name="T41" fmla="*/ 674 h 1058"/>
              <a:gd name="T42" fmla="*/ 160 w 857"/>
              <a:gd name="T43" fmla="*/ 753 h 1058"/>
              <a:gd name="T44" fmla="*/ 166 w 857"/>
              <a:gd name="T45" fmla="*/ 602 h 1058"/>
              <a:gd name="T46" fmla="*/ 90 w 857"/>
              <a:gd name="T47" fmla="*/ 631 h 1058"/>
              <a:gd name="T48" fmla="*/ 72 w 857"/>
              <a:gd name="T49" fmla="*/ 602 h 1058"/>
              <a:gd name="T50" fmla="*/ 291 w 857"/>
              <a:gd name="T51" fmla="*/ 361 h 1058"/>
              <a:gd name="T52" fmla="*/ 231 w 857"/>
              <a:gd name="T53" fmla="*/ 382 h 1058"/>
              <a:gd name="T54" fmla="*/ 310 w 857"/>
              <a:gd name="T55" fmla="*/ 239 h 1058"/>
              <a:gd name="T56" fmla="*/ 355 w 857"/>
              <a:gd name="T57" fmla="*/ 151 h 1058"/>
              <a:gd name="T58" fmla="*/ 434 w 857"/>
              <a:gd name="T59" fmla="*/ 191 h 1058"/>
              <a:gd name="T60" fmla="*/ 538 w 857"/>
              <a:gd name="T61" fmla="*/ 191 h 1058"/>
              <a:gd name="T62" fmla="*/ 427 w 857"/>
              <a:gd name="T63" fmla="*/ 217 h 1058"/>
              <a:gd name="T64" fmla="*/ 225 w 857"/>
              <a:gd name="T65" fmla="*/ 255 h 1058"/>
              <a:gd name="T66" fmla="*/ 615 w 857"/>
              <a:gd name="T67" fmla="*/ 93 h 1058"/>
              <a:gd name="T68" fmla="*/ 640 w 857"/>
              <a:gd name="T69" fmla="*/ 98 h 1058"/>
              <a:gd name="T70" fmla="*/ 661 w 857"/>
              <a:gd name="T71" fmla="*/ 232 h 1058"/>
              <a:gd name="T72" fmla="*/ 807 w 857"/>
              <a:gd name="T73" fmla="*/ 188 h 1058"/>
              <a:gd name="T74" fmla="*/ 774 w 857"/>
              <a:gd name="T75" fmla="*/ 245 h 1058"/>
              <a:gd name="T76" fmla="*/ 568 w 857"/>
              <a:gd name="T77" fmla="*/ 284 h 1058"/>
              <a:gd name="T78" fmla="*/ 603 w 857"/>
              <a:gd name="T79" fmla="*/ 159 h 1058"/>
              <a:gd name="T80" fmla="*/ 485 w 857"/>
              <a:gd name="T81" fmla="*/ 671 h 1058"/>
              <a:gd name="T82" fmla="*/ 377 w 857"/>
              <a:gd name="T83" fmla="*/ 612 h 1058"/>
              <a:gd name="T84" fmla="*/ 587 w 857"/>
              <a:gd name="T85" fmla="*/ 698 h 1058"/>
              <a:gd name="T86" fmla="*/ 521 w 857"/>
              <a:gd name="T87" fmla="*/ 683 h 1058"/>
              <a:gd name="T88" fmla="*/ 589 w 857"/>
              <a:gd name="T89" fmla="*/ 423 h 1058"/>
              <a:gd name="T90" fmla="*/ 595 w 857"/>
              <a:gd name="T91" fmla="*/ 628 h 1058"/>
              <a:gd name="T92" fmla="*/ 528 w 857"/>
              <a:gd name="T93" fmla="*/ 366 h 1058"/>
              <a:gd name="T94" fmla="*/ 564 w 857"/>
              <a:gd name="T95" fmla="*/ 381 h 1058"/>
              <a:gd name="T96" fmla="*/ 657 w 857"/>
              <a:gd name="T97" fmla="*/ 333 h 1058"/>
              <a:gd name="T98" fmla="*/ 642 w 857"/>
              <a:gd name="T99" fmla="*/ 401 h 1058"/>
              <a:gd name="T100" fmla="*/ 704 w 857"/>
              <a:gd name="T101" fmla="*/ 579 h 1058"/>
              <a:gd name="T102" fmla="*/ 760 w 857"/>
              <a:gd name="T103" fmla="*/ 594 h 1058"/>
              <a:gd name="T104" fmla="*/ 653 w 857"/>
              <a:gd name="T105" fmla="*/ 579 h 1058"/>
              <a:gd name="T106" fmla="*/ 723 w 857"/>
              <a:gd name="T107" fmla="*/ 715 h 1058"/>
              <a:gd name="T108" fmla="*/ 801 w 857"/>
              <a:gd name="T109" fmla="*/ 486 h 1058"/>
              <a:gd name="T110" fmla="*/ 624 w 857"/>
              <a:gd name="T111" fmla="*/ 496 h 1058"/>
              <a:gd name="T112" fmla="*/ 826 w 857"/>
              <a:gd name="T113" fmla="*/ 373 h 1058"/>
              <a:gd name="T114" fmla="*/ 760 w 857"/>
              <a:gd name="T115" fmla="*/ 362 h 1058"/>
              <a:gd name="T116" fmla="*/ 837 w 857"/>
              <a:gd name="T117" fmla="*/ 111 h 1058"/>
              <a:gd name="T118" fmla="*/ 757 w 857"/>
              <a:gd name="T119" fmla="*/ 78 h 1058"/>
              <a:gd name="T120" fmla="*/ 403 w 857"/>
              <a:gd name="T121" fmla="*/ 1058 h 10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857" h="1058">
                <a:moveTo>
                  <a:pt x="785" y="800"/>
                </a:moveTo>
                <a:lnTo>
                  <a:pt x="785" y="800"/>
                </a:lnTo>
                <a:cubicBezTo>
                  <a:pt x="785" y="800"/>
                  <a:pt x="784" y="801"/>
                  <a:pt x="784" y="801"/>
                </a:cubicBezTo>
                <a:cubicBezTo>
                  <a:pt x="783" y="803"/>
                  <a:pt x="782" y="804"/>
                  <a:pt x="781" y="804"/>
                </a:cubicBezTo>
                <a:cubicBezTo>
                  <a:pt x="781" y="804"/>
                  <a:pt x="779" y="806"/>
                  <a:pt x="779" y="806"/>
                </a:cubicBezTo>
                <a:cubicBezTo>
                  <a:pt x="778" y="807"/>
                  <a:pt x="777" y="807"/>
                  <a:pt x="777" y="807"/>
                </a:cubicBezTo>
                <a:lnTo>
                  <a:pt x="773" y="805"/>
                </a:lnTo>
                <a:lnTo>
                  <a:pt x="775" y="808"/>
                </a:lnTo>
                <a:cubicBezTo>
                  <a:pt x="773" y="809"/>
                  <a:pt x="772" y="810"/>
                  <a:pt x="770" y="810"/>
                </a:cubicBezTo>
                <a:cubicBezTo>
                  <a:pt x="770" y="810"/>
                  <a:pt x="769" y="810"/>
                  <a:pt x="768" y="810"/>
                </a:cubicBezTo>
                <a:cubicBezTo>
                  <a:pt x="768" y="810"/>
                  <a:pt x="768" y="811"/>
                  <a:pt x="767" y="811"/>
                </a:cubicBezTo>
                <a:lnTo>
                  <a:pt x="767" y="811"/>
                </a:lnTo>
                <a:cubicBezTo>
                  <a:pt x="767" y="811"/>
                  <a:pt x="766" y="810"/>
                  <a:pt x="766" y="810"/>
                </a:cubicBezTo>
                <a:lnTo>
                  <a:pt x="766" y="811"/>
                </a:lnTo>
                <a:cubicBezTo>
                  <a:pt x="766" y="811"/>
                  <a:pt x="763" y="811"/>
                  <a:pt x="763" y="811"/>
                </a:cubicBezTo>
                <a:cubicBezTo>
                  <a:pt x="763" y="811"/>
                  <a:pt x="761" y="811"/>
                  <a:pt x="760" y="811"/>
                </a:cubicBezTo>
                <a:cubicBezTo>
                  <a:pt x="759" y="811"/>
                  <a:pt x="757" y="810"/>
                  <a:pt x="756" y="810"/>
                </a:cubicBezTo>
                <a:cubicBezTo>
                  <a:pt x="751" y="809"/>
                  <a:pt x="748" y="808"/>
                  <a:pt x="744" y="807"/>
                </a:cubicBezTo>
                <a:cubicBezTo>
                  <a:pt x="742" y="806"/>
                  <a:pt x="740" y="805"/>
                  <a:pt x="738" y="804"/>
                </a:cubicBezTo>
                <a:lnTo>
                  <a:pt x="735" y="802"/>
                </a:lnTo>
                <a:cubicBezTo>
                  <a:pt x="732" y="801"/>
                  <a:pt x="729" y="800"/>
                  <a:pt x="727" y="799"/>
                </a:cubicBezTo>
                <a:lnTo>
                  <a:pt x="726" y="799"/>
                </a:lnTo>
                <a:cubicBezTo>
                  <a:pt x="723" y="798"/>
                  <a:pt x="720" y="797"/>
                  <a:pt x="717" y="796"/>
                </a:cubicBezTo>
                <a:cubicBezTo>
                  <a:pt x="714" y="795"/>
                  <a:pt x="711" y="795"/>
                  <a:pt x="708" y="794"/>
                </a:cubicBezTo>
                <a:lnTo>
                  <a:pt x="703" y="794"/>
                </a:lnTo>
                <a:cubicBezTo>
                  <a:pt x="703" y="794"/>
                  <a:pt x="700" y="794"/>
                  <a:pt x="700" y="794"/>
                </a:cubicBezTo>
                <a:lnTo>
                  <a:pt x="696" y="794"/>
                </a:lnTo>
                <a:cubicBezTo>
                  <a:pt x="694" y="794"/>
                  <a:pt x="693" y="794"/>
                  <a:pt x="692" y="794"/>
                </a:cubicBezTo>
                <a:cubicBezTo>
                  <a:pt x="691" y="794"/>
                  <a:pt x="690" y="794"/>
                  <a:pt x="689" y="794"/>
                </a:cubicBezTo>
                <a:cubicBezTo>
                  <a:pt x="688" y="795"/>
                  <a:pt x="687" y="795"/>
                  <a:pt x="686" y="795"/>
                </a:cubicBezTo>
                <a:cubicBezTo>
                  <a:pt x="685" y="795"/>
                  <a:pt x="683" y="796"/>
                  <a:pt x="682" y="796"/>
                </a:cubicBezTo>
                <a:cubicBezTo>
                  <a:pt x="681" y="797"/>
                  <a:pt x="680" y="797"/>
                  <a:pt x="679" y="798"/>
                </a:cubicBezTo>
                <a:cubicBezTo>
                  <a:pt x="679" y="798"/>
                  <a:pt x="678" y="798"/>
                  <a:pt x="678" y="798"/>
                </a:cubicBezTo>
                <a:cubicBezTo>
                  <a:pt x="678" y="798"/>
                  <a:pt x="677" y="799"/>
                  <a:pt x="676" y="799"/>
                </a:cubicBezTo>
                <a:cubicBezTo>
                  <a:pt x="675" y="799"/>
                  <a:pt x="674" y="798"/>
                  <a:pt x="673" y="798"/>
                </a:cubicBezTo>
                <a:cubicBezTo>
                  <a:pt x="672" y="796"/>
                  <a:pt x="671" y="795"/>
                  <a:pt x="672" y="794"/>
                </a:cubicBezTo>
                <a:lnTo>
                  <a:pt x="673" y="792"/>
                </a:lnTo>
                <a:cubicBezTo>
                  <a:pt x="674" y="791"/>
                  <a:pt x="674" y="790"/>
                  <a:pt x="676" y="788"/>
                </a:cubicBezTo>
                <a:cubicBezTo>
                  <a:pt x="677" y="787"/>
                  <a:pt x="678" y="785"/>
                  <a:pt x="680" y="784"/>
                </a:cubicBezTo>
                <a:cubicBezTo>
                  <a:pt x="681" y="783"/>
                  <a:pt x="683" y="782"/>
                  <a:pt x="684" y="781"/>
                </a:cubicBezTo>
                <a:cubicBezTo>
                  <a:pt x="685" y="780"/>
                  <a:pt x="686" y="780"/>
                  <a:pt x="688" y="779"/>
                </a:cubicBezTo>
                <a:cubicBezTo>
                  <a:pt x="690" y="778"/>
                  <a:pt x="691" y="778"/>
                  <a:pt x="693" y="777"/>
                </a:cubicBezTo>
                <a:cubicBezTo>
                  <a:pt x="694" y="777"/>
                  <a:pt x="696" y="776"/>
                  <a:pt x="698" y="776"/>
                </a:cubicBezTo>
                <a:cubicBezTo>
                  <a:pt x="699" y="776"/>
                  <a:pt x="701" y="775"/>
                  <a:pt x="702" y="775"/>
                </a:cubicBezTo>
                <a:lnTo>
                  <a:pt x="704" y="775"/>
                </a:lnTo>
                <a:cubicBezTo>
                  <a:pt x="704" y="775"/>
                  <a:pt x="709" y="775"/>
                  <a:pt x="709" y="775"/>
                </a:cubicBezTo>
                <a:cubicBezTo>
                  <a:pt x="713" y="775"/>
                  <a:pt x="717" y="775"/>
                  <a:pt x="721" y="776"/>
                </a:cubicBezTo>
                <a:cubicBezTo>
                  <a:pt x="725" y="777"/>
                  <a:pt x="729" y="778"/>
                  <a:pt x="733" y="779"/>
                </a:cubicBezTo>
                <a:cubicBezTo>
                  <a:pt x="741" y="782"/>
                  <a:pt x="747" y="786"/>
                  <a:pt x="753" y="790"/>
                </a:cubicBezTo>
                <a:cubicBezTo>
                  <a:pt x="755" y="792"/>
                  <a:pt x="758" y="793"/>
                  <a:pt x="760" y="794"/>
                </a:cubicBezTo>
                <a:cubicBezTo>
                  <a:pt x="762" y="795"/>
                  <a:pt x="764" y="796"/>
                  <a:pt x="766" y="796"/>
                </a:cubicBezTo>
                <a:cubicBezTo>
                  <a:pt x="767" y="796"/>
                  <a:pt x="767" y="796"/>
                  <a:pt x="768" y="796"/>
                </a:cubicBezTo>
                <a:cubicBezTo>
                  <a:pt x="768" y="796"/>
                  <a:pt x="770" y="797"/>
                  <a:pt x="770" y="797"/>
                </a:cubicBezTo>
                <a:lnTo>
                  <a:pt x="772" y="797"/>
                </a:lnTo>
                <a:cubicBezTo>
                  <a:pt x="773" y="797"/>
                  <a:pt x="774" y="796"/>
                  <a:pt x="775" y="796"/>
                </a:cubicBezTo>
                <a:lnTo>
                  <a:pt x="777" y="796"/>
                </a:lnTo>
                <a:lnTo>
                  <a:pt x="781" y="794"/>
                </a:lnTo>
                <a:cubicBezTo>
                  <a:pt x="781" y="794"/>
                  <a:pt x="782" y="794"/>
                  <a:pt x="782" y="794"/>
                </a:cubicBezTo>
                <a:cubicBezTo>
                  <a:pt x="783" y="794"/>
                  <a:pt x="784" y="795"/>
                  <a:pt x="785" y="796"/>
                </a:cubicBezTo>
                <a:cubicBezTo>
                  <a:pt x="786" y="797"/>
                  <a:pt x="786" y="799"/>
                  <a:pt x="785" y="800"/>
                </a:cubicBezTo>
                <a:close/>
                <a:moveTo>
                  <a:pt x="709" y="938"/>
                </a:moveTo>
                <a:lnTo>
                  <a:pt x="709" y="938"/>
                </a:lnTo>
                <a:cubicBezTo>
                  <a:pt x="708" y="939"/>
                  <a:pt x="708" y="939"/>
                  <a:pt x="707" y="939"/>
                </a:cubicBezTo>
                <a:cubicBezTo>
                  <a:pt x="706" y="939"/>
                  <a:pt x="705" y="939"/>
                  <a:pt x="704" y="938"/>
                </a:cubicBezTo>
                <a:lnTo>
                  <a:pt x="700" y="933"/>
                </a:lnTo>
                <a:cubicBezTo>
                  <a:pt x="698" y="931"/>
                  <a:pt x="696" y="928"/>
                  <a:pt x="694" y="926"/>
                </a:cubicBezTo>
                <a:lnTo>
                  <a:pt x="692" y="923"/>
                </a:lnTo>
                <a:cubicBezTo>
                  <a:pt x="690" y="922"/>
                  <a:pt x="689" y="921"/>
                  <a:pt x="688" y="920"/>
                </a:cubicBezTo>
                <a:lnTo>
                  <a:pt x="681" y="913"/>
                </a:lnTo>
                <a:lnTo>
                  <a:pt x="672" y="905"/>
                </a:lnTo>
                <a:cubicBezTo>
                  <a:pt x="671" y="904"/>
                  <a:pt x="670" y="903"/>
                  <a:pt x="668" y="902"/>
                </a:cubicBezTo>
                <a:cubicBezTo>
                  <a:pt x="667" y="901"/>
                  <a:pt x="665" y="899"/>
                  <a:pt x="663" y="898"/>
                </a:cubicBezTo>
                <a:lnTo>
                  <a:pt x="660" y="896"/>
                </a:lnTo>
                <a:cubicBezTo>
                  <a:pt x="658" y="894"/>
                  <a:pt x="655" y="892"/>
                  <a:pt x="652" y="891"/>
                </a:cubicBezTo>
                <a:lnTo>
                  <a:pt x="646" y="887"/>
                </a:lnTo>
                <a:lnTo>
                  <a:pt x="640" y="884"/>
                </a:lnTo>
                <a:cubicBezTo>
                  <a:pt x="631" y="879"/>
                  <a:pt x="622" y="875"/>
                  <a:pt x="612" y="872"/>
                </a:cubicBezTo>
                <a:cubicBezTo>
                  <a:pt x="601" y="869"/>
                  <a:pt x="591" y="866"/>
                  <a:pt x="582" y="865"/>
                </a:cubicBezTo>
                <a:cubicBezTo>
                  <a:pt x="575" y="864"/>
                  <a:pt x="568" y="864"/>
                  <a:pt x="561" y="864"/>
                </a:cubicBezTo>
                <a:cubicBezTo>
                  <a:pt x="557" y="864"/>
                  <a:pt x="553" y="864"/>
                  <a:pt x="549" y="864"/>
                </a:cubicBezTo>
                <a:cubicBezTo>
                  <a:pt x="536" y="866"/>
                  <a:pt x="526" y="867"/>
                  <a:pt x="518" y="870"/>
                </a:cubicBezTo>
                <a:cubicBezTo>
                  <a:pt x="509" y="872"/>
                  <a:pt x="501" y="876"/>
                  <a:pt x="492" y="879"/>
                </a:cubicBezTo>
                <a:lnTo>
                  <a:pt x="487" y="881"/>
                </a:lnTo>
                <a:cubicBezTo>
                  <a:pt x="482" y="883"/>
                  <a:pt x="476" y="886"/>
                  <a:pt x="469" y="887"/>
                </a:cubicBezTo>
                <a:cubicBezTo>
                  <a:pt x="468" y="887"/>
                  <a:pt x="466" y="888"/>
                  <a:pt x="464" y="888"/>
                </a:cubicBezTo>
                <a:cubicBezTo>
                  <a:pt x="463" y="888"/>
                  <a:pt x="462" y="888"/>
                  <a:pt x="462" y="888"/>
                </a:cubicBezTo>
                <a:lnTo>
                  <a:pt x="459" y="888"/>
                </a:lnTo>
                <a:lnTo>
                  <a:pt x="458" y="884"/>
                </a:lnTo>
                <a:lnTo>
                  <a:pt x="458" y="888"/>
                </a:lnTo>
                <a:lnTo>
                  <a:pt x="457" y="888"/>
                </a:lnTo>
                <a:lnTo>
                  <a:pt x="457" y="888"/>
                </a:lnTo>
                <a:lnTo>
                  <a:pt x="453" y="888"/>
                </a:lnTo>
                <a:cubicBezTo>
                  <a:pt x="452" y="888"/>
                  <a:pt x="451" y="888"/>
                  <a:pt x="450" y="888"/>
                </a:cubicBezTo>
                <a:cubicBezTo>
                  <a:pt x="438" y="886"/>
                  <a:pt x="427" y="882"/>
                  <a:pt x="418" y="875"/>
                </a:cubicBezTo>
                <a:cubicBezTo>
                  <a:pt x="410" y="871"/>
                  <a:pt x="404" y="865"/>
                  <a:pt x="398" y="858"/>
                </a:cubicBezTo>
                <a:cubicBezTo>
                  <a:pt x="392" y="851"/>
                  <a:pt x="388" y="845"/>
                  <a:pt x="385" y="841"/>
                </a:cubicBezTo>
                <a:cubicBezTo>
                  <a:pt x="385" y="840"/>
                  <a:pt x="384" y="838"/>
                  <a:pt x="383" y="837"/>
                </a:cubicBezTo>
                <a:cubicBezTo>
                  <a:pt x="380" y="838"/>
                  <a:pt x="377" y="838"/>
                  <a:pt x="375" y="838"/>
                </a:cubicBezTo>
                <a:cubicBezTo>
                  <a:pt x="372" y="839"/>
                  <a:pt x="370" y="839"/>
                  <a:pt x="367" y="839"/>
                </a:cubicBezTo>
                <a:lnTo>
                  <a:pt x="362" y="839"/>
                </a:lnTo>
                <a:lnTo>
                  <a:pt x="360" y="839"/>
                </a:lnTo>
                <a:cubicBezTo>
                  <a:pt x="350" y="839"/>
                  <a:pt x="340" y="838"/>
                  <a:pt x="332" y="836"/>
                </a:cubicBezTo>
                <a:cubicBezTo>
                  <a:pt x="321" y="833"/>
                  <a:pt x="312" y="828"/>
                  <a:pt x="304" y="821"/>
                </a:cubicBezTo>
                <a:cubicBezTo>
                  <a:pt x="297" y="815"/>
                  <a:pt x="291" y="807"/>
                  <a:pt x="287" y="797"/>
                </a:cubicBezTo>
                <a:cubicBezTo>
                  <a:pt x="283" y="788"/>
                  <a:pt x="281" y="779"/>
                  <a:pt x="280" y="773"/>
                </a:cubicBezTo>
                <a:lnTo>
                  <a:pt x="276" y="752"/>
                </a:lnTo>
                <a:cubicBezTo>
                  <a:pt x="275" y="745"/>
                  <a:pt x="274" y="740"/>
                  <a:pt x="272" y="736"/>
                </a:cubicBezTo>
                <a:cubicBezTo>
                  <a:pt x="271" y="732"/>
                  <a:pt x="269" y="728"/>
                  <a:pt x="267" y="725"/>
                </a:cubicBezTo>
                <a:cubicBezTo>
                  <a:pt x="265" y="724"/>
                  <a:pt x="265" y="723"/>
                  <a:pt x="264" y="722"/>
                </a:cubicBezTo>
                <a:cubicBezTo>
                  <a:pt x="263" y="721"/>
                  <a:pt x="262" y="720"/>
                  <a:pt x="262" y="720"/>
                </a:cubicBezTo>
                <a:lnTo>
                  <a:pt x="259" y="718"/>
                </a:lnTo>
                <a:cubicBezTo>
                  <a:pt x="258" y="717"/>
                  <a:pt x="257" y="715"/>
                  <a:pt x="258" y="713"/>
                </a:cubicBezTo>
                <a:cubicBezTo>
                  <a:pt x="259" y="712"/>
                  <a:pt x="260" y="711"/>
                  <a:pt x="261" y="711"/>
                </a:cubicBezTo>
                <a:cubicBezTo>
                  <a:pt x="262" y="711"/>
                  <a:pt x="262" y="711"/>
                  <a:pt x="263" y="712"/>
                </a:cubicBezTo>
                <a:lnTo>
                  <a:pt x="266" y="713"/>
                </a:lnTo>
                <a:cubicBezTo>
                  <a:pt x="267" y="713"/>
                  <a:pt x="268" y="714"/>
                  <a:pt x="269" y="715"/>
                </a:cubicBezTo>
                <a:cubicBezTo>
                  <a:pt x="271" y="716"/>
                  <a:pt x="272" y="717"/>
                  <a:pt x="274" y="718"/>
                </a:cubicBezTo>
                <a:cubicBezTo>
                  <a:pt x="277" y="721"/>
                  <a:pt x="281" y="724"/>
                  <a:pt x="284" y="730"/>
                </a:cubicBezTo>
                <a:cubicBezTo>
                  <a:pt x="287" y="735"/>
                  <a:pt x="289" y="740"/>
                  <a:pt x="292" y="748"/>
                </a:cubicBezTo>
                <a:cubicBezTo>
                  <a:pt x="293" y="751"/>
                  <a:pt x="294" y="754"/>
                  <a:pt x="296" y="758"/>
                </a:cubicBezTo>
                <a:cubicBezTo>
                  <a:pt x="296" y="761"/>
                  <a:pt x="298" y="764"/>
                  <a:pt x="299" y="768"/>
                </a:cubicBezTo>
                <a:cubicBezTo>
                  <a:pt x="301" y="774"/>
                  <a:pt x="304" y="781"/>
                  <a:pt x="307" y="787"/>
                </a:cubicBezTo>
                <a:cubicBezTo>
                  <a:pt x="310" y="794"/>
                  <a:pt x="315" y="799"/>
                  <a:pt x="320" y="802"/>
                </a:cubicBezTo>
                <a:cubicBezTo>
                  <a:pt x="324" y="806"/>
                  <a:pt x="331" y="809"/>
                  <a:pt x="338" y="811"/>
                </a:cubicBezTo>
                <a:cubicBezTo>
                  <a:pt x="345" y="812"/>
                  <a:pt x="352" y="813"/>
                  <a:pt x="360" y="813"/>
                </a:cubicBezTo>
                <a:cubicBezTo>
                  <a:pt x="361" y="813"/>
                  <a:pt x="362" y="813"/>
                  <a:pt x="362" y="813"/>
                </a:cubicBezTo>
                <a:lnTo>
                  <a:pt x="363" y="813"/>
                </a:lnTo>
                <a:lnTo>
                  <a:pt x="366" y="813"/>
                </a:lnTo>
                <a:lnTo>
                  <a:pt x="372" y="812"/>
                </a:lnTo>
                <a:cubicBezTo>
                  <a:pt x="375" y="812"/>
                  <a:pt x="378" y="812"/>
                  <a:pt x="382" y="811"/>
                </a:cubicBezTo>
                <a:cubicBezTo>
                  <a:pt x="388" y="809"/>
                  <a:pt x="393" y="806"/>
                  <a:pt x="399" y="803"/>
                </a:cubicBezTo>
                <a:cubicBezTo>
                  <a:pt x="404" y="800"/>
                  <a:pt x="409" y="795"/>
                  <a:pt x="413" y="791"/>
                </a:cubicBezTo>
                <a:cubicBezTo>
                  <a:pt x="418" y="787"/>
                  <a:pt x="422" y="782"/>
                  <a:pt x="428" y="779"/>
                </a:cubicBezTo>
                <a:cubicBezTo>
                  <a:pt x="433" y="775"/>
                  <a:pt x="438" y="773"/>
                  <a:pt x="443" y="772"/>
                </a:cubicBezTo>
                <a:cubicBezTo>
                  <a:pt x="445" y="772"/>
                  <a:pt x="446" y="772"/>
                  <a:pt x="448" y="772"/>
                </a:cubicBezTo>
                <a:cubicBezTo>
                  <a:pt x="450" y="772"/>
                  <a:pt x="452" y="772"/>
                  <a:pt x="453" y="772"/>
                </a:cubicBezTo>
                <a:cubicBezTo>
                  <a:pt x="456" y="773"/>
                  <a:pt x="457" y="773"/>
                  <a:pt x="457" y="773"/>
                </a:cubicBezTo>
                <a:cubicBezTo>
                  <a:pt x="458" y="773"/>
                  <a:pt x="460" y="775"/>
                  <a:pt x="460" y="777"/>
                </a:cubicBezTo>
                <a:cubicBezTo>
                  <a:pt x="460" y="778"/>
                  <a:pt x="458" y="780"/>
                  <a:pt x="457" y="780"/>
                </a:cubicBezTo>
                <a:lnTo>
                  <a:pt x="454" y="781"/>
                </a:lnTo>
                <a:cubicBezTo>
                  <a:pt x="451" y="781"/>
                  <a:pt x="449" y="782"/>
                  <a:pt x="447" y="784"/>
                </a:cubicBezTo>
                <a:cubicBezTo>
                  <a:pt x="444" y="785"/>
                  <a:pt x="441" y="788"/>
                  <a:pt x="439" y="791"/>
                </a:cubicBezTo>
                <a:cubicBezTo>
                  <a:pt x="436" y="794"/>
                  <a:pt x="434" y="797"/>
                  <a:pt x="432" y="800"/>
                </a:cubicBezTo>
                <a:lnTo>
                  <a:pt x="429" y="805"/>
                </a:lnTo>
                <a:cubicBezTo>
                  <a:pt x="424" y="810"/>
                  <a:pt x="420" y="817"/>
                  <a:pt x="413" y="822"/>
                </a:cubicBezTo>
                <a:cubicBezTo>
                  <a:pt x="410" y="825"/>
                  <a:pt x="406" y="827"/>
                  <a:pt x="402" y="830"/>
                </a:cubicBezTo>
                <a:cubicBezTo>
                  <a:pt x="406" y="834"/>
                  <a:pt x="410" y="838"/>
                  <a:pt x="414" y="842"/>
                </a:cubicBezTo>
                <a:cubicBezTo>
                  <a:pt x="419" y="847"/>
                  <a:pt x="425" y="851"/>
                  <a:pt x="431" y="854"/>
                </a:cubicBezTo>
                <a:cubicBezTo>
                  <a:pt x="438" y="858"/>
                  <a:pt x="445" y="860"/>
                  <a:pt x="452" y="861"/>
                </a:cubicBezTo>
                <a:lnTo>
                  <a:pt x="454" y="861"/>
                </a:lnTo>
                <a:lnTo>
                  <a:pt x="457" y="861"/>
                </a:lnTo>
                <a:lnTo>
                  <a:pt x="460" y="861"/>
                </a:lnTo>
                <a:cubicBezTo>
                  <a:pt x="462" y="861"/>
                  <a:pt x="463" y="860"/>
                  <a:pt x="464" y="860"/>
                </a:cubicBezTo>
                <a:cubicBezTo>
                  <a:pt x="467" y="860"/>
                  <a:pt x="471" y="858"/>
                  <a:pt x="477" y="856"/>
                </a:cubicBezTo>
                <a:lnTo>
                  <a:pt x="483" y="853"/>
                </a:lnTo>
                <a:cubicBezTo>
                  <a:pt x="486" y="852"/>
                  <a:pt x="489" y="851"/>
                  <a:pt x="492" y="849"/>
                </a:cubicBezTo>
                <a:cubicBezTo>
                  <a:pt x="497" y="847"/>
                  <a:pt x="503" y="846"/>
                  <a:pt x="510" y="843"/>
                </a:cubicBezTo>
                <a:cubicBezTo>
                  <a:pt x="510" y="843"/>
                  <a:pt x="511" y="843"/>
                  <a:pt x="511" y="843"/>
                </a:cubicBezTo>
                <a:cubicBezTo>
                  <a:pt x="511" y="842"/>
                  <a:pt x="511" y="841"/>
                  <a:pt x="510" y="840"/>
                </a:cubicBezTo>
                <a:lnTo>
                  <a:pt x="510" y="838"/>
                </a:lnTo>
                <a:cubicBezTo>
                  <a:pt x="510" y="836"/>
                  <a:pt x="510" y="835"/>
                  <a:pt x="510" y="833"/>
                </a:cubicBezTo>
                <a:lnTo>
                  <a:pt x="510" y="827"/>
                </a:lnTo>
                <a:lnTo>
                  <a:pt x="511" y="820"/>
                </a:lnTo>
                <a:cubicBezTo>
                  <a:pt x="511" y="818"/>
                  <a:pt x="511" y="818"/>
                  <a:pt x="511" y="817"/>
                </a:cubicBezTo>
                <a:cubicBezTo>
                  <a:pt x="512" y="813"/>
                  <a:pt x="513" y="811"/>
                  <a:pt x="513" y="809"/>
                </a:cubicBezTo>
                <a:lnTo>
                  <a:pt x="516" y="803"/>
                </a:lnTo>
                <a:cubicBezTo>
                  <a:pt x="517" y="801"/>
                  <a:pt x="518" y="799"/>
                  <a:pt x="519" y="798"/>
                </a:cubicBezTo>
                <a:lnTo>
                  <a:pt x="520" y="796"/>
                </a:lnTo>
                <a:cubicBezTo>
                  <a:pt x="521" y="795"/>
                  <a:pt x="522" y="793"/>
                  <a:pt x="523" y="792"/>
                </a:cubicBezTo>
                <a:lnTo>
                  <a:pt x="524" y="791"/>
                </a:lnTo>
                <a:cubicBezTo>
                  <a:pt x="525" y="789"/>
                  <a:pt x="527" y="787"/>
                  <a:pt x="529" y="786"/>
                </a:cubicBezTo>
                <a:cubicBezTo>
                  <a:pt x="531" y="784"/>
                  <a:pt x="532" y="782"/>
                  <a:pt x="534" y="781"/>
                </a:cubicBezTo>
                <a:cubicBezTo>
                  <a:pt x="536" y="780"/>
                  <a:pt x="537" y="778"/>
                  <a:pt x="539" y="777"/>
                </a:cubicBezTo>
                <a:cubicBezTo>
                  <a:pt x="541" y="776"/>
                  <a:pt x="543" y="774"/>
                  <a:pt x="545" y="773"/>
                </a:cubicBezTo>
                <a:lnTo>
                  <a:pt x="549" y="771"/>
                </a:lnTo>
                <a:cubicBezTo>
                  <a:pt x="552" y="769"/>
                  <a:pt x="555" y="766"/>
                  <a:pt x="557" y="764"/>
                </a:cubicBezTo>
                <a:lnTo>
                  <a:pt x="561" y="761"/>
                </a:lnTo>
                <a:lnTo>
                  <a:pt x="564" y="758"/>
                </a:lnTo>
                <a:cubicBezTo>
                  <a:pt x="564" y="758"/>
                  <a:pt x="564" y="757"/>
                  <a:pt x="565" y="757"/>
                </a:cubicBezTo>
                <a:cubicBezTo>
                  <a:pt x="565" y="756"/>
                  <a:pt x="565" y="756"/>
                  <a:pt x="566" y="755"/>
                </a:cubicBezTo>
                <a:cubicBezTo>
                  <a:pt x="566" y="754"/>
                  <a:pt x="567" y="753"/>
                  <a:pt x="567" y="753"/>
                </a:cubicBezTo>
                <a:lnTo>
                  <a:pt x="568" y="750"/>
                </a:lnTo>
                <a:cubicBezTo>
                  <a:pt x="569" y="749"/>
                  <a:pt x="569" y="748"/>
                  <a:pt x="569" y="748"/>
                </a:cubicBezTo>
                <a:lnTo>
                  <a:pt x="571" y="742"/>
                </a:lnTo>
                <a:cubicBezTo>
                  <a:pt x="571" y="741"/>
                  <a:pt x="573" y="740"/>
                  <a:pt x="574" y="740"/>
                </a:cubicBezTo>
                <a:lnTo>
                  <a:pt x="575" y="740"/>
                </a:lnTo>
                <a:cubicBezTo>
                  <a:pt x="577" y="740"/>
                  <a:pt x="578" y="742"/>
                  <a:pt x="578" y="743"/>
                </a:cubicBezTo>
                <a:lnTo>
                  <a:pt x="578" y="749"/>
                </a:lnTo>
                <a:cubicBezTo>
                  <a:pt x="578" y="750"/>
                  <a:pt x="577" y="752"/>
                  <a:pt x="577" y="754"/>
                </a:cubicBezTo>
                <a:cubicBezTo>
                  <a:pt x="577" y="754"/>
                  <a:pt x="576" y="755"/>
                  <a:pt x="576" y="756"/>
                </a:cubicBezTo>
                <a:cubicBezTo>
                  <a:pt x="576" y="757"/>
                  <a:pt x="576" y="758"/>
                  <a:pt x="575" y="760"/>
                </a:cubicBezTo>
                <a:lnTo>
                  <a:pt x="574" y="762"/>
                </a:lnTo>
                <a:cubicBezTo>
                  <a:pt x="574" y="763"/>
                  <a:pt x="573" y="764"/>
                  <a:pt x="572" y="765"/>
                </a:cubicBezTo>
                <a:lnTo>
                  <a:pt x="570" y="769"/>
                </a:lnTo>
                <a:lnTo>
                  <a:pt x="566" y="774"/>
                </a:lnTo>
                <a:cubicBezTo>
                  <a:pt x="564" y="776"/>
                  <a:pt x="561" y="779"/>
                  <a:pt x="558" y="782"/>
                </a:cubicBezTo>
                <a:lnTo>
                  <a:pt x="550" y="790"/>
                </a:lnTo>
                <a:cubicBezTo>
                  <a:pt x="548" y="791"/>
                  <a:pt x="547" y="792"/>
                  <a:pt x="546" y="794"/>
                </a:cubicBezTo>
                <a:cubicBezTo>
                  <a:pt x="544" y="795"/>
                  <a:pt x="543" y="796"/>
                  <a:pt x="542" y="798"/>
                </a:cubicBezTo>
                <a:cubicBezTo>
                  <a:pt x="541" y="799"/>
                  <a:pt x="540" y="800"/>
                  <a:pt x="539" y="802"/>
                </a:cubicBezTo>
                <a:lnTo>
                  <a:pt x="538" y="803"/>
                </a:lnTo>
                <a:cubicBezTo>
                  <a:pt x="538" y="804"/>
                  <a:pt x="537" y="805"/>
                  <a:pt x="537" y="806"/>
                </a:cubicBezTo>
                <a:cubicBezTo>
                  <a:pt x="536" y="806"/>
                  <a:pt x="536" y="807"/>
                  <a:pt x="536" y="808"/>
                </a:cubicBezTo>
                <a:cubicBezTo>
                  <a:pt x="535" y="809"/>
                  <a:pt x="535" y="809"/>
                  <a:pt x="535" y="810"/>
                </a:cubicBezTo>
                <a:lnTo>
                  <a:pt x="533" y="815"/>
                </a:lnTo>
                <a:cubicBezTo>
                  <a:pt x="533" y="815"/>
                  <a:pt x="532" y="820"/>
                  <a:pt x="532" y="821"/>
                </a:cubicBezTo>
                <a:lnTo>
                  <a:pt x="532" y="828"/>
                </a:lnTo>
                <a:lnTo>
                  <a:pt x="533" y="831"/>
                </a:lnTo>
                <a:cubicBezTo>
                  <a:pt x="533" y="833"/>
                  <a:pt x="533" y="834"/>
                  <a:pt x="533" y="835"/>
                </a:cubicBezTo>
                <a:cubicBezTo>
                  <a:pt x="533" y="835"/>
                  <a:pt x="534" y="837"/>
                  <a:pt x="534" y="838"/>
                </a:cubicBezTo>
                <a:cubicBezTo>
                  <a:pt x="534" y="838"/>
                  <a:pt x="534" y="838"/>
                  <a:pt x="534" y="839"/>
                </a:cubicBezTo>
                <a:cubicBezTo>
                  <a:pt x="539" y="838"/>
                  <a:pt x="543" y="838"/>
                  <a:pt x="548" y="838"/>
                </a:cubicBezTo>
                <a:cubicBezTo>
                  <a:pt x="550" y="838"/>
                  <a:pt x="552" y="838"/>
                  <a:pt x="554" y="838"/>
                </a:cubicBezTo>
                <a:cubicBezTo>
                  <a:pt x="564" y="838"/>
                  <a:pt x="574" y="838"/>
                  <a:pt x="585" y="840"/>
                </a:cubicBezTo>
                <a:cubicBezTo>
                  <a:pt x="596" y="842"/>
                  <a:pt x="608" y="846"/>
                  <a:pt x="620" y="850"/>
                </a:cubicBezTo>
                <a:cubicBezTo>
                  <a:pt x="632" y="855"/>
                  <a:pt x="642" y="861"/>
                  <a:pt x="650" y="866"/>
                </a:cubicBezTo>
                <a:lnTo>
                  <a:pt x="657" y="871"/>
                </a:lnTo>
                <a:cubicBezTo>
                  <a:pt x="658" y="872"/>
                  <a:pt x="659" y="873"/>
                  <a:pt x="661" y="874"/>
                </a:cubicBezTo>
                <a:lnTo>
                  <a:pt x="663" y="875"/>
                </a:lnTo>
                <a:cubicBezTo>
                  <a:pt x="666" y="878"/>
                  <a:pt x="668" y="880"/>
                  <a:pt x="671" y="882"/>
                </a:cubicBezTo>
                <a:lnTo>
                  <a:pt x="674" y="885"/>
                </a:lnTo>
                <a:cubicBezTo>
                  <a:pt x="676" y="887"/>
                  <a:pt x="679" y="890"/>
                  <a:pt x="681" y="892"/>
                </a:cubicBezTo>
                <a:lnTo>
                  <a:pt x="683" y="894"/>
                </a:lnTo>
                <a:lnTo>
                  <a:pt x="691" y="903"/>
                </a:lnTo>
                <a:cubicBezTo>
                  <a:pt x="693" y="906"/>
                  <a:pt x="695" y="909"/>
                  <a:pt x="697" y="912"/>
                </a:cubicBezTo>
                <a:cubicBezTo>
                  <a:pt x="698" y="913"/>
                  <a:pt x="699" y="915"/>
                  <a:pt x="700" y="917"/>
                </a:cubicBezTo>
                <a:lnTo>
                  <a:pt x="702" y="919"/>
                </a:lnTo>
                <a:cubicBezTo>
                  <a:pt x="704" y="922"/>
                  <a:pt x="706" y="925"/>
                  <a:pt x="707" y="927"/>
                </a:cubicBezTo>
                <a:lnTo>
                  <a:pt x="710" y="934"/>
                </a:lnTo>
                <a:cubicBezTo>
                  <a:pt x="711" y="935"/>
                  <a:pt x="710" y="937"/>
                  <a:pt x="709" y="938"/>
                </a:cubicBezTo>
                <a:close/>
                <a:moveTo>
                  <a:pt x="445" y="1015"/>
                </a:moveTo>
                <a:lnTo>
                  <a:pt x="445" y="1015"/>
                </a:lnTo>
                <a:cubicBezTo>
                  <a:pt x="444" y="1015"/>
                  <a:pt x="439" y="1014"/>
                  <a:pt x="439" y="1014"/>
                </a:cubicBezTo>
                <a:cubicBezTo>
                  <a:pt x="437" y="1014"/>
                  <a:pt x="435" y="1014"/>
                  <a:pt x="432" y="1014"/>
                </a:cubicBezTo>
                <a:cubicBezTo>
                  <a:pt x="430" y="1013"/>
                  <a:pt x="429" y="1013"/>
                  <a:pt x="428" y="1013"/>
                </a:cubicBezTo>
                <a:cubicBezTo>
                  <a:pt x="425" y="1012"/>
                  <a:pt x="421" y="1012"/>
                  <a:pt x="417" y="1010"/>
                </a:cubicBezTo>
                <a:lnTo>
                  <a:pt x="415" y="1009"/>
                </a:lnTo>
                <a:cubicBezTo>
                  <a:pt x="413" y="1009"/>
                  <a:pt x="411" y="1008"/>
                  <a:pt x="409" y="1007"/>
                </a:cubicBezTo>
                <a:lnTo>
                  <a:pt x="400" y="1003"/>
                </a:lnTo>
                <a:lnTo>
                  <a:pt x="391" y="998"/>
                </a:lnTo>
                <a:lnTo>
                  <a:pt x="381" y="993"/>
                </a:lnTo>
                <a:cubicBezTo>
                  <a:pt x="375" y="990"/>
                  <a:pt x="369" y="986"/>
                  <a:pt x="363" y="983"/>
                </a:cubicBezTo>
                <a:lnTo>
                  <a:pt x="360" y="981"/>
                </a:lnTo>
                <a:cubicBezTo>
                  <a:pt x="353" y="977"/>
                  <a:pt x="346" y="973"/>
                  <a:pt x="339" y="969"/>
                </a:cubicBezTo>
                <a:cubicBezTo>
                  <a:pt x="336" y="967"/>
                  <a:pt x="332" y="966"/>
                  <a:pt x="329" y="964"/>
                </a:cubicBezTo>
                <a:lnTo>
                  <a:pt x="328" y="964"/>
                </a:lnTo>
                <a:cubicBezTo>
                  <a:pt x="325" y="963"/>
                  <a:pt x="322" y="961"/>
                  <a:pt x="320" y="960"/>
                </a:cubicBezTo>
                <a:lnTo>
                  <a:pt x="311" y="957"/>
                </a:lnTo>
                <a:lnTo>
                  <a:pt x="305" y="955"/>
                </a:lnTo>
                <a:cubicBezTo>
                  <a:pt x="304" y="954"/>
                  <a:pt x="302" y="954"/>
                  <a:pt x="300" y="953"/>
                </a:cubicBezTo>
                <a:lnTo>
                  <a:pt x="299" y="952"/>
                </a:lnTo>
                <a:cubicBezTo>
                  <a:pt x="298" y="952"/>
                  <a:pt x="297" y="952"/>
                  <a:pt x="296" y="952"/>
                </a:cubicBezTo>
                <a:cubicBezTo>
                  <a:pt x="295" y="951"/>
                  <a:pt x="294" y="951"/>
                  <a:pt x="293" y="951"/>
                </a:cubicBezTo>
                <a:lnTo>
                  <a:pt x="288" y="949"/>
                </a:lnTo>
                <a:cubicBezTo>
                  <a:pt x="286" y="948"/>
                  <a:pt x="284" y="948"/>
                  <a:pt x="282" y="947"/>
                </a:cubicBezTo>
                <a:lnTo>
                  <a:pt x="271" y="944"/>
                </a:lnTo>
                <a:cubicBezTo>
                  <a:pt x="268" y="944"/>
                  <a:pt x="265" y="944"/>
                  <a:pt x="262" y="943"/>
                </a:cubicBezTo>
                <a:lnTo>
                  <a:pt x="253" y="942"/>
                </a:lnTo>
                <a:lnTo>
                  <a:pt x="248" y="942"/>
                </a:lnTo>
                <a:lnTo>
                  <a:pt x="245" y="942"/>
                </a:lnTo>
                <a:cubicBezTo>
                  <a:pt x="245" y="942"/>
                  <a:pt x="241" y="942"/>
                  <a:pt x="241" y="942"/>
                </a:cubicBezTo>
                <a:cubicBezTo>
                  <a:pt x="240" y="942"/>
                  <a:pt x="240" y="942"/>
                  <a:pt x="240" y="942"/>
                </a:cubicBezTo>
                <a:lnTo>
                  <a:pt x="235" y="942"/>
                </a:lnTo>
                <a:cubicBezTo>
                  <a:pt x="232" y="942"/>
                  <a:pt x="230" y="942"/>
                  <a:pt x="228" y="943"/>
                </a:cubicBezTo>
                <a:cubicBezTo>
                  <a:pt x="222" y="944"/>
                  <a:pt x="216" y="944"/>
                  <a:pt x="212" y="946"/>
                </a:cubicBezTo>
                <a:lnTo>
                  <a:pt x="204" y="947"/>
                </a:lnTo>
                <a:cubicBezTo>
                  <a:pt x="202" y="948"/>
                  <a:pt x="200" y="949"/>
                  <a:pt x="198" y="949"/>
                </a:cubicBezTo>
                <a:cubicBezTo>
                  <a:pt x="196" y="950"/>
                  <a:pt x="194" y="951"/>
                  <a:pt x="192" y="951"/>
                </a:cubicBezTo>
                <a:lnTo>
                  <a:pt x="187" y="953"/>
                </a:lnTo>
                <a:cubicBezTo>
                  <a:pt x="187" y="953"/>
                  <a:pt x="187" y="953"/>
                  <a:pt x="186" y="953"/>
                </a:cubicBezTo>
                <a:cubicBezTo>
                  <a:pt x="185" y="953"/>
                  <a:pt x="183" y="952"/>
                  <a:pt x="183" y="951"/>
                </a:cubicBezTo>
                <a:cubicBezTo>
                  <a:pt x="182" y="949"/>
                  <a:pt x="183" y="947"/>
                  <a:pt x="184" y="946"/>
                </a:cubicBezTo>
                <a:lnTo>
                  <a:pt x="189" y="944"/>
                </a:lnTo>
                <a:cubicBezTo>
                  <a:pt x="191" y="943"/>
                  <a:pt x="193" y="942"/>
                  <a:pt x="195" y="940"/>
                </a:cubicBezTo>
                <a:lnTo>
                  <a:pt x="201" y="938"/>
                </a:lnTo>
                <a:lnTo>
                  <a:pt x="208" y="934"/>
                </a:lnTo>
                <a:cubicBezTo>
                  <a:pt x="214" y="932"/>
                  <a:pt x="220" y="930"/>
                  <a:pt x="226" y="929"/>
                </a:cubicBezTo>
                <a:cubicBezTo>
                  <a:pt x="227" y="928"/>
                  <a:pt x="228" y="928"/>
                  <a:pt x="230" y="928"/>
                </a:cubicBezTo>
                <a:lnTo>
                  <a:pt x="228" y="923"/>
                </a:lnTo>
                <a:lnTo>
                  <a:pt x="226" y="920"/>
                </a:lnTo>
                <a:cubicBezTo>
                  <a:pt x="225" y="917"/>
                  <a:pt x="223" y="914"/>
                  <a:pt x="221" y="910"/>
                </a:cubicBezTo>
                <a:lnTo>
                  <a:pt x="220" y="908"/>
                </a:lnTo>
                <a:lnTo>
                  <a:pt x="222" y="905"/>
                </a:lnTo>
                <a:lnTo>
                  <a:pt x="219" y="907"/>
                </a:lnTo>
                <a:lnTo>
                  <a:pt x="216" y="904"/>
                </a:lnTo>
                <a:lnTo>
                  <a:pt x="214" y="902"/>
                </a:lnTo>
                <a:cubicBezTo>
                  <a:pt x="213" y="901"/>
                  <a:pt x="212" y="899"/>
                  <a:pt x="210" y="898"/>
                </a:cubicBezTo>
                <a:cubicBezTo>
                  <a:pt x="207" y="896"/>
                  <a:pt x="204" y="894"/>
                  <a:pt x="202" y="892"/>
                </a:cubicBezTo>
                <a:cubicBezTo>
                  <a:pt x="198" y="889"/>
                  <a:pt x="194" y="886"/>
                  <a:pt x="189" y="883"/>
                </a:cubicBezTo>
                <a:cubicBezTo>
                  <a:pt x="187" y="881"/>
                  <a:pt x="184" y="878"/>
                  <a:pt x="181" y="876"/>
                </a:cubicBezTo>
                <a:lnTo>
                  <a:pt x="178" y="873"/>
                </a:lnTo>
                <a:cubicBezTo>
                  <a:pt x="176" y="871"/>
                  <a:pt x="174" y="869"/>
                  <a:pt x="172" y="866"/>
                </a:cubicBezTo>
                <a:lnTo>
                  <a:pt x="168" y="863"/>
                </a:lnTo>
                <a:cubicBezTo>
                  <a:pt x="165" y="860"/>
                  <a:pt x="163" y="857"/>
                  <a:pt x="161" y="854"/>
                </a:cubicBezTo>
                <a:lnTo>
                  <a:pt x="158" y="851"/>
                </a:lnTo>
                <a:cubicBezTo>
                  <a:pt x="156" y="848"/>
                  <a:pt x="154" y="845"/>
                  <a:pt x="152" y="842"/>
                </a:cubicBezTo>
                <a:lnTo>
                  <a:pt x="148" y="838"/>
                </a:lnTo>
                <a:cubicBezTo>
                  <a:pt x="145" y="834"/>
                  <a:pt x="143" y="829"/>
                  <a:pt x="140" y="825"/>
                </a:cubicBezTo>
                <a:lnTo>
                  <a:pt x="136" y="820"/>
                </a:lnTo>
                <a:cubicBezTo>
                  <a:pt x="135" y="817"/>
                  <a:pt x="133" y="814"/>
                  <a:pt x="131" y="811"/>
                </a:cubicBezTo>
                <a:lnTo>
                  <a:pt x="126" y="802"/>
                </a:lnTo>
                <a:cubicBezTo>
                  <a:pt x="122" y="796"/>
                  <a:pt x="119" y="790"/>
                  <a:pt x="116" y="784"/>
                </a:cubicBezTo>
                <a:lnTo>
                  <a:pt x="102" y="758"/>
                </a:lnTo>
                <a:cubicBezTo>
                  <a:pt x="99" y="752"/>
                  <a:pt x="94" y="749"/>
                  <a:pt x="84" y="745"/>
                </a:cubicBezTo>
                <a:cubicBezTo>
                  <a:pt x="79" y="743"/>
                  <a:pt x="74" y="742"/>
                  <a:pt x="69" y="741"/>
                </a:cubicBezTo>
                <a:cubicBezTo>
                  <a:pt x="66" y="740"/>
                  <a:pt x="63" y="739"/>
                  <a:pt x="61" y="738"/>
                </a:cubicBezTo>
                <a:cubicBezTo>
                  <a:pt x="51" y="736"/>
                  <a:pt x="45" y="734"/>
                  <a:pt x="40" y="731"/>
                </a:cubicBezTo>
                <a:cubicBezTo>
                  <a:pt x="34" y="727"/>
                  <a:pt x="29" y="723"/>
                  <a:pt x="26" y="718"/>
                </a:cubicBezTo>
                <a:cubicBezTo>
                  <a:pt x="23" y="714"/>
                  <a:pt x="22" y="710"/>
                  <a:pt x="22" y="708"/>
                </a:cubicBezTo>
                <a:lnTo>
                  <a:pt x="21" y="703"/>
                </a:lnTo>
                <a:cubicBezTo>
                  <a:pt x="20" y="701"/>
                  <a:pt x="22" y="699"/>
                  <a:pt x="23" y="699"/>
                </a:cubicBezTo>
                <a:cubicBezTo>
                  <a:pt x="24" y="699"/>
                  <a:pt x="24" y="699"/>
                  <a:pt x="24" y="699"/>
                </a:cubicBezTo>
                <a:cubicBezTo>
                  <a:pt x="26" y="699"/>
                  <a:pt x="27" y="700"/>
                  <a:pt x="28" y="701"/>
                </a:cubicBezTo>
                <a:lnTo>
                  <a:pt x="29" y="705"/>
                </a:lnTo>
                <a:cubicBezTo>
                  <a:pt x="30" y="707"/>
                  <a:pt x="31" y="710"/>
                  <a:pt x="33" y="713"/>
                </a:cubicBezTo>
                <a:cubicBezTo>
                  <a:pt x="36" y="716"/>
                  <a:pt x="40" y="719"/>
                  <a:pt x="44" y="721"/>
                </a:cubicBezTo>
                <a:cubicBezTo>
                  <a:pt x="49" y="723"/>
                  <a:pt x="55" y="724"/>
                  <a:pt x="64" y="726"/>
                </a:cubicBezTo>
                <a:lnTo>
                  <a:pt x="69" y="727"/>
                </a:lnTo>
                <a:cubicBezTo>
                  <a:pt x="75" y="728"/>
                  <a:pt x="82" y="729"/>
                  <a:pt x="89" y="730"/>
                </a:cubicBezTo>
                <a:cubicBezTo>
                  <a:pt x="93" y="732"/>
                  <a:pt x="98" y="733"/>
                  <a:pt x="104" y="736"/>
                </a:cubicBezTo>
                <a:cubicBezTo>
                  <a:pt x="109" y="739"/>
                  <a:pt x="114" y="743"/>
                  <a:pt x="117" y="748"/>
                </a:cubicBezTo>
                <a:lnTo>
                  <a:pt x="119" y="752"/>
                </a:lnTo>
                <a:lnTo>
                  <a:pt x="133" y="774"/>
                </a:lnTo>
                <a:cubicBezTo>
                  <a:pt x="136" y="780"/>
                  <a:pt x="140" y="785"/>
                  <a:pt x="143" y="791"/>
                </a:cubicBezTo>
                <a:cubicBezTo>
                  <a:pt x="145" y="794"/>
                  <a:pt x="147" y="797"/>
                  <a:pt x="149" y="800"/>
                </a:cubicBezTo>
                <a:lnTo>
                  <a:pt x="158" y="812"/>
                </a:lnTo>
                <a:cubicBezTo>
                  <a:pt x="161" y="817"/>
                  <a:pt x="164" y="821"/>
                  <a:pt x="167" y="824"/>
                </a:cubicBezTo>
                <a:lnTo>
                  <a:pt x="170" y="828"/>
                </a:lnTo>
                <a:cubicBezTo>
                  <a:pt x="172" y="831"/>
                  <a:pt x="174" y="833"/>
                  <a:pt x="176" y="836"/>
                </a:cubicBezTo>
                <a:lnTo>
                  <a:pt x="185" y="847"/>
                </a:lnTo>
                <a:lnTo>
                  <a:pt x="187" y="848"/>
                </a:lnTo>
                <a:lnTo>
                  <a:pt x="190" y="848"/>
                </a:lnTo>
                <a:cubicBezTo>
                  <a:pt x="191" y="848"/>
                  <a:pt x="192" y="847"/>
                  <a:pt x="194" y="847"/>
                </a:cubicBezTo>
                <a:lnTo>
                  <a:pt x="197" y="847"/>
                </a:lnTo>
                <a:cubicBezTo>
                  <a:pt x="198" y="848"/>
                  <a:pt x="199" y="848"/>
                  <a:pt x="200" y="848"/>
                </a:cubicBezTo>
                <a:lnTo>
                  <a:pt x="202" y="848"/>
                </a:lnTo>
                <a:cubicBezTo>
                  <a:pt x="203" y="848"/>
                  <a:pt x="204" y="849"/>
                  <a:pt x="206" y="849"/>
                </a:cubicBezTo>
                <a:cubicBezTo>
                  <a:pt x="207" y="849"/>
                  <a:pt x="208" y="849"/>
                  <a:pt x="210" y="849"/>
                </a:cubicBezTo>
                <a:lnTo>
                  <a:pt x="215" y="850"/>
                </a:lnTo>
                <a:lnTo>
                  <a:pt x="221" y="852"/>
                </a:lnTo>
                <a:cubicBezTo>
                  <a:pt x="224" y="853"/>
                  <a:pt x="228" y="854"/>
                  <a:pt x="232" y="855"/>
                </a:cubicBezTo>
                <a:cubicBezTo>
                  <a:pt x="239" y="858"/>
                  <a:pt x="246" y="860"/>
                  <a:pt x="253" y="864"/>
                </a:cubicBezTo>
                <a:lnTo>
                  <a:pt x="256" y="865"/>
                </a:lnTo>
                <a:cubicBezTo>
                  <a:pt x="262" y="867"/>
                  <a:pt x="268" y="870"/>
                  <a:pt x="274" y="872"/>
                </a:cubicBezTo>
                <a:cubicBezTo>
                  <a:pt x="277" y="873"/>
                  <a:pt x="280" y="874"/>
                  <a:pt x="283" y="874"/>
                </a:cubicBezTo>
                <a:cubicBezTo>
                  <a:pt x="283" y="874"/>
                  <a:pt x="284" y="874"/>
                  <a:pt x="285" y="874"/>
                </a:cubicBezTo>
                <a:lnTo>
                  <a:pt x="287" y="874"/>
                </a:lnTo>
                <a:cubicBezTo>
                  <a:pt x="289" y="874"/>
                  <a:pt x="290" y="874"/>
                  <a:pt x="291" y="874"/>
                </a:cubicBezTo>
                <a:cubicBezTo>
                  <a:pt x="293" y="874"/>
                  <a:pt x="296" y="873"/>
                  <a:pt x="298" y="872"/>
                </a:cubicBezTo>
                <a:cubicBezTo>
                  <a:pt x="300" y="871"/>
                  <a:pt x="301" y="870"/>
                  <a:pt x="303" y="870"/>
                </a:cubicBezTo>
                <a:cubicBezTo>
                  <a:pt x="306" y="868"/>
                  <a:pt x="307" y="868"/>
                  <a:pt x="308" y="868"/>
                </a:cubicBezTo>
                <a:cubicBezTo>
                  <a:pt x="308" y="867"/>
                  <a:pt x="309" y="867"/>
                  <a:pt x="309" y="867"/>
                </a:cubicBezTo>
                <a:cubicBezTo>
                  <a:pt x="310" y="867"/>
                  <a:pt x="312" y="868"/>
                  <a:pt x="312" y="869"/>
                </a:cubicBezTo>
                <a:cubicBezTo>
                  <a:pt x="313" y="870"/>
                  <a:pt x="313" y="872"/>
                  <a:pt x="311" y="874"/>
                </a:cubicBezTo>
                <a:cubicBezTo>
                  <a:pt x="311" y="874"/>
                  <a:pt x="310" y="875"/>
                  <a:pt x="307" y="877"/>
                </a:cubicBezTo>
                <a:cubicBezTo>
                  <a:pt x="306" y="878"/>
                  <a:pt x="304" y="879"/>
                  <a:pt x="301" y="880"/>
                </a:cubicBezTo>
                <a:cubicBezTo>
                  <a:pt x="300" y="882"/>
                  <a:pt x="297" y="883"/>
                  <a:pt x="293" y="884"/>
                </a:cubicBezTo>
                <a:cubicBezTo>
                  <a:pt x="292" y="885"/>
                  <a:pt x="291" y="885"/>
                  <a:pt x="289" y="885"/>
                </a:cubicBezTo>
                <a:lnTo>
                  <a:pt x="287" y="886"/>
                </a:lnTo>
                <a:cubicBezTo>
                  <a:pt x="287" y="886"/>
                  <a:pt x="285" y="886"/>
                  <a:pt x="285" y="886"/>
                </a:cubicBezTo>
                <a:lnTo>
                  <a:pt x="282" y="886"/>
                </a:lnTo>
                <a:cubicBezTo>
                  <a:pt x="278" y="886"/>
                  <a:pt x="275" y="885"/>
                  <a:pt x="271" y="885"/>
                </a:cubicBezTo>
                <a:cubicBezTo>
                  <a:pt x="264" y="884"/>
                  <a:pt x="257" y="882"/>
                  <a:pt x="250" y="880"/>
                </a:cubicBezTo>
                <a:lnTo>
                  <a:pt x="248" y="880"/>
                </a:lnTo>
                <a:cubicBezTo>
                  <a:pt x="241" y="878"/>
                  <a:pt x="233" y="876"/>
                  <a:pt x="226" y="875"/>
                </a:cubicBezTo>
                <a:cubicBezTo>
                  <a:pt x="223" y="874"/>
                  <a:pt x="220" y="874"/>
                  <a:pt x="217" y="874"/>
                </a:cubicBezTo>
                <a:lnTo>
                  <a:pt x="216" y="874"/>
                </a:lnTo>
                <a:cubicBezTo>
                  <a:pt x="219" y="876"/>
                  <a:pt x="222" y="878"/>
                  <a:pt x="224" y="880"/>
                </a:cubicBezTo>
                <a:cubicBezTo>
                  <a:pt x="228" y="882"/>
                  <a:pt x="230" y="886"/>
                  <a:pt x="233" y="889"/>
                </a:cubicBezTo>
                <a:cubicBezTo>
                  <a:pt x="233" y="889"/>
                  <a:pt x="234" y="890"/>
                  <a:pt x="234" y="890"/>
                </a:cubicBezTo>
                <a:lnTo>
                  <a:pt x="239" y="897"/>
                </a:lnTo>
                <a:lnTo>
                  <a:pt x="240" y="900"/>
                </a:lnTo>
                <a:cubicBezTo>
                  <a:pt x="243" y="905"/>
                  <a:pt x="244" y="910"/>
                  <a:pt x="246" y="914"/>
                </a:cubicBezTo>
                <a:lnTo>
                  <a:pt x="247" y="916"/>
                </a:lnTo>
                <a:cubicBezTo>
                  <a:pt x="248" y="920"/>
                  <a:pt x="248" y="922"/>
                  <a:pt x="249" y="925"/>
                </a:cubicBezTo>
                <a:cubicBezTo>
                  <a:pt x="249" y="925"/>
                  <a:pt x="254" y="924"/>
                  <a:pt x="254" y="924"/>
                </a:cubicBezTo>
                <a:cubicBezTo>
                  <a:pt x="254" y="924"/>
                  <a:pt x="264" y="924"/>
                  <a:pt x="265" y="924"/>
                </a:cubicBezTo>
                <a:cubicBezTo>
                  <a:pt x="267" y="924"/>
                  <a:pt x="269" y="924"/>
                  <a:pt x="272" y="924"/>
                </a:cubicBezTo>
                <a:lnTo>
                  <a:pt x="286" y="925"/>
                </a:lnTo>
                <a:cubicBezTo>
                  <a:pt x="289" y="925"/>
                  <a:pt x="293" y="925"/>
                  <a:pt x="296" y="926"/>
                </a:cubicBezTo>
                <a:lnTo>
                  <a:pt x="300" y="926"/>
                </a:lnTo>
                <a:cubicBezTo>
                  <a:pt x="304" y="927"/>
                  <a:pt x="309" y="929"/>
                  <a:pt x="313" y="930"/>
                </a:cubicBezTo>
                <a:lnTo>
                  <a:pt x="320" y="932"/>
                </a:lnTo>
                <a:cubicBezTo>
                  <a:pt x="322" y="933"/>
                  <a:pt x="323" y="933"/>
                  <a:pt x="325" y="934"/>
                </a:cubicBezTo>
                <a:cubicBezTo>
                  <a:pt x="325" y="934"/>
                  <a:pt x="332" y="937"/>
                  <a:pt x="333" y="938"/>
                </a:cubicBezTo>
                <a:cubicBezTo>
                  <a:pt x="334" y="938"/>
                  <a:pt x="336" y="939"/>
                  <a:pt x="337" y="940"/>
                </a:cubicBezTo>
                <a:lnTo>
                  <a:pt x="340" y="942"/>
                </a:lnTo>
                <a:cubicBezTo>
                  <a:pt x="344" y="944"/>
                  <a:pt x="348" y="945"/>
                  <a:pt x="351" y="948"/>
                </a:cubicBezTo>
                <a:cubicBezTo>
                  <a:pt x="359" y="952"/>
                  <a:pt x="366" y="958"/>
                  <a:pt x="373" y="962"/>
                </a:cubicBezTo>
                <a:cubicBezTo>
                  <a:pt x="379" y="967"/>
                  <a:pt x="385" y="971"/>
                  <a:pt x="391" y="976"/>
                </a:cubicBezTo>
                <a:cubicBezTo>
                  <a:pt x="397" y="980"/>
                  <a:pt x="402" y="984"/>
                  <a:pt x="406" y="987"/>
                </a:cubicBezTo>
                <a:lnTo>
                  <a:pt x="408" y="989"/>
                </a:lnTo>
                <a:lnTo>
                  <a:pt x="411" y="990"/>
                </a:lnTo>
                <a:cubicBezTo>
                  <a:pt x="415" y="993"/>
                  <a:pt x="419" y="996"/>
                  <a:pt x="423" y="998"/>
                </a:cubicBezTo>
                <a:cubicBezTo>
                  <a:pt x="425" y="999"/>
                  <a:pt x="427" y="1000"/>
                  <a:pt x="429" y="1001"/>
                </a:cubicBezTo>
                <a:lnTo>
                  <a:pt x="435" y="1004"/>
                </a:lnTo>
                <a:cubicBezTo>
                  <a:pt x="437" y="1005"/>
                  <a:pt x="439" y="1005"/>
                  <a:pt x="440" y="1006"/>
                </a:cubicBezTo>
                <a:lnTo>
                  <a:pt x="446" y="1008"/>
                </a:lnTo>
                <a:cubicBezTo>
                  <a:pt x="448" y="1008"/>
                  <a:pt x="448" y="1010"/>
                  <a:pt x="448" y="1012"/>
                </a:cubicBezTo>
                <a:cubicBezTo>
                  <a:pt x="448" y="1014"/>
                  <a:pt x="446" y="1015"/>
                  <a:pt x="445" y="1015"/>
                </a:cubicBezTo>
                <a:close/>
                <a:moveTo>
                  <a:pt x="71" y="590"/>
                </a:moveTo>
                <a:lnTo>
                  <a:pt x="71" y="590"/>
                </a:lnTo>
                <a:cubicBezTo>
                  <a:pt x="71" y="581"/>
                  <a:pt x="73" y="573"/>
                  <a:pt x="76" y="566"/>
                </a:cubicBezTo>
                <a:cubicBezTo>
                  <a:pt x="78" y="562"/>
                  <a:pt x="80" y="558"/>
                  <a:pt x="82" y="556"/>
                </a:cubicBezTo>
                <a:cubicBezTo>
                  <a:pt x="85" y="552"/>
                  <a:pt x="87" y="550"/>
                  <a:pt x="89" y="548"/>
                </a:cubicBezTo>
                <a:cubicBezTo>
                  <a:pt x="90" y="546"/>
                  <a:pt x="92" y="545"/>
                  <a:pt x="93" y="544"/>
                </a:cubicBezTo>
                <a:cubicBezTo>
                  <a:pt x="91" y="542"/>
                  <a:pt x="89" y="540"/>
                  <a:pt x="87" y="538"/>
                </a:cubicBezTo>
                <a:cubicBezTo>
                  <a:pt x="84" y="534"/>
                  <a:pt x="81" y="529"/>
                  <a:pt x="80" y="524"/>
                </a:cubicBezTo>
                <a:cubicBezTo>
                  <a:pt x="79" y="520"/>
                  <a:pt x="78" y="515"/>
                  <a:pt x="78" y="510"/>
                </a:cubicBezTo>
                <a:cubicBezTo>
                  <a:pt x="78" y="508"/>
                  <a:pt x="78" y="506"/>
                  <a:pt x="78" y="503"/>
                </a:cubicBezTo>
                <a:lnTo>
                  <a:pt x="78" y="501"/>
                </a:lnTo>
                <a:lnTo>
                  <a:pt x="78" y="495"/>
                </a:lnTo>
                <a:cubicBezTo>
                  <a:pt x="79" y="492"/>
                  <a:pt x="79" y="488"/>
                  <a:pt x="80" y="485"/>
                </a:cubicBezTo>
                <a:cubicBezTo>
                  <a:pt x="82" y="477"/>
                  <a:pt x="84" y="470"/>
                  <a:pt x="87" y="463"/>
                </a:cubicBezTo>
                <a:lnTo>
                  <a:pt x="91" y="453"/>
                </a:lnTo>
                <a:cubicBezTo>
                  <a:pt x="92" y="451"/>
                  <a:pt x="92" y="450"/>
                  <a:pt x="93" y="448"/>
                </a:cubicBezTo>
                <a:lnTo>
                  <a:pt x="95" y="444"/>
                </a:lnTo>
                <a:cubicBezTo>
                  <a:pt x="97" y="441"/>
                  <a:pt x="98" y="438"/>
                  <a:pt x="100" y="434"/>
                </a:cubicBezTo>
                <a:lnTo>
                  <a:pt x="103" y="430"/>
                </a:lnTo>
                <a:lnTo>
                  <a:pt x="109" y="418"/>
                </a:lnTo>
                <a:lnTo>
                  <a:pt x="114" y="409"/>
                </a:lnTo>
                <a:cubicBezTo>
                  <a:pt x="115" y="408"/>
                  <a:pt x="116" y="407"/>
                  <a:pt x="118" y="407"/>
                </a:cubicBezTo>
                <a:cubicBezTo>
                  <a:pt x="118" y="407"/>
                  <a:pt x="119" y="407"/>
                  <a:pt x="119" y="407"/>
                </a:cubicBezTo>
                <a:cubicBezTo>
                  <a:pt x="121" y="408"/>
                  <a:pt x="122" y="410"/>
                  <a:pt x="121" y="412"/>
                </a:cubicBezTo>
                <a:lnTo>
                  <a:pt x="112" y="434"/>
                </a:lnTo>
                <a:lnTo>
                  <a:pt x="110" y="439"/>
                </a:lnTo>
                <a:cubicBezTo>
                  <a:pt x="108" y="442"/>
                  <a:pt x="107" y="446"/>
                  <a:pt x="106" y="449"/>
                </a:cubicBezTo>
                <a:lnTo>
                  <a:pt x="103" y="458"/>
                </a:lnTo>
                <a:lnTo>
                  <a:pt x="100" y="466"/>
                </a:lnTo>
                <a:cubicBezTo>
                  <a:pt x="98" y="473"/>
                  <a:pt x="96" y="480"/>
                  <a:pt x="96" y="487"/>
                </a:cubicBezTo>
                <a:cubicBezTo>
                  <a:pt x="95" y="490"/>
                  <a:pt x="95" y="493"/>
                  <a:pt x="95" y="496"/>
                </a:cubicBezTo>
                <a:lnTo>
                  <a:pt x="95" y="501"/>
                </a:lnTo>
                <a:lnTo>
                  <a:pt x="94" y="501"/>
                </a:lnTo>
                <a:cubicBezTo>
                  <a:pt x="95" y="501"/>
                  <a:pt x="95" y="503"/>
                  <a:pt x="95" y="503"/>
                </a:cubicBezTo>
                <a:cubicBezTo>
                  <a:pt x="95" y="505"/>
                  <a:pt x="95" y="507"/>
                  <a:pt x="95" y="508"/>
                </a:cubicBezTo>
                <a:cubicBezTo>
                  <a:pt x="96" y="516"/>
                  <a:pt x="98" y="522"/>
                  <a:pt x="102" y="525"/>
                </a:cubicBezTo>
                <a:cubicBezTo>
                  <a:pt x="105" y="529"/>
                  <a:pt x="111" y="532"/>
                  <a:pt x="117" y="535"/>
                </a:cubicBezTo>
                <a:lnTo>
                  <a:pt x="119" y="536"/>
                </a:lnTo>
                <a:cubicBezTo>
                  <a:pt x="126" y="540"/>
                  <a:pt x="133" y="544"/>
                  <a:pt x="140" y="548"/>
                </a:cubicBezTo>
                <a:cubicBezTo>
                  <a:pt x="147" y="553"/>
                  <a:pt x="153" y="558"/>
                  <a:pt x="158" y="562"/>
                </a:cubicBezTo>
                <a:cubicBezTo>
                  <a:pt x="159" y="563"/>
                  <a:pt x="159" y="563"/>
                  <a:pt x="160" y="564"/>
                </a:cubicBezTo>
                <a:cubicBezTo>
                  <a:pt x="161" y="562"/>
                  <a:pt x="162" y="561"/>
                  <a:pt x="164" y="560"/>
                </a:cubicBezTo>
                <a:cubicBezTo>
                  <a:pt x="169" y="557"/>
                  <a:pt x="174" y="553"/>
                  <a:pt x="180" y="550"/>
                </a:cubicBezTo>
                <a:cubicBezTo>
                  <a:pt x="186" y="546"/>
                  <a:pt x="193" y="542"/>
                  <a:pt x="199" y="537"/>
                </a:cubicBezTo>
                <a:cubicBezTo>
                  <a:pt x="205" y="533"/>
                  <a:pt x="211" y="528"/>
                  <a:pt x="214" y="524"/>
                </a:cubicBezTo>
                <a:cubicBezTo>
                  <a:pt x="217" y="521"/>
                  <a:pt x="218" y="519"/>
                  <a:pt x="220" y="516"/>
                </a:cubicBezTo>
                <a:cubicBezTo>
                  <a:pt x="222" y="514"/>
                  <a:pt x="223" y="511"/>
                  <a:pt x="224" y="509"/>
                </a:cubicBezTo>
                <a:cubicBezTo>
                  <a:pt x="225" y="506"/>
                  <a:pt x="226" y="504"/>
                  <a:pt x="226" y="502"/>
                </a:cubicBezTo>
                <a:lnTo>
                  <a:pt x="226" y="500"/>
                </a:lnTo>
                <a:cubicBezTo>
                  <a:pt x="227" y="499"/>
                  <a:pt x="227" y="498"/>
                  <a:pt x="227" y="497"/>
                </a:cubicBezTo>
                <a:cubicBezTo>
                  <a:pt x="227" y="494"/>
                  <a:pt x="227" y="492"/>
                  <a:pt x="227" y="492"/>
                </a:cubicBezTo>
                <a:cubicBezTo>
                  <a:pt x="227" y="490"/>
                  <a:pt x="229" y="488"/>
                  <a:pt x="231" y="488"/>
                </a:cubicBezTo>
                <a:lnTo>
                  <a:pt x="231" y="488"/>
                </a:lnTo>
                <a:cubicBezTo>
                  <a:pt x="233" y="488"/>
                  <a:pt x="234" y="490"/>
                  <a:pt x="235" y="492"/>
                </a:cubicBezTo>
                <a:cubicBezTo>
                  <a:pt x="235" y="492"/>
                  <a:pt x="235" y="494"/>
                  <a:pt x="235" y="497"/>
                </a:cubicBezTo>
                <a:cubicBezTo>
                  <a:pt x="235" y="498"/>
                  <a:pt x="235" y="500"/>
                  <a:pt x="234" y="502"/>
                </a:cubicBezTo>
                <a:lnTo>
                  <a:pt x="234" y="503"/>
                </a:lnTo>
                <a:cubicBezTo>
                  <a:pt x="234" y="506"/>
                  <a:pt x="233" y="509"/>
                  <a:pt x="232" y="512"/>
                </a:cubicBezTo>
                <a:cubicBezTo>
                  <a:pt x="232" y="515"/>
                  <a:pt x="230" y="518"/>
                  <a:pt x="229" y="521"/>
                </a:cubicBezTo>
                <a:cubicBezTo>
                  <a:pt x="227" y="523"/>
                  <a:pt x="225" y="527"/>
                  <a:pt x="223" y="530"/>
                </a:cubicBezTo>
                <a:cubicBezTo>
                  <a:pt x="219" y="536"/>
                  <a:pt x="214" y="542"/>
                  <a:pt x="207" y="547"/>
                </a:cubicBezTo>
                <a:cubicBezTo>
                  <a:pt x="201" y="553"/>
                  <a:pt x="194" y="558"/>
                  <a:pt x="188" y="562"/>
                </a:cubicBezTo>
                <a:cubicBezTo>
                  <a:pt x="183" y="566"/>
                  <a:pt x="178" y="570"/>
                  <a:pt x="174" y="573"/>
                </a:cubicBezTo>
                <a:cubicBezTo>
                  <a:pt x="173" y="574"/>
                  <a:pt x="172" y="574"/>
                  <a:pt x="172" y="575"/>
                </a:cubicBezTo>
                <a:lnTo>
                  <a:pt x="173" y="577"/>
                </a:lnTo>
                <a:cubicBezTo>
                  <a:pt x="175" y="579"/>
                  <a:pt x="176" y="581"/>
                  <a:pt x="178" y="583"/>
                </a:cubicBezTo>
                <a:cubicBezTo>
                  <a:pt x="181" y="586"/>
                  <a:pt x="182" y="588"/>
                  <a:pt x="184" y="590"/>
                </a:cubicBezTo>
                <a:cubicBezTo>
                  <a:pt x="186" y="593"/>
                  <a:pt x="188" y="596"/>
                  <a:pt x="190" y="598"/>
                </a:cubicBezTo>
                <a:cubicBezTo>
                  <a:pt x="201" y="592"/>
                  <a:pt x="213" y="588"/>
                  <a:pt x="222" y="586"/>
                </a:cubicBezTo>
                <a:cubicBezTo>
                  <a:pt x="227" y="584"/>
                  <a:pt x="232" y="582"/>
                  <a:pt x="238" y="581"/>
                </a:cubicBezTo>
                <a:cubicBezTo>
                  <a:pt x="245" y="579"/>
                  <a:pt x="252" y="576"/>
                  <a:pt x="259" y="574"/>
                </a:cubicBezTo>
                <a:cubicBezTo>
                  <a:pt x="272" y="570"/>
                  <a:pt x="283" y="565"/>
                  <a:pt x="292" y="561"/>
                </a:cubicBezTo>
                <a:cubicBezTo>
                  <a:pt x="302" y="556"/>
                  <a:pt x="312" y="550"/>
                  <a:pt x="320" y="543"/>
                </a:cubicBezTo>
                <a:lnTo>
                  <a:pt x="326" y="539"/>
                </a:lnTo>
                <a:cubicBezTo>
                  <a:pt x="328" y="538"/>
                  <a:pt x="329" y="536"/>
                  <a:pt x="330" y="535"/>
                </a:cubicBezTo>
                <a:lnTo>
                  <a:pt x="335" y="531"/>
                </a:lnTo>
                <a:lnTo>
                  <a:pt x="342" y="524"/>
                </a:lnTo>
                <a:cubicBezTo>
                  <a:pt x="343" y="522"/>
                  <a:pt x="344" y="521"/>
                  <a:pt x="345" y="520"/>
                </a:cubicBezTo>
                <a:lnTo>
                  <a:pt x="353" y="512"/>
                </a:lnTo>
                <a:cubicBezTo>
                  <a:pt x="354" y="510"/>
                  <a:pt x="355" y="509"/>
                  <a:pt x="356" y="508"/>
                </a:cubicBezTo>
                <a:cubicBezTo>
                  <a:pt x="358" y="506"/>
                  <a:pt x="360" y="505"/>
                  <a:pt x="362" y="504"/>
                </a:cubicBezTo>
                <a:cubicBezTo>
                  <a:pt x="368" y="499"/>
                  <a:pt x="375" y="495"/>
                  <a:pt x="382" y="492"/>
                </a:cubicBezTo>
                <a:cubicBezTo>
                  <a:pt x="387" y="490"/>
                  <a:pt x="391" y="489"/>
                  <a:pt x="396" y="488"/>
                </a:cubicBezTo>
                <a:cubicBezTo>
                  <a:pt x="399" y="488"/>
                  <a:pt x="401" y="488"/>
                  <a:pt x="401" y="488"/>
                </a:cubicBezTo>
                <a:lnTo>
                  <a:pt x="401" y="488"/>
                </a:lnTo>
                <a:cubicBezTo>
                  <a:pt x="403" y="488"/>
                  <a:pt x="404" y="488"/>
                  <a:pt x="405" y="490"/>
                </a:cubicBezTo>
                <a:cubicBezTo>
                  <a:pt x="405" y="492"/>
                  <a:pt x="405" y="494"/>
                  <a:pt x="403" y="494"/>
                </a:cubicBezTo>
                <a:lnTo>
                  <a:pt x="399" y="497"/>
                </a:lnTo>
                <a:cubicBezTo>
                  <a:pt x="398" y="497"/>
                  <a:pt x="397" y="498"/>
                  <a:pt x="395" y="499"/>
                </a:cubicBezTo>
                <a:lnTo>
                  <a:pt x="394" y="499"/>
                </a:lnTo>
                <a:cubicBezTo>
                  <a:pt x="392" y="500"/>
                  <a:pt x="391" y="502"/>
                  <a:pt x="389" y="503"/>
                </a:cubicBezTo>
                <a:cubicBezTo>
                  <a:pt x="384" y="506"/>
                  <a:pt x="379" y="510"/>
                  <a:pt x="374" y="516"/>
                </a:cubicBezTo>
                <a:cubicBezTo>
                  <a:pt x="374" y="516"/>
                  <a:pt x="371" y="519"/>
                  <a:pt x="371" y="520"/>
                </a:cubicBezTo>
                <a:cubicBezTo>
                  <a:pt x="370" y="521"/>
                  <a:pt x="367" y="525"/>
                  <a:pt x="367" y="525"/>
                </a:cubicBezTo>
                <a:lnTo>
                  <a:pt x="362" y="533"/>
                </a:lnTo>
                <a:cubicBezTo>
                  <a:pt x="361" y="534"/>
                  <a:pt x="360" y="536"/>
                  <a:pt x="359" y="538"/>
                </a:cubicBezTo>
                <a:cubicBezTo>
                  <a:pt x="353" y="546"/>
                  <a:pt x="346" y="555"/>
                  <a:pt x="337" y="563"/>
                </a:cubicBezTo>
                <a:cubicBezTo>
                  <a:pt x="327" y="572"/>
                  <a:pt x="316" y="579"/>
                  <a:pt x="305" y="585"/>
                </a:cubicBezTo>
                <a:cubicBezTo>
                  <a:pt x="295" y="591"/>
                  <a:pt x="283" y="597"/>
                  <a:pt x="268" y="601"/>
                </a:cubicBezTo>
                <a:cubicBezTo>
                  <a:pt x="258" y="605"/>
                  <a:pt x="248" y="608"/>
                  <a:pt x="237" y="611"/>
                </a:cubicBezTo>
                <a:lnTo>
                  <a:pt x="230" y="613"/>
                </a:lnTo>
                <a:cubicBezTo>
                  <a:pt x="217" y="617"/>
                  <a:pt x="206" y="620"/>
                  <a:pt x="196" y="625"/>
                </a:cubicBezTo>
                <a:cubicBezTo>
                  <a:pt x="187" y="630"/>
                  <a:pt x="179" y="637"/>
                  <a:pt x="173" y="646"/>
                </a:cubicBezTo>
                <a:cubicBezTo>
                  <a:pt x="168" y="653"/>
                  <a:pt x="164" y="663"/>
                  <a:pt x="162" y="674"/>
                </a:cubicBezTo>
                <a:cubicBezTo>
                  <a:pt x="162" y="676"/>
                  <a:pt x="161" y="678"/>
                  <a:pt x="161" y="679"/>
                </a:cubicBezTo>
                <a:lnTo>
                  <a:pt x="161" y="682"/>
                </a:lnTo>
                <a:cubicBezTo>
                  <a:pt x="160" y="685"/>
                  <a:pt x="160" y="687"/>
                  <a:pt x="160" y="690"/>
                </a:cubicBezTo>
                <a:lnTo>
                  <a:pt x="159" y="698"/>
                </a:lnTo>
                <a:cubicBezTo>
                  <a:pt x="159" y="699"/>
                  <a:pt x="159" y="700"/>
                  <a:pt x="159" y="702"/>
                </a:cubicBezTo>
                <a:lnTo>
                  <a:pt x="159" y="704"/>
                </a:lnTo>
                <a:cubicBezTo>
                  <a:pt x="159" y="706"/>
                  <a:pt x="159" y="708"/>
                  <a:pt x="159" y="710"/>
                </a:cubicBezTo>
                <a:lnTo>
                  <a:pt x="159" y="713"/>
                </a:lnTo>
                <a:cubicBezTo>
                  <a:pt x="159" y="714"/>
                  <a:pt x="159" y="716"/>
                  <a:pt x="159" y="717"/>
                </a:cubicBezTo>
                <a:lnTo>
                  <a:pt x="160" y="723"/>
                </a:lnTo>
                <a:lnTo>
                  <a:pt x="162" y="731"/>
                </a:lnTo>
                <a:lnTo>
                  <a:pt x="163" y="733"/>
                </a:lnTo>
                <a:lnTo>
                  <a:pt x="165" y="739"/>
                </a:lnTo>
                <a:cubicBezTo>
                  <a:pt x="166" y="741"/>
                  <a:pt x="167" y="743"/>
                  <a:pt x="167" y="744"/>
                </a:cubicBezTo>
                <a:lnTo>
                  <a:pt x="169" y="747"/>
                </a:lnTo>
                <a:lnTo>
                  <a:pt x="172" y="753"/>
                </a:lnTo>
                <a:cubicBezTo>
                  <a:pt x="173" y="754"/>
                  <a:pt x="174" y="755"/>
                  <a:pt x="175" y="755"/>
                </a:cubicBezTo>
                <a:cubicBezTo>
                  <a:pt x="175" y="756"/>
                  <a:pt x="179" y="760"/>
                  <a:pt x="179" y="760"/>
                </a:cubicBezTo>
                <a:cubicBezTo>
                  <a:pt x="180" y="762"/>
                  <a:pt x="180" y="764"/>
                  <a:pt x="179" y="765"/>
                </a:cubicBezTo>
                <a:cubicBezTo>
                  <a:pt x="178" y="766"/>
                  <a:pt x="177" y="766"/>
                  <a:pt x="176" y="766"/>
                </a:cubicBezTo>
                <a:cubicBezTo>
                  <a:pt x="175" y="766"/>
                  <a:pt x="175" y="766"/>
                  <a:pt x="174" y="766"/>
                </a:cubicBezTo>
                <a:lnTo>
                  <a:pt x="169" y="762"/>
                </a:lnTo>
                <a:cubicBezTo>
                  <a:pt x="168" y="761"/>
                  <a:pt x="166" y="760"/>
                  <a:pt x="165" y="759"/>
                </a:cubicBezTo>
                <a:lnTo>
                  <a:pt x="160" y="753"/>
                </a:lnTo>
                <a:lnTo>
                  <a:pt x="158" y="751"/>
                </a:lnTo>
                <a:cubicBezTo>
                  <a:pt x="156" y="749"/>
                  <a:pt x="155" y="747"/>
                  <a:pt x="154" y="744"/>
                </a:cubicBezTo>
                <a:lnTo>
                  <a:pt x="150" y="738"/>
                </a:lnTo>
                <a:cubicBezTo>
                  <a:pt x="150" y="738"/>
                  <a:pt x="149" y="736"/>
                  <a:pt x="149" y="736"/>
                </a:cubicBezTo>
                <a:lnTo>
                  <a:pt x="146" y="727"/>
                </a:lnTo>
                <a:lnTo>
                  <a:pt x="144" y="720"/>
                </a:lnTo>
                <a:cubicBezTo>
                  <a:pt x="143" y="719"/>
                  <a:pt x="143" y="717"/>
                  <a:pt x="142" y="715"/>
                </a:cubicBezTo>
                <a:lnTo>
                  <a:pt x="142" y="712"/>
                </a:lnTo>
                <a:cubicBezTo>
                  <a:pt x="141" y="710"/>
                  <a:pt x="141" y="707"/>
                  <a:pt x="141" y="705"/>
                </a:cubicBezTo>
                <a:lnTo>
                  <a:pt x="140" y="702"/>
                </a:lnTo>
                <a:cubicBezTo>
                  <a:pt x="140" y="701"/>
                  <a:pt x="140" y="699"/>
                  <a:pt x="140" y="697"/>
                </a:cubicBezTo>
                <a:lnTo>
                  <a:pt x="140" y="689"/>
                </a:lnTo>
                <a:cubicBezTo>
                  <a:pt x="140" y="686"/>
                  <a:pt x="140" y="683"/>
                  <a:pt x="140" y="680"/>
                </a:cubicBezTo>
                <a:lnTo>
                  <a:pt x="140" y="677"/>
                </a:lnTo>
                <a:cubicBezTo>
                  <a:pt x="140" y="675"/>
                  <a:pt x="140" y="673"/>
                  <a:pt x="141" y="671"/>
                </a:cubicBezTo>
                <a:cubicBezTo>
                  <a:pt x="141" y="668"/>
                  <a:pt x="141" y="665"/>
                  <a:pt x="142" y="662"/>
                </a:cubicBezTo>
                <a:lnTo>
                  <a:pt x="144" y="653"/>
                </a:lnTo>
                <a:cubicBezTo>
                  <a:pt x="145" y="650"/>
                  <a:pt x="146" y="647"/>
                  <a:pt x="146" y="645"/>
                </a:cubicBezTo>
                <a:lnTo>
                  <a:pt x="147" y="643"/>
                </a:lnTo>
                <a:lnTo>
                  <a:pt x="148" y="641"/>
                </a:lnTo>
                <a:cubicBezTo>
                  <a:pt x="149" y="638"/>
                  <a:pt x="150" y="636"/>
                  <a:pt x="152" y="633"/>
                </a:cubicBezTo>
                <a:cubicBezTo>
                  <a:pt x="157" y="624"/>
                  <a:pt x="164" y="616"/>
                  <a:pt x="172" y="609"/>
                </a:cubicBezTo>
                <a:cubicBezTo>
                  <a:pt x="171" y="608"/>
                  <a:pt x="169" y="606"/>
                  <a:pt x="167" y="604"/>
                </a:cubicBezTo>
                <a:lnTo>
                  <a:pt x="166" y="602"/>
                </a:lnTo>
                <a:cubicBezTo>
                  <a:pt x="163" y="599"/>
                  <a:pt x="160" y="596"/>
                  <a:pt x="157" y="592"/>
                </a:cubicBezTo>
                <a:cubicBezTo>
                  <a:pt x="153" y="588"/>
                  <a:pt x="149" y="585"/>
                  <a:pt x="145" y="581"/>
                </a:cubicBezTo>
                <a:lnTo>
                  <a:pt x="143" y="579"/>
                </a:lnTo>
                <a:cubicBezTo>
                  <a:pt x="138" y="575"/>
                  <a:pt x="133" y="570"/>
                  <a:pt x="128" y="566"/>
                </a:cubicBezTo>
                <a:cubicBezTo>
                  <a:pt x="122" y="562"/>
                  <a:pt x="116" y="558"/>
                  <a:pt x="109" y="554"/>
                </a:cubicBezTo>
                <a:cubicBezTo>
                  <a:pt x="109" y="554"/>
                  <a:pt x="108" y="553"/>
                  <a:pt x="108" y="553"/>
                </a:cubicBezTo>
                <a:lnTo>
                  <a:pt x="108" y="553"/>
                </a:lnTo>
                <a:lnTo>
                  <a:pt x="106" y="552"/>
                </a:lnTo>
                <a:lnTo>
                  <a:pt x="107" y="555"/>
                </a:lnTo>
                <a:lnTo>
                  <a:pt x="105" y="556"/>
                </a:lnTo>
                <a:cubicBezTo>
                  <a:pt x="104" y="557"/>
                  <a:pt x="102" y="558"/>
                  <a:pt x="100" y="560"/>
                </a:cubicBezTo>
                <a:cubicBezTo>
                  <a:pt x="98" y="561"/>
                  <a:pt x="96" y="563"/>
                  <a:pt x="94" y="565"/>
                </a:cubicBezTo>
                <a:cubicBezTo>
                  <a:pt x="93" y="567"/>
                  <a:pt x="91" y="570"/>
                  <a:pt x="90" y="572"/>
                </a:cubicBezTo>
                <a:cubicBezTo>
                  <a:pt x="86" y="578"/>
                  <a:pt x="84" y="584"/>
                  <a:pt x="84" y="591"/>
                </a:cubicBezTo>
                <a:lnTo>
                  <a:pt x="83" y="592"/>
                </a:lnTo>
                <a:cubicBezTo>
                  <a:pt x="83" y="593"/>
                  <a:pt x="83" y="595"/>
                  <a:pt x="83" y="596"/>
                </a:cubicBezTo>
                <a:lnTo>
                  <a:pt x="83" y="601"/>
                </a:lnTo>
                <a:lnTo>
                  <a:pt x="84" y="606"/>
                </a:lnTo>
                <a:lnTo>
                  <a:pt x="84" y="608"/>
                </a:lnTo>
                <a:cubicBezTo>
                  <a:pt x="84" y="609"/>
                  <a:pt x="85" y="609"/>
                  <a:pt x="85" y="610"/>
                </a:cubicBezTo>
                <a:lnTo>
                  <a:pt x="86" y="614"/>
                </a:lnTo>
                <a:cubicBezTo>
                  <a:pt x="87" y="616"/>
                  <a:pt x="88" y="618"/>
                  <a:pt x="88" y="620"/>
                </a:cubicBezTo>
                <a:cubicBezTo>
                  <a:pt x="89" y="623"/>
                  <a:pt x="89" y="624"/>
                  <a:pt x="89" y="626"/>
                </a:cubicBezTo>
                <a:lnTo>
                  <a:pt x="90" y="631"/>
                </a:lnTo>
                <a:lnTo>
                  <a:pt x="89" y="635"/>
                </a:lnTo>
                <a:cubicBezTo>
                  <a:pt x="89" y="636"/>
                  <a:pt x="89" y="637"/>
                  <a:pt x="88" y="638"/>
                </a:cubicBezTo>
                <a:cubicBezTo>
                  <a:pt x="88" y="641"/>
                  <a:pt x="87" y="642"/>
                  <a:pt x="87" y="643"/>
                </a:cubicBezTo>
                <a:lnTo>
                  <a:pt x="86" y="646"/>
                </a:lnTo>
                <a:cubicBezTo>
                  <a:pt x="85" y="647"/>
                  <a:pt x="84" y="648"/>
                  <a:pt x="84" y="648"/>
                </a:cubicBezTo>
                <a:lnTo>
                  <a:pt x="83" y="650"/>
                </a:lnTo>
                <a:cubicBezTo>
                  <a:pt x="82" y="652"/>
                  <a:pt x="81" y="652"/>
                  <a:pt x="80" y="652"/>
                </a:cubicBezTo>
                <a:cubicBezTo>
                  <a:pt x="79" y="652"/>
                  <a:pt x="78" y="652"/>
                  <a:pt x="78" y="652"/>
                </a:cubicBezTo>
                <a:cubicBezTo>
                  <a:pt x="76" y="651"/>
                  <a:pt x="75" y="649"/>
                  <a:pt x="76" y="647"/>
                </a:cubicBezTo>
                <a:lnTo>
                  <a:pt x="77" y="646"/>
                </a:lnTo>
                <a:cubicBezTo>
                  <a:pt x="78" y="644"/>
                  <a:pt x="78" y="643"/>
                  <a:pt x="78" y="642"/>
                </a:cubicBezTo>
                <a:cubicBezTo>
                  <a:pt x="78" y="642"/>
                  <a:pt x="79" y="642"/>
                  <a:pt x="79" y="641"/>
                </a:cubicBezTo>
                <a:cubicBezTo>
                  <a:pt x="79" y="640"/>
                  <a:pt x="80" y="639"/>
                  <a:pt x="80" y="638"/>
                </a:cubicBezTo>
                <a:cubicBezTo>
                  <a:pt x="80" y="638"/>
                  <a:pt x="80" y="636"/>
                  <a:pt x="80" y="636"/>
                </a:cubicBezTo>
                <a:cubicBezTo>
                  <a:pt x="80" y="636"/>
                  <a:pt x="80" y="635"/>
                  <a:pt x="80" y="635"/>
                </a:cubicBezTo>
                <a:lnTo>
                  <a:pt x="80" y="631"/>
                </a:lnTo>
                <a:lnTo>
                  <a:pt x="80" y="627"/>
                </a:lnTo>
                <a:cubicBezTo>
                  <a:pt x="80" y="626"/>
                  <a:pt x="80" y="625"/>
                  <a:pt x="79" y="624"/>
                </a:cubicBezTo>
                <a:cubicBezTo>
                  <a:pt x="78" y="622"/>
                  <a:pt x="78" y="620"/>
                  <a:pt x="77" y="618"/>
                </a:cubicBezTo>
                <a:cubicBezTo>
                  <a:pt x="76" y="617"/>
                  <a:pt x="76" y="616"/>
                  <a:pt x="75" y="614"/>
                </a:cubicBezTo>
                <a:cubicBezTo>
                  <a:pt x="74" y="613"/>
                  <a:pt x="74" y="612"/>
                  <a:pt x="74" y="610"/>
                </a:cubicBezTo>
                <a:lnTo>
                  <a:pt x="73" y="609"/>
                </a:lnTo>
                <a:cubicBezTo>
                  <a:pt x="73" y="607"/>
                  <a:pt x="72" y="606"/>
                  <a:pt x="72" y="604"/>
                </a:cubicBezTo>
                <a:lnTo>
                  <a:pt x="72" y="602"/>
                </a:lnTo>
                <a:lnTo>
                  <a:pt x="71" y="596"/>
                </a:lnTo>
                <a:cubicBezTo>
                  <a:pt x="71" y="595"/>
                  <a:pt x="71" y="593"/>
                  <a:pt x="71" y="592"/>
                </a:cubicBezTo>
                <a:lnTo>
                  <a:pt x="71" y="590"/>
                </a:lnTo>
                <a:close/>
                <a:moveTo>
                  <a:pt x="160" y="420"/>
                </a:moveTo>
                <a:lnTo>
                  <a:pt x="160" y="420"/>
                </a:lnTo>
                <a:cubicBezTo>
                  <a:pt x="160" y="420"/>
                  <a:pt x="162" y="417"/>
                  <a:pt x="164" y="412"/>
                </a:cubicBezTo>
                <a:lnTo>
                  <a:pt x="165" y="411"/>
                </a:lnTo>
                <a:cubicBezTo>
                  <a:pt x="168" y="407"/>
                  <a:pt x="171" y="401"/>
                  <a:pt x="176" y="394"/>
                </a:cubicBezTo>
                <a:cubicBezTo>
                  <a:pt x="178" y="391"/>
                  <a:pt x="181" y="386"/>
                  <a:pt x="185" y="382"/>
                </a:cubicBezTo>
                <a:cubicBezTo>
                  <a:pt x="186" y="381"/>
                  <a:pt x="188" y="379"/>
                  <a:pt x="190" y="377"/>
                </a:cubicBezTo>
                <a:lnTo>
                  <a:pt x="191" y="376"/>
                </a:lnTo>
                <a:cubicBezTo>
                  <a:pt x="193" y="374"/>
                  <a:pt x="196" y="372"/>
                  <a:pt x="198" y="371"/>
                </a:cubicBezTo>
                <a:cubicBezTo>
                  <a:pt x="204" y="367"/>
                  <a:pt x="210" y="365"/>
                  <a:pt x="217" y="363"/>
                </a:cubicBezTo>
                <a:cubicBezTo>
                  <a:pt x="219" y="363"/>
                  <a:pt x="221" y="362"/>
                  <a:pt x="223" y="362"/>
                </a:cubicBezTo>
                <a:lnTo>
                  <a:pt x="226" y="362"/>
                </a:lnTo>
                <a:lnTo>
                  <a:pt x="229" y="361"/>
                </a:lnTo>
                <a:cubicBezTo>
                  <a:pt x="231" y="361"/>
                  <a:pt x="233" y="361"/>
                  <a:pt x="235" y="361"/>
                </a:cubicBezTo>
                <a:cubicBezTo>
                  <a:pt x="237" y="361"/>
                  <a:pt x="239" y="361"/>
                  <a:pt x="241" y="361"/>
                </a:cubicBezTo>
                <a:cubicBezTo>
                  <a:pt x="245" y="361"/>
                  <a:pt x="249" y="361"/>
                  <a:pt x="253" y="361"/>
                </a:cubicBezTo>
                <a:lnTo>
                  <a:pt x="270" y="362"/>
                </a:lnTo>
                <a:cubicBezTo>
                  <a:pt x="273" y="362"/>
                  <a:pt x="276" y="362"/>
                  <a:pt x="278" y="362"/>
                </a:cubicBezTo>
                <a:cubicBezTo>
                  <a:pt x="280" y="362"/>
                  <a:pt x="282" y="362"/>
                  <a:pt x="284" y="362"/>
                </a:cubicBezTo>
                <a:lnTo>
                  <a:pt x="286" y="362"/>
                </a:lnTo>
                <a:cubicBezTo>
                  <a:pt x="288" y="362"/>
                  <a:pt x="289" y="361"/>
                  <a:pt x="291" y="361"/>
                </a:cubicBezTo>
                <a:cubicBezTo>
                  <a:pt x="292" y="361"/>
                  <a:pt x="292" y="361"/>
                  <a:pt x="293" y="361"/>
                </a:cubicBezTo>
                <a:cubicBezTo>
                  <a:pt x="294" y="361"/>
                  <a:pt x="296" y="360"/>
                  <a:pt x="296" y="360"/>
                </a:cubicBezTo>
                <a:lnTo>
                  <a:pt x="299" y="359"/>
                </a:lnTo>
                <a:cubicBezTo>
                  <a:pt x="300" y="359"/>
                  <a:pt x="301" y="359"/>
                  <a:pt x="302" y="358"/>
                </a:cubicBezTo>
                <a:lnTo>
                  <a:pt x="307" y="357"/>
                </a:lnTo>
                <a:cubicBezTo>
                  <a:pt x="308" y="356"/>
                  <a:pt x="308" y="356"/>
                  <a:pt x="309" y="355"/>
                </a:cubicBezTo>
                <a:cubicBezTo>
                  <a:pt x="310" y="355"/>
                  <a:pt x="310" y="355"/>
                  <a:pt x="311" y="354"/>
                </a:cubicBezTo>
                <a:cubicBezTo>
                  <a:pt x="311" y="354"/>
                  <a:pt x="313" y="353"/>
                  <a:pt x="314" y="353"/>
                </a:cubicBezTo>
                <a:cubicBezTo>
                  <a:pt x="318" y="350"/>
                  <a:pt x="320" y="348"/>
                  <a:pt x="320" y="348"/>
                </a:cubicBezTo>
                <a:cubicBezTo>
                  <a:pt x="321" y="347"/>
                  <a:pt x="322" y="347"/>
                  <a:pt x="322" y="347"/>
                </a:cubicBezTo>
                <a:cubicBezTo>
                  <a:pt x="323" y="347"/>
                  <a:pt x="324" y="347"/>
                  <a:pt x="325" y="348"/>
                </a:cubicBezTo>
                <a:cubicBezTo>
                  <a:pt x="326" y="349"/>
                  <a:pt x="326" y="351"/>
                  <a:pt x="325" y="353"/>
                </a:cubicBezTo>
                <a:cubicBezTo>
                  <a:pt x="325" y="353"/>
                  <a:pt x="324" y="355"/>
                  <a:pt x="321" y="360"/>
                </a:cubicBezTo>
                <a:lnTo>
                  <a:pt x="319" y="361"/>
                </a:lnTo>
                <a:cubicBezTo>
                  <a:pt x="318" y="363"/>
                  <a:pt x="316" y="365"/>
                  <a:pt x="313" y="367"/>
                </a:cubicBezTo>
                <a:lnTo>
                  <a:pt x="309" y="370"/>
                </a:lnTo>
                <a:cubicBezTo>
                  <a:pt x="307" y="372"/>
                  <a:pt x="305" y="372"/>
                  <a:pt x="304" y="373"/>
                </a:cubicBezTo>
                <a:lnTo>
                  <a:pt x="302" y="374"/>
                </a:lnTo>
                <a:cubicBezTo>
                  <a:pt x="297" y="376"/>
                  <a:pt x="292" y="378"/>
                  <a:pt x="287" y="379"/>
                </a:cubicBezTo>
                <a:cubicBezTo>
                  <a:pt x="281" y="380"/>
                  <a:pt x="274" y="381"/>
                  <a:pt x="270" y="381"/>
                </a:cubicBezTo>
                <a:cubicBezTo>
                  <a:pt x="265" y="381"/>
                  <a:pt x="260" y="381"/>
                  <a:pt x="255" y="381"/>
                </a:cubicBezTo>
                <a:lnTo>
                  <a:pt x="245" y="381"/>
                </a:lnTo>
                <a:cubicBezTo>
                  <a:pt x="242" y="381"/>
                  <a:pt x="239" y="381"/>
                  <a:pt x="236" y="381"/>
                </a:cubicBezTo>
                <a:cubicBezTo>
                  <a:pt x="235" y="381"/>
                  <a:pt x="233" y="382"/>
                  <a:pt x="231" y="382"/>
                </a:cubicBezTo>
                <a:lnTo>
                  <a:pt x="228" y="382"/>
                </a:lnTo>
                <a:cubicBezTo>
                  <a:pt x="227" y="382"/>
                  <a:pt x="226" y="382"/>
                  <a:pt x="225" y="382"/>
                </a:cubicBezTo>
                <a:cubicBezTo>
                  <a:pt x="224" y="382"/>
                  <a:pt x="222" y="383"/>
                  <a:pt x="221" y="383"/>
                </a:cubicBezTo>
                <a:cubicBezTo>
                  <a:pt x="216" y="384"/>
                  <a:pt x="212" y="385"/>
                  <a:pt x="208" y="387"/>
                </a:cubicBezTo>
                <a:cubicBezTo>
                  <a:pt x="204" y="389"/>
                  <a:pt x="200" y="392"/>
                  <a:pt x="197" y="395"/>
                </a:cubicBezTo>
                <a:cubicBezTo>
                  <a:pt x="194" y="398"/>
                  <a:pt x="191" y="400"/>
                  <a:pt x="188" y="403"/>
                </a:cubicBezTo>
                <a:cubicBezTo>
                  <a:pt x="181" y="410"/>
                  <a:pt x="176" y="415"/>
                  <a:pt x="172" y="419"/>
                </a:cubicBezTo>
                <a:cubicBezTo>
                  <a:pt x="168" y="422"/>
                  <a:pt x="166" y="424"/>
                  <a:pt x="166" y="424"/>
                </a:cubicBezTo>
                <a:cubicBezTo>
                  <a:pt x="165" y="425"/>
                  <a:pt x="164" y="425"/>
                  <a:pt x="164" y="425"/>
                </a:cubicBezTo>
                <a:cubicBezTo>
                  <a:pt x="163" y="425"/>
                  <a:pt x="162" y="425"/>
                  <a:pt x="161" y="424"/>
                </a:cubicBezTo>
                <a:cubicBezTo>
                  <a:pt x="160" y="423"/>
                  <a:pt x="159" y="421"/>
                  <a:pt x="160" y="420"/>
                </a:cubicBezTo>
                <a:close/>
                <a:moveTo>
                  <a:pt x="194" y="274"/>
                </a:moveTo>
                <a:lnTo>
                  <a:pt x="194" y="274"/>
                </a:lnTo>
                <a:lnTo>
                  <a:pt x="196" y="270"/>
                </a:lnTo>
                <a:cubicBezTo>
                  <a:pt x="197" y="267"/>
                  <a:pt x="199" y="263"/>
                  <a:pt x="202" y="259"/>
                </a:cubicBezTo>
                <a:cubicBezTo>
                  <a:pt x="205" y="255"/>
                  <a:pt x="209" y="248"/>
                  <a:pt x="216" y="243"/>
                </a:cubicBezTo>
                <a:cubicBezTo>
                  <a:pt x="223" y="236"/>
                  <a:pt x="231" y="231"/>
                  <a:pt x="240" y="228"/>
                </a:cubicBezTo>
                <a:cubicBezTo>
                  <a:pt x="244" y="226"/>
                  <a:pt x="250" y="225"/>
                  <a:pt x="256" y="224"/>
                </a:cubicBezTo>
                <a:cubicBezTo>
                  <a:pt x="257" y="224"/>
                  <a:pt x="258" y="223"/>
                  <a:pt x="259" y="223"/>
                </a:cubicBezTo>
                <a:cubicBezTo>
                  <a:pt x="259" y="223"/>
                  <a:pt x="263" y="223"/>
                  <a:pt x="263" y="223"/>
                </a:cubicBezTo>
                <a:lnTo>
                  <a:pt x="270" y="223"/>
                </a:lnTo>
                <a:lnTo>
                  <a:pt x="273" y="223"/>
                </a:lnTo>
                <a:cubicBezTo>
                  <a:pt x="280" y="223"/>
                  <a:pt x="286" y="225"/>
                  <a:pt x="293" y="228"/>
                </a:cubicBezTo>
                <a:cubicBezTo>
                  <a:pt x="298" y="230"/>
                  <a:pt x="304" y="234"/>
                  <a:pt x="310" y="239"/>
                </a:cubicBezTo>
                <a:cubicBezTo>
                  <a:pt x="310" y="239"/>
                  <a:pt x="317" y="245"/>
                  <a:pt x="318" y="245"/>
                </a:cubicBezTo>
                <a:cubicBezTo>
                  <a:pt x="320" y="244"/>
                  <a:pt x="321" y="242"/>
                  <a:pt x="323" y="241"/>
                </a:cubicBezTo>
                <a:cubicBezTo>
                  <a:pt x="326" y="239"/>
                  <a:pt x="329" y="237"/>
                  <a:pt x="332" y="234"/>
                </a:cubicBezTo>
                <a:lnTo>
                  <a:pt x="337" y="230"/>
                </a:lnTo>
                <a:cubicBezTo>
                  <a:pt x="342" y="226"/>
                  <a:pt x="347" y="222"/>
                  <a:pt x="352" y="219"/>
                </a:cubicBezTo>
                <a:cubicBezTo>
                  <a:pt x="364" y="210"/>
                  <a:pt x="376" y="204"/>
                  <a:pt x="387" y="200"/>
                </a:cubicBezTo>
                <a:cubicBezTo>
                  <a:pt x="396" y="196"/>
                  <a:pt x="406" y="193"/>
                  <a:pt x="415" y="192"/>
                </a:cubicBezTo>
                <a:lnTo>
                  <a:pt x="412" y="185"/>
                </a:lnTo>
                <a:cubicBezTo>
                  <a:pt x="411" y="182"/>
                  <a:pt x="410" y="180"/>
                  <a:pt x="408" y="177"/>
                </a:cubicBezTo>
                <a:cubicBezTo>
                  <a:pt x="407" y="174"/>
                  <a:pt x="405" y="171"/>
                  <a:pt x="403" y="169"/>
                </a:cubicBezTo>
                <a:lnTo>
                  <a:pt x="402" y="168"/>
                </a:lnTo>
                <a:cubicBezTo>
                  <a:pt x="401" y="167"/>
                  <a:pt x="401" y="166"/>
                  <a:pt x="400" y="165"/>
                </a:cubicBezTo>
                <a:lnTo>
                  <a:pt x="396" y="162"/>
                </a:lnTo>
                <a:lnTo>
                  <a:pt x="392" y="159"/>
                </a:lnTo>
                <a:cubicBezTo>
                  <a:pt x="392" y="159"/>
                  <a:pt x="391" y="158"/>
                  <a:pt x="390" y="158"/>
                </a:cubicBezTo>
                <a:lnTo>
                  <a:pt x="388" y="157"/>
                </a:lnTo>
                <a:cubicBezTo>
                  <a:pt x="387" y="156"/>
                  <a:pt x="386" y="156"/>
                  <a:pt x="384" y="155"/>
                </a:cubicBezTo>
                <a:lnTo>
                  <a:pt x="382" y="154"/>
                </a:lnTo>
                <a:cubicBezTo>
                  <a:pt x="381" y="154"/>
                  <a:pt x="380" y="154"/>
                  <a:pt x="380" y="154"/>
                </a:cubicBezTo>
                <a:lnTo>
                  <a:pt x="375" y="153"/>
                </a:lnTo>
                <a:cubicBezTo>
                  <a:pt x="374" y="152"/>
                  <a:pt x="372" y="152"/>
                  <a:pt x="371" y="152"/>
                </a:cubicBezTo>
                <a:lnTo>
                  <a:pt x="367" y="152"/>
                </a:lnTo>
                <a:cubicBezTo>
                  <a:pt x="366" y="151"/>
                  <a:pt x="364" y="151"/>
                  <a:pt x="363" y="151"/>
                </a:cubicBezTo>
                <a:lnTo>
                  <a:pt x="355" y="151"/>
                </a:lnTo>
                <a:cubicBezTo>
                  <a:pt x="354" y="151"/>
                  <a:pt x="353" y="152"/>
                  <a:pt x="352" y="152"/>
                </a:cubicBezTo>
                <a:cubicBezTo>
                  <a:pt x="352" y="152"/>
                  <a:pt x="344" y="153"/>
                  <a:pt x="344" y="153"/>
                </a:cubicBezTo>
                <a:cubicBezTo>
                  <a:pt x="342" y="153"/>
                  <a:pt x="341" y="152"/>
                  <a:pt x="341" y="150"/>
                </a:cubicBezTo>
                <a:cubicBezTo>
                  <a:pt x="340" y="148"/>
                  <a:pt x="341" y="146"/>
                  <a:pt x="343" y="146"/>
                </a:cubicBezTo>
                <a:lnTo>
                  <a:pt x="350" y="144"/>
                </a:lnTo>
                <a:cubicBezTo>
                  <a:pt x="351" y="144"/>
                  <a:pt x="353" y="143"/>
                  <a:pt x="354" y="143"/>
                </a:cubicBezTo>
                <a:lnTo>
                  <a:pt x="362" y="142"/>
                </a:lnTo>
                <a:cubicBezTo>
                  <a:pt x="363" y="142"/>
                  <a:pt x="364" y="142"/>
                  <a:pt x="366" y="142"/>
                </a:cubicBezTo>
                <a:lnTo>
                  <a:pt x="372" y="142"/>
                </a:lnTo>
                <a:cubicBezTo>
                  <a:pt x="373" y="142"/>
                  <a:pt x="375" y="142"/>
                  <a:pt x="377" y="142"/>
                </a:cubicBezTo>
                <a:lnTo>
                  <a:pt x="382" y="143"/>
                </a:lnTo>
                <a:cubicBezTo>
                  <a:pt x="383" y="143"/>
                  <a:pt x="384" y="144"/>
                  <a:pt x="386" y="144"/>
                </a:cubicBezTo>
                <a:lnTo>
                  <a:pt x="387" y="144"/>
                </a:lnTo>
                <a:cubicBezTo>
                  <a:pt x="389" y="145"/>
                  <a:pt x="391" y="145"/>
                  <a:pt x="393" y="146"/>
                </a:cubicBezTo>
                <a:lnTo>
                  <a:pt x="395" y="147"/>
                </a:lnTo>
                <a:cubicBezTo>
                  <a:pt x="396" y="148"/>
                  <a:pt x="398" y="148"/>
                  <a:pt x="399" y="149"/>
                </a:cubicBezTo>
                <a:lnTo>
                  <a:pt x="404" y="152"/>
                </a:lnTo>
                <a:lnTo>
                  <a:pt x="409" y="156"/>
                </a:lnTo>
                <a:cubicBezTo>
                  <a:pt x="410" y="157"/>
                  <a:pt x="411" y="158"/>
                  <a:pt x="412" y="158"/>
                </a:cubicBezTo>
                <a:lnTo>
                  <a:pt x="413" y="160"/>
                </a:lnTo>
                <a:cubicBezTo>
                  <a:pt x="416" y="163"/>
                  <a:pt x="418" y="166"/>
                  <a:pt x="421" y="169"/>
                </a:cubicBezTo>
                <a:cubicBezTo>
                  <a:pt x="423" y="172"/>
                  <a:pt x="424" y="175"/>
                  <a:pt x="426" y="178"/>
                </a:cubicBezTo>
                <a:lnTo>
                  <a:pt x="431" y="186"/>
                </a:lnTo>
                <a:cubicBezTo>
                  <a:pt x="432" y="188"/>
                  <a:pt x="433" y="189"/>
                  <a:pt x="434" y="191"/>
                </a:cubicBezTo>
                <a:lnTo>
                  <a:pt x="438" y="191"/>
                </a:lnTo>
                <a:cubicBezTo>
                  <a:pt x="440" y="191"/>
                  <a:pt x="442" y="192"/>
                  <a:pt x="445" y="192"/>
                </a:cubicBezTo>
                <a:cubicBezTo>
                  <a:pt x="449" y="193"/>
                  <a:pt x="452" y="194"/>
                  <a:pt x="455" y="195"/>
                </a:cubicBezTo>
                <a:lnTo>
                  <a:pt x="459" y="196"/>
                </a:lnTo>
                <a:lnTo>
                  <a:pt x="462" y="198"/>
                </a:lnTo>
                <a:cubicBezTo>
                  <a:pt x="473" y="202"/>
                  <a:pt x="480" y="206"/>
                  <a:pt x="488" y="206"/>
                </a:cubicBezTo>
                <a:cubicBezTo>
                  <a:pt x="488" y="206"/>
                  <a:pt x="490" y="206"/>
                  <a:pt x="490" y="206"/>
                </a:cubicBezTo>
                <a:cubicBezTo>
                  <a:pt x="490" y="206"/>
                  <a:pt x="494" y="207"/>
                  <a:pt x="494" y="207"/>
                </a:cubicBezTo>
                <a:lnTo>
                  <a:pt x="496" y="210"/>
                </a:lnTo>
                <a:lnTo>
                  <a:pt x="496" y="207"/>
                </a:lnTo>
                <a:lnTo>
                  <a:pt x="502" y="206"/>
                </a:lnTo>
                <a:cubicBezTo>
                  <a:pt x="502" y="206"/>
                  <a:pt x="505" y="205"/>
                  <a:pt x="506" y="205"/>
                </a:cubicBezTo>
                <a:cubicBezTo>
                  <a:pt x="507" y="205"/>
                  <a:pt x="508" y="205"/>
                  <a:pt x="508" y="204"/>
                </a:cubicBezTo>
                <a:lnTo>
                  <a:pt x="513" y="202"/>
                </a:lnTo>
                <a:cubicBezTo>
                  <a:pt x="514" y="202"/>
                  <a:pt x="514" y="202"/>
                  <a:pt x="515" y="201"/>
                </a:cubicBezTo>
                <a:cubicBezTo>
                  <a:pt x="516" y="201"/>
                  <a:pt x="516" y="200"/>
                  <a:pt x="517" y="200"/>
                </a:cubicBezTo>
                <a:cubicBezTo>
                  <a:pt x="518" y="199"/>
                  <a:pt x="520" y="198"/>
                  <a:pt x="521" y="197"/>
                </a:cubicBezTo>
                <a:cubicBezTo>
                  <a:pt x="522" y="196"/>
                  <a:pt x="522" y="196"/>
                  <a:pt x="523" y="195"/>
                </a:cubicBezTo>
                <a:cubicBezTo>
                  <a:pt x="526" y="192"/>
                  <a:pt x="529" y="189"/>
                  <a:pt x="530" y="187"/>
                </a:cubicBezTo>
                <a:lnTo>
                  <a:pt x="532" y="183"/>
                </a:lnTo>
                <a:cubicBezTo>
                  <a:pt x="533" y="182"/>
                  <a:pt x="534" y="182"/>
                  <a:pt x="536" y="182"/>
                </a:cubicBezTo>
                <a:cubicBezTo>
                  <a:pt x="536" y="182"/>
                  <a:pt x="537" y="182"/>
                  <a:pt x="537" y="182"/>
                </a:cubicBezTo>
                <a:cubicBezTo>
                  <a:pt x="539" y="183"/>
                  <a:pt x="540" y="185"/>
                  <a:pt x="539" y="186"/>
                </a:cubicBezTo>
                <a:lnTo>
                  <a:pt x="538" y="191"/>
                </a:lnTo>
                <a:cubicBezTo>
                  <a:pt x="537" y="193"/>
                  <a:pt x="535" y="197"/>
                  <a:pt x="532" y="203"/>
                </a:cubicBezTo>
                <a:lnTo>
                  <a:pt x="530" y="205"/>
                </a:lnTo>
                <a:cubicBezTo>
                  <a:pt x="529" y="207"/>
                  <a:pt x="527" y="209"/>
                  <a:pt x="525" y="211"/>
                </a:cubicBezTo>
                <a:lnTo>
                  <a:pt x="524" y="212"/>
                </a:lnTo>
                <a:cubicBezTo>
                  <a:pt x="523" y="213"/>
                  <a:pt x="522" y="214"/>
                  <a:pt x="520" y="215"/>
                </a:cubicBezTo>
                <a:lnTo>
                  <a:pt x="515" y="218"/>
                </a:lnTo>
                <a:cubicBezTo>
                  <a:pt x="514" y="219"/>
                  <a:pt x="513" y="220"/>
                  <a:pt x="511" y="220"/>
                </a:cubicBezTo>
                <a:lnTo>
                  <a:pt x="509" y="221"/>
                </a:lnTo>
                <a:cubicBezTo>
                  <a:pt x="508" y="222"/>
                  <a:pt x="507" y="222"/>
                  <a:pt x="506" y="223"/>
                </a:cubicBezTo>
                <a:lnTo>
                  <a:pt x="502" y="224"/>
                </a:lnTo>
                <a:lnTo>
                  <a:pt x="499" y="225"/>
                </a:lnTo>
                <a:cubicBezTo>
                  <a:pt x="498" y="225"/>
                  <a:pt x="497" y="225"/>
                  <a:pt x="496" y="225"/>
                </a:cubicBezTo>
                <a:lnTo>
                  <a:pt x="490" y="226"/>
                </a:lnTo>
                <a:lnTo>
                  <a:pt x="479" y="226"/>
                </a:lnTo>
                <a:lnTo>
                  <a:pt x="476" y="226"/>
                </a:lnTo>
                <a:cubicBezTo>
                  <a:pt x="474" y="225"/>
                  <a:pt x="472" y="225"/>
                  <a:pt x="471" y="225"/>
                </a:cubicBezTo>
                <a:cubicBezTo>
                  <a:pt x="466" y="224"/>
                  <a:pt x="462" y="222"/>
                  <a:pt x="458" y="221"/>
                </a:cubicBezTo>
                <a:lnTo>
                  <a:pt x="452" y="219"/>
                </a:lnTo>
                <a:lnTo>
                  <a:pt x="448" y="218"/>
                </a:lnTo>
                <a:cubicBezTo>
                  <a:pt x="446" y="218"/>
                  <a:pt x="445" y="218"/>
                  <a:pt x="443" y="217"/>
                </a:cubicBezTo>
                <a:lnTo>
                  <a:pt x="442" y="217"/>
                </a:lnTo>
                <a:cubicBezTo>
                  <a:pt x="440" y="217"/>
                  <a:pt x="438" y="217"/>
                  <a:pt x="435" y="217"/>
                </a:cubicBezTo>
                <a:lnTo>
                  <a:pt x="430" y="217"/>
                </a:lnTo>
                <a:lnTo>
                  <a:pt x="427" y="217"/>
                </a:lnTo>
                <a:cubicBezTo>
                  <a:pt x="418" y="218"/>
                  <a:pt x="408" y="220"/>
                  <a:pt x="398" y="225"/>
                </a:cubicBezTo>
                <a:cubicBezTo>
                  <a:pt x="389" y="229"/>
                  <a:pt x="379" y="235"/>
                  <a:pt x="369" y="242"/>
                </a:cubicBezTo>
                <a:cubicBezTo>
                  <a:pt x="363" y="246"/>
                  <a:pt x="357" y="250"/>
                  <a:pt x="352" y="255"/>
                </a:cubicBezTo>
                <a:cubicBezTo>
                  <a:pt x="348" y="258"/>
                  <a:pt x="344" y="260"/>
                  <a:pt x="339" y="264"/>
                </a:cubicBezTo>
                <a:cubicBezTo>
                  <a:pt x="337" y="265"/>
                  <a:pt x="334" y="267"/>
                  <a:pt x="330" y="269"/>
                </a:cubicBezTo>
                <a:cubicBezTo>
                  <a:pt x="329" y="270"/>
                  <a:pt x="328" y="270"/>
                  <a:pt x="327" y="271"/>
                </a:cubicBezTo>
                <a:lnTo>
                  <a:pt x="325" y="272"/>
                </a:lnTo>
                <a:cubicBezTo>
                  <a:pt x="324" y="272"/>
                  <a:pt x="323" y="272"/>
                  <a:pt x="322" y="272"/>
                </a:cubicBezTo>
                <a:cubicBezTo>
                  <a:pt x="321" y="273"/>
                  <a:pt x="321" y="273"/>
                  <a:pt x="320" y="273"/>
                </a:cubicBezTo>
                <a:lnTo>
                  <a:pt x="318" y="273"/>
                </a:lnTo>
                <a:cubicBezTo>
                  <a:pt x="318" y="273"/>
                  <a:pt x="317" y="273"/>
                  <a:pt x="316" y="273"/>
                </a:cubicBezTo>
                <a:cubicBezTo>
                  <a:pt x="314" y="272"/>
                  <a:pt x="312" y="272"/>
                  <a:pt x="311" y="272"/>
                </a:cubicBezTo>
                <a:cubicBezTo>
                  <a:pt x="305" y="270"/>
                  <a:pt x="302" y="267"/>
                  <a:pt x="300" y="264"/>
                </a:cubicBezTo>
                <a:lnTo>
                  <a:pt x="293" y="258"/>
                </a:lnTo>
                <a:cubicBezTo>
                  <a:pt x="289" y="254"/>
                  <a:pt x="286" y="252"/>
                  <a:pt x="282" y="250"/>
                </a:cubicBezTo>
                <a:cubicBezTo>
                  <a:pt x="280" y="249"/>
                  <a:pt x="278" y="248"/>
                  <a:pt x="276" y="247"/>
                </a:cubicBezTo>
                <a:lnTo>
                  <a:pt x="273" y="246"/>
                </a:lnTo>
                <a:lnTo>
                  <a:pt x="269" y="245"/>
                </a:lnTo>
                <a:lnTo>
                  <a:pt x="268" y="242"/>
                </a:lnTo>
                <a:lnTo>
                  <a:pt x="268" y="245"/>
                </a:lnTo>
                <a:cubicBezTo>
                  <a:pt x="268" y="245"/>
                  <a:pt x="263" y="245"/>
                  <a:pt x="263" y="245"/>
                </a:cubicBezTo>
                <a:lnTo>
                  <a:pt x="259" y="245"/>
                </a:lnTo>
                <a:cubicBezTo>
                  <a:pt x="253" y="245"/>
                  <a:pt x="249" y="246"/>
                  <a:pt x="245" y="246"/>
                </a:cubicBezTo>
                <a:cubicBezTo>
                  <a:pt x="238" y="248"/>
                  <a:pt x="231" y="251"/>
                  <a:pt x="225" y="255"/>
                </a:cubicBezTo>
                <a:cubicBezTo>
                  <a:pt x="220" y="258"/>
                  <a:pt x="215" y="262"/>
                  <a:pt x="211" y="266"/>
                </a:cubicBezTo>
                <a:cubicBezTo>
                  <a:pt x="207" y="269"/>
                  <a:pt x="205" y="272"/>
                  <a:pt x="203" y="275"/>
                </a:cubicBezTo>
                <a:lnTo>
                  <a:pt x="200" y="278"/>
                </a:lnTo>
                <a:cubicBezTo>
                  <a:pt x="200" y="279"/>
                  <a:pt x="198" y="280"/>
                  <a:pt x="197" y="280"/>
                </a:cubicBezTo>
                <a:cubicBezTo>
                  <a:pt x="197" y="280"/>
                  <a:pt x="196" y="279"/>
                  <a:pt x="196" y="279"/>
                </a:cubicBezTo>
                <a:cubicBezTo>
                  <a:pt x="194" y="278"/>
                  <a:pt x="193" y="276"/>
                  <a:pt x="194" y="274"/>
                </a:cubicBezTo>
                <a:close/>
                <a:moveTo>
                  <a:pt x="490" y="127"/>
                </a:moveTo>
                <a:lnTo>
                  <a:pt x="490" y="127"/>
                </a:lnTo>
                <a:cubicBezTo>
                  <a:pt x="490" y="127"/>
                  <a:pt x="493" y="126"/>
                  <a:pt x="499" y="123"/>
                </a:cubicBezTo>
                <a:cubicBezTo>
                  <a:pt x="502" y="122"/>
                  <a:pt x="505" y="121"/>
                  <a:pt x="509" y="120"/>
                </a:cubicBezTo>
                <a:lnTo>
                  <a:pt x="511" y="120"/>
                </a:lnTo>
                <a:cubicBezTo>
                  <a:pt x="515" y="118"/>
                  <a:pt x="519" y="118"/>
                  <a:pt x="523" y="117"/>
                </a:cubicBezTo>
                <a:lnTo>
                  <a:pt x="527" y="116"/>
                </a:lnTo>
                <a:cubicBezTo>
                  <a:pt x="529" y="116"/>
                  <a:pt x="531" y="115"/>
                  <a:pt x="533" y="115"/>
                </a:cubicBezTo>
                <a:cubicBezTo>
                  <a:pt x="533" y="115"/>
                  <a:pt x="542" y="114"/>
                  <a:pt x="542" y="114"/>
                </a:cubicBezTo>
                <a:cubicBezTo>
                  <a:pt x="542" y="114"/>
                  <a:pt x="552" y="114"/>
                  <a:pt x="554" y="114"/>
                </a:cubicBezTo>
                <a:lnTo>
                  <a:pt x="557" y="114"/>
                </a:lnTo>
                <a:lnTo>
                  <a:pt x="559" y="114"/>
                </a:lnTo>
                <a:cubicBezTo>
                  <a:pt x="562" y="114"/>
                  <a:pt x="565" y="114"/>
                  <a:pt x="568" y="115"/>
                </a:cubicBezTo>
                <a:cubicBezTo>
                  <a:pt x="572" y="115"/>
                  <a:pt x="576" y="116"/>
                  <a:pt x="580" y="117"/>
                </a:cubicBezTo>
                <a:cubicBezTo>
                  <a:pt x="580" y="116"/>
                  <a:pt x="581" y="115"/>
                  <a:pt x="582" y="113"/>
                </a:cubicBezTo>
                <a:cubicBezTo>
                  <a:pt x="585" y="110"/>
                  <a:pt x="588" y="107"/>
                  <a:pt x="591" y="105"/>
                </a:cubicBezTo>
                <a:cubicBezTo>
                  <a:pt x="595" y="102"/>
                  <a:pt x="599" y="100"/>
                  <a:pt x="602" y="98"/>
                </a:cubicBezTo>
                <a:cubicBezTo>
                  <a:pt x="606" y="96"/>
                  <a:pt x="611" y="94"/>
                  <a:pt x="615" y="93"/>
                </a:cubicBezTo>
                <a:cubicBezTo>
                  <a:pt x="622" y="90"/>
                  <a:pt x="629" y="88"/>
                  <a:pt x="636" y="86"/>
                </a:cubicBezTo>
                <a:lnTo>
                  <a:pt x="643" y="83"/>
                </a:lnTo>
                <a:cubicBezTo>
                  <a:pt x="654" y="80"/>
                  <a:pt x="662" y="77"/>
                  <a:pt x="669" y="73"/>
                </a:cubicBezTo>
                <a:cubicBezTo>
                  <a:pt x="673" y="72"/>
                  <a:pt x="677" y="70"/>
                  <a:pt x="680" y="68"/>
                </a:cubicBezTo>
                <a:cubicBezTo>
                  <a:pt x="684" y="66"/>
                  <a:pt x="687" y="64"/>
                  <a:pt x="689" y="61"/>
                </a:cubicBezTo>
                <a:cubicBezTo>
                  <a:pt x="691" y="60"/>
                  <a:pt x="692" y="59"/>
                  <a:pt x="693" y="58"/>
                </a:cubicBezTo>
                <a:cubicBezTo>
                  <a:pt x="694" y="57"/>
                  <a:pt x="696" y="56"/>
                  <a:pt x="696" y="55"/>
                </a:cubicBezTo>
                <a:cubicBezTo>
                  <a:pt x="699" y="53"/>
                  <a:pt x="700" y="51"/>
                  <a:pt x="701" y="50"/>
                </a:cubicBezTo>
                <a:cubicBezTo>
                  <a:pt x="702" y="48"/>
                  <a:pt x="703" y="48"/>
                  <a:pt x="704" y="47"/>
                </a:cubicBezTo>
                <a:cubicBezTo>
                  <a:pt x="704" y="47"/>
                  <a:pt x="705" y="44"/>
                  <a:pt x="705" y="44"/>
                </a:cubicBezTo>
                <a:cubicBezTo>
                  <a:pt x="706" y="43"/>
                  <a:pt x="707" y="43"/>
                  <a:pt x="708" y="43"/>
                </a:cubicBezTo>
                <a:cubicBezTo>
                  <a:pt x="709" y="43"/>
                  <a:pt x="710" y="43"/>
                  <a:pt x="710" y="43"/>
                </a:cubicBezTo>
                <a:cubicBezTo>
                  <a:pt x="712" y="44"/>
                  <a:pt x="712" y="47"/>
                  <a:pt x="711" y="48"/>
                </a:cubicBezTo>
                <a:lnTo>
                  <a:pt x="710" y="50"/>
                </a:lnTo>
                <a:lnTo>
                  <a:pt x="707" y="49"/>
                </a:lnTo>
                <a:lnTo>
                  <a:pt x="710" y="51"/>
                </a:lnTo>
                <a:cubicBezTo>
                  <a:pt x="709" y="52"/>
                  <a:pt x="709" y="53"/>
                  <a:pt x="708" y="54"/>
                </a:cubicBezTo>
                <a:cubicBezTo>
                  <a:pt x="706" y="56"/>
                  <a:pt x="705" y="58"/>
                  <a:pt x="703" y="61"/>
                </a:cubicBezTo>
                <a:cubicBezTo>
                  <a:pt x="702" y="62"/>
                  <a:pt x="701" y="63"/>
                  <a:pt x="699" y="64"/>
                </a:cubicBezTo>
                <a:cubicBezTo>
                  <a:pt x="698" y="66"/>
                  <a:pt x="697" y="67"/>
                  <a:pt x="695" y="68"/>
                </a:cubicBezTo>
                <a:cubicBezTo>
                  <a:pt x="692" y="71"/>
                  <a:pt x="689" y="73"/>
                  <a:pt x="686" y="76"/>
                </a:cubicBezTo>
                <a:cubicBezTo>
                  <a:pt x="682" y="78"/>
                  <a:pt x="678" y="81"/>
                  <a:pt x="674" y="83"/>
                </a:cubicBezTo>
                <a:cubicBezTo>
                  <a:pt x="667" y="87"/>
                  <a:pt x="658" y="91"/>
                  <a:pt x="647" y="95"/>
                </a:cubicBezTo>
                <a:lnTo>
                  <a:pt x="640" y="98"/>
                </a:lnTo>
                <a:cubicBezTo>
                  <a:pt x="633" y="101"/>
                  <a:pt x="627" y="103"/>
                  <a:pt x="621" y="106"/>
                </a:cubicBezTo>
                <a:cubicBezTo>
                  <a:pt x="617" y="108"/>
                  <a:pt x="613" y="110"/>
                  <a:pt x="610" y="112"/>
                </a:cubicBezTo>
                <a:cubicBezTo>
                  <a:pt x="606" y="114"/>
                  <a:pt x="603" y="116"/>
                  <a:pt x="601" y="118"/>
                </a:cubicBezTo>
                <a:cubicBezTo>
                  <a:pt x="600" y="119"/>
                  <a:pt x="598" y="121"/>
                  <a:pt x="596" y="123"/>
                </a:cubicBezTo>
                <a:lnTo>
                  <a:pt x="597" y="123"/>
                </a:lnTo>
                <a:cubicBezTo>
                  <a:pt x="599" y="124"/>
                  <a:pt x="600" y="125"/>
                  <a:pt x="601" y="126"/>
                </a:cubicBezTo>
                <a:lnTo>
                  <a:pt x="603" y="127"/>
                </a:lnTo>
                <a:cubicBezTo>
                  <a:pt x="606" y="128"/>
                  <a:pt x="609" y="130"/>
                  <a:pt x="611" y="132"/>
                </a:cubicBezTo>
                <a:lnTo>
                  <a:pt x="614" y="134"/>
                </a:lnTo>
                <a:cubicBezTo>
                  <a:pt x="621" y="140"/>
                  <a:pt x="626" y="147"/>
                  <a:pt x="631" y="154"/>
                </a:cubicBezTo>
                <a:lnTo>
                  <a:pt x="632" y="156"/>
                </a:lnTo>
                <a:cubicBezTo>
                  <a:pt x="632" y="157"/>
                  <a:pt x="633" y="158"/>
                  <a:pt x="634" y="160"/>
                </a:cubicBezTo>
                <a:cubicBezTo>
                  <a:pt x="635" y="162"/>
                  <a:pt x="636" y="164"/>
                  <a:pt x="636" y="165"/>
                </a:cubicBezTo>
                <a:cubicBezTo>
                  <a:pt x="638" y="168"/>
                  <a:pt x="638" y="171"/>
                  <a:pt x="639" y="173"/>
                </a:cubicBezTo>
                <a:lnTo>
                  <a:pt x="640" y="177"/>
                </a:lnTo>
                <a:cubicBezTo>
                  <a:pt x="641" y="179"/>
                  <a:pt x="642" y="182"/>
                  <a:pt x="642" y="184"/>
                </a:cubicBezTo>
                <a:lnTo>
                  <a:pt x="643" y="188"/>
                </a:lnTo>
                <a:cubicBezTo>
                  <a:pt x="644" y="190"/>
                  <a:pt x="644" y="193"/>
                  <a:pt x="644" y="195"/>
                </a:cubicBezTo>
                <a:lnTo>
                  <a:pt x="645" y="198"/>
                </a:lnTo>
                <a:cubicBezTo>
                  <a:pt x="646" y="204"/>
                  <a:pt x="646" y="212"/>
                  <a:pt x="646" y="218"/>
                </a:cubicBezTo>
                <a:cubicBezTo>
                  <a:pt x="646" y="218"/>
                  <a:pt x="646" y="226"/>
                  <a:pt x="646" y="226"/>
                </a:cubicBezTo>
                <a:lnTo>
                  <a:pt x="645" y="239"/>
                </a:lnTo>
                <a:cubicBezTo>
                  <a:pt x="646" y="238"/>
                  <a:pt x="648" y="238"/>
                  <a:pt x="650" y="237"/>
                </a:cubicBezTo>
                <a:cubicBezTo>
                  <a:pt x="653" y="235"/>
                  <a:pt x="657" y="233"/>
                  <a:pt x="661" y="232"/>
                </a:cubicBezTo>
                <a:cubicBezTo>
                  <a:pt x="665" y="230"/>
                  <a:pt x="669" y="228"/>
                  <a:pt x="673" y="227"/>
                </a:cubicBezTo>
                <a:cubicBezTo>
                  <a:pt x="677" y="226"/>
                  <a:pt x="681" y="224"/>
                  <a:pt x="685" y="223"/>
                </a:cubicBezTo>
                <a:cubicBezTo>
                  <a:pt x="694" y="220"/>
                  <a:pt x="703" y="219"/>
                  <a:pt x="710" y="218"/>
                </a:cubicBezTo>
                <a:cubicBezTo>
                  <a:pt x="714" y="217"/>
                  <a:pt x="719" y="216"/>
                  <a:pt x="723" y="216"/>
                </a:cubicBezTo>
                <a:cubicBezTo>
                  <a:pt x="726" y="216"/>
                  <a:pt x="728" y="216"/>
                  <a:pt x="731" y="216"/>
                </a:cubicBezTo>
                <a:lnTo>
                  <a:pt x="738" y="216"/>
                </a:lnTo>
                <a:lnTo>
                  <a:pt x="747" y="217"/>
                </a:lnTo>
                <a:cubicBezTo>
                  <a:pt x="751" y="217"/>
                  <a:pt x="754" y="218"/>
                  <a:pt x="757" y="218"/>
                </a:cubicBezTo>
                <a:lnTo>
                  <a:pt x="759" y="218"/>
                </a:lnTo>
                <a:lnTo>
                  <a:pt x="761" y="219"/>
                </a:lnTo>
                <a:cubicBezTo>
                  <a:pt x="761" y="219"/>
                  <a:pt x="766" y="216"/>
                  <a:pt x="766" y="216"/>
                </a:cubicBezTo>
                <a:cubicBezTo>
                  <a:pt x="767" y="216"/>
                  <a:pt x="767" y="215"/>
                  <a:pt x="768" y="215"/>
                </a:cubicBezTo>
                <a:lnTo>
                  <a:pt x="770" y="214"/>
                </a:lnTo>
                <a:cubicBezTo>
                  <a:pt x="772" y="212"/>
                  <a:pt x="773" y="212"/>
                  <a:pt x="774" y="211"/>
                </a:cubicBezTo>
                <a:lnTo>
                  <a:pt x="779" y="207"/>
                </a:lnTo>
                <a:lnTo>
                  <a:pt x="783" y="203"/>
                </a:lnTo>
                <a:cubicBezTo>
                  <a:pt x="784" y="202"/>
                  <a:pt x="785" y="201"/>
                  <a:pt x="786" y="201"/>
                </a:cubicBezTo>
                <a:lnTo>
                  <a:pt x="791" y="196"/>
                </a:lnTo>
                <a:lnTo>
                  <a:pt x="793" y="193"/>
                </a:lnTo>
                <a:cubicBezTo>
                  <a:pt x="796" y="191"/>
                  <a:pt x="797" y="189"/>
                  <a:pt x="798" y="188"/>
                </a:cubicBezTo>
                <a:lnTo>
                  <a:pt x="801" y="184"/>
                </a:lnTo>
                <a:cubicBezTo>
                  <a:pt x="801" y="184"/>
                  <a:pt x="802" y="183"/>
                  <a:pt x="803" y="183"/>
                </a:cubicBezTo>
                <a:cubicBezTo>
                  <a:pt x="804" y="183"/>
                  <a:pt x="805" y="183"/>
                  <a:pt x="805" y="184"/>
                </a:cubicBezTo>
                <a:cubicBezTo>
                  <a:pt x="807" y="185"/>
                  <a:pt x="808" y="187"/>
                  <a:pt x="807" y="188"/>
                </a:cubicBezTo>
                <a:lnTo>
                  <a:pt x="805" y="193"/>
                </a:lnTo>
                <a:cubicBezTo>
                  <a:pt x="804" y="194"/>
                  <a:pt x="803" y="196"/>
                  <a:pt x="802" y="198"/>
                </a:cubicBezTo>
                <a:lnTo>
                  <a:pt x="800" y="202"/>
                </a:lnTo>
                <a:cubicBezTo>
                  <a:pt x="799" y="203"/>
                  <a:pt x="798" y="204"/>
                  <a:pt x="798" y="205"/>
                </a:cubicBezTo>
                <a:lnTo>
                  <a:pt x="796" y="208"/>
                </a:lnTo>
                <a:cubicBezTo>
                  <a:pt x="795" y="210"/>
                  <a:pt x="794" y="211"/>
                  <a:pt x="793" y="212"/>
                </a:cubicBezTo>
                <a:lnTo>
                  <a:pt x="789" y="217"/>
                </a:lnTo>
                <a:lnTo>
                  <a:pt x="785" y="222"/>
                </a:lnTo>
                <a:cubicBezTo>
                  <a:pt x="784" y="223"/>
                  <a:pt x="783" y="224"/>
                  <a:pt x="782" y="226"/>
                </a:cubicBezTo>
                <a:cubicBezTo>
                  <a:pt x="782" y="226"/>
                  <a:pt x="787" y="228"/>
                  <a:pt x="788" y="229"/>
                </a:cubicBezTo>
                <a:cubicBezTo>
                  <a:pt x="791" y="230"/>
                  <a:pt x="794" y="232"/>
                  <a:pt x="796" y="233"/>
                </a:cubicBezTo>
                <a:cubicBezTo>
                  <a:pt x="798" y="234"/>
                  <a:pt x="800" y="236"/>
                  <a:pt x="802" y="238"/>
                </a:cubicBezTo>
                <a:cubicBezTo>
                  <a:pt x="803" y="238"/>
                  <a:pt x="807" y="241"/>
                  <a:pt x="807" y="241"/>
                </a:cubicBezTo>
                <a:cubicBezTo>
                  <a:pt x="810" y="244"/>
                  <a:pt x="812" y="246"/>
                  <a:pt x="813" y="247"/>
                </a:cubicBezTo>
                <a:cubicBezTo>
                  <a:pt x="815" y="249"/>
                  <a:pt x="815" y="250"/>
                  <a:pt x="815" y="250"/>
                </a:cubicBezTo>
                <a:cubicBezTo>
                  <a:pt x="816" y="251"/>
                  <a:pt x="817" y="253"/>
                  <a:pt x="816" y="254"/>
                </a:cubicBezTo>
                <a:cubicBezTo>
                  <a:pt x="815" y="255"/>
                  <a:pt x="814" y="256"/>
                  <a:pt x="813" y="256"/>
                </a:cubicBezTo>
                <a:cubicBezTo>
                  <a:pt x="812" y="256"/>
                  <a:pt x="812" y="256"/>
                  <a:pt x="812" y="256"/>
                </a:cubicBezTo>
                <a:cubicBezTo>
                  <a:pt x="812" y="256"/>
                  <a:pt x="811" y="256"/>
                  <a:pt x="809" y="255"/>
                </a:cubicBezTo>
                <a:cubicBezTo>
                  <a:pt x="807" y="254"/>
                  <a:pt x="801" y="252"/>
                  <a:pt x="801" y="252"/>
                </a:cubicBezTo>
                <a:cubicBezTo>
                  <a:pt x="800" y="252"/>
                  <a:pt x="798" y="251"/>
                  <a:pt x="796" y="251"/>
                </a:cubicBezTo>
                <a:cubicBezTo>
                  <a:pt x="794" y="250"/>
                  <a:pt x="792" y="249"/>
                  <a:pt x="789" y="249"/>
                </a:cubicBezTo>
                <a:cubicBezTo>
                  <a:pt x="788" y="248"/>
                  <a:pt x="783" y="247"/>
                  <a:pt x="782" y="247"/>
                </a:cubicBezTo>
                <a:lnTo>
                  <a:pt x="774" y="245"/>
                </a:lnTo>
                <a:lnTo>
                  <a:pt x="765" y="244"/>
                </a:lnTo>
                <a:cubicBezTo>
                  <a:pt x="764" y="244"/>
                  <a:pt x="756" y="243"/>
                  <a:pt x="756" y="243"/>
                </a:cubicBezTo>
                <a:lnTo>
                  <a:pt x="746" y="243"/>
                </a:lnTo>
                <a:lnTo>
                  <a:pt x="738" y="243"/>
                </a:lnTo>
                <a:lnTo>
                  <a:pt x="732" y="244"/>
                </a:lnTo>
                <a:cubicBezTo>
                  <a:pt x="730" y="244"/>
                  <a:pt x="727" y="244"/>
                  <a:pt x="725" y="244"/>
                </a:cubicBezTo>
                <a:lnTo>
                  <a:pt x="714" y="245"/>
                </a:lnTo>
                <a:cubicBezTo>
                  <a:pt x="707" y="246"/>
                  <a:pt x="699" y="248"/>
                  <a:pt x="692" y="250"/>
                </a:cubicBezTo>
                <a:cubicBezTo>
                  <a:pt x="689" y="250"/>
                  <a:pt x="686" y="251"/>
                  <a:pt x="684" y="252"/>
                </a:cubicBezTo>
                <a:lnTo>
                  <a:pt x="681" y="253"/>
                </a:lnTo>
                <a:cubicBezTo>
                  <a:pt x="677" y="254"/>
                  <a:pt x="674" y="255"/>
                  <a:pt x="670" y="256"/>
                </a:cubicBezTo>
                <a:lnTo>
                  <a:pt x="665" y="258"/>
                </a:lnTo>
                <a:lnTo>
                  <a:pt x="660" y="260"/>
                </a:lnTo>
                <a:cubicBezTo>
                  <a:pt x="656" y="261"/>
                  <a:pt x="653" y="263"/>
                  <a:pt x="649" y="264"/>
                </a:cubicBezTo>
                <a:cubicBezTo>
                  <a:pt x="642" y="267"/>
                  <a:pt x="636" y="270"/>
                  <a:pt x="630" y="272"/>
                </a:cubicBezTo>
                <a:lnTo>
                  <a:pt x="627" y="273"/>
                </a:lnTo>
                <a:cubicBezTo>
                  <a:pt x="621" y="276"/>
                  <a:pt x="616" y="278"/>
                  <a:pt x="611" y="280"/>
                </a:cubicBezTo>
                <a:cubicBezTo>
                  <a:pt x="604" y="282"/>
                  <a:pt x="599" y="284"/>
                  <a:pt x="594" y="285"/>
                </a:cubicBezTo>
                <a:cubicBezTo>
                  <a:pt x="593" y="286"/>
                  <a:pt x="590" y="286"/>
                  <a:pt x="589" y="287"/>
                </a:cubicBezTo>
                <a:lnTo>
                  <a:pt x="587" y="287"/>
                </a:lnTo>
                <a:cubicBezTo>
                  <a:pt x="586" y="287"/>
                  <a:pt x="585" y="287"/>
                  <a:pt x="584" y="287"/>
                </a:cubicBezTo>
                <a:cubicBezTo>
                  <a:pt x="584" y="287"/>
                  <a:pt x="579" y="287"/>
                  <a:pt x="579" y="287"/>
                </a:cubicBezTo>
                <a:lnTo>
                  <a:pt x="571" y="285"/>
                </a:lnTo>
                <a:lnTo>
                  <a:pt x="568" y="284"/>
                </a:lnTo>
                <a:cubicBezTo>
                  <a:pt x="566" y="284"/>
                  <a:pt x="565" y="282"/>
                  <a:pt x="565" y="281"/>
                </a:cubicBezTo>
                <a:cubicBezTo>
                  <a:pt x="565" y="279"/>
                  <a:pt x="567" y="277"/>
                  <a:pt x="568" y="277"/>
                </a:cubicBezTo>
                <a:cubicBezTo>
                  <a:pt x="568" y="277"/>
                  <a:pt x="578" y="276"/>
                  <a:pt x="578" y="276"/>
                </a:cubicBezTo>
                <a:lnTo>
                  <a:pt x="579" y="276"/>
                </a:lnTo>
                <a:lnTo>
                  <a:pt x="582" y="276"/>
                </a:lnTo>
                <a:cubicBezTo>
                  <a:pt x="582" y="275"/>
                  <a:pt x="583" y="275"/>
                  <a:pt x="583" y="275"/>
                </a:cubicBezTo>
                <a:lnTo>
                  <a:pt x="586" y="274"/>
                </a:lnTo>
                <a:cubicBezTo>
                  <a:pt x="587" y="274"/>
                  <a:pt x="588" y="273"/>
                  <a:pt x="589" y="272"/>
                </a:cubicBezTo>
                <a:cubicBezTo>
                  <a:pt x="593" y="270"/>
                  <a:pt x="598" y="267"/>
                  <a:pt x="603" y="264"/>
                </a:cubicBezTo>
                <a:lnTo>
                  <a:pt x="620" y="254"/>
                </a:lnTo>
                <a:cubicBezTo>
                  <a:pt x="621" y="253"/>
                  <a:pt x="622" y="252"/>
                  <a:pt x="624" y="251"/>
                </a:cubicBezTo>
                <a:cubicBezTo>
                  <a:pt x="624" y="249"/>
                  <a:pt x="624" y="247"/>
                  <a:pt x="624" y="245"/>
                </a:cubicBezTo>
                <a:cubicBezTo>
                  <a:pt x="624" y="242"/>
                  <a:pt x="624" y="238"/>
                  <a:pt x="623" y="235"/>
                </a:cubicBezTo>
                <a:cubicBezTo>
                  <a:pt x="623" y="235"/>
                  <a:pt x="623" y="226"/>
                  <a:pt x="623" y="225"/>
                </a:cubicBezTo>
                <a:lnTo>
                  <a:pt x="622" y="215"/>
                </a:lnTo>
                <a:cubicBezTo>
                  <a:pt x="622" y="215"/>
                  <a:pt x="621" y="208"/>
                  <a:pt x="621" y="207"/>
                </a:cubicBezTo>
                <a:cubicBezTo>
                  <a:pt x="621" y="206"/>
                  <a:pt x="621" y="204"/>
                  <a:pt x="621" y="202"/>
                </a:cubicBezTo>
                <a:cubicBezTo>
                  <a:pt x="619" y="196"/>
                  <a:pt x="618" y="190"/>
                  <a:pt x="616" y="184"/>
                </a:cubicBezTo>
                <a:cubicBezTo>
                  <a:pt x="616" y="183"/>
                  <a:pt x="616" y="182"/>
                  <a:pt x="615" y="181"/>
                </a:cubicBezTo>
                <a:cubicBezTo>
                  <a:pt x="615" y="179"/>
                  <a:pt x="614" y="178"/>
                  <a:pt x="613" y="176"/>
                </a:cubicBezTo>
                <a:cubicBezTo>
                  <a:pt x="612" y="174"/>
                  <a:pt x="612" y="173"/>
                  <a:pt x="611" y="171"/>
                </a:cubicBezTo>
                <a:cubicBezTo>
                  <a:pt x="611" y="170"/>
                  <a:pt x="609" y="167"/>
                  <a:pt x="609" y="167"/>
                </a:cubicBezTo>
                <a:cubicBezTo>
                  <a:pt x="608" y="165"/>
                  <a:pt x="606" y="163"/>
                  <a:pt x="605" y="161"/>
                </a:cubicBezTo>
                <a:lnTo>
                  <a:pt x="603" y="159"/>
                </a:lnTo>
                <a:cubicBezTo>
                  <a:pt x="603" y="158"/>
                  <a:pt x="602" y="158"/>
                  <a:pt x="602" y="157"/>
                </a:cubicBezTo>
                <a:cubicBezTo>
                  <a:pt x="602" y="157"/>
                  <a:pt x="600" y="155"/>
                  <a:pt x="599" y="154"/>
                </a:cubicBezTo>
                <a:cubicBezTo>
                  <a:pt x="599" y="154"/>
                  <a:pt x="598" y="153"/>
                  <a:pt x="598" y="153"/>
                </a:cubicBezTo>
                <a:cubicBezTo>
                  <a:pt x="597" y="152"/>
                  <a:pt x="596" y="151"/>
                  <a:pt x="595" y="151"/>
                </a:cubicBezTo>
                <a:cubicBezTo>
                  <a:pt x="594" y="149"/>
                  <a:pt x="592" y="148"/>
                  <a:pt x="590" y="147"/>
                </a:cubicBezTo>
                <a:lnTo>
                  <a:pt x="586" y="144"/>
                </a:lnTo>
                <a:lnTo>
                  <a:pt x="582" y="142"/>
                </a:lnTo>
                <a:cubicBezTo>
                  <a:pt x="577" y="139"/>
                  <a:pt x="571" y="137"/>
                  <a:pt x="564" y="135"/>
                </a:cubicBezTo>
                <a:cubicBezTo>
                  <a:pt x="562" y="135"/>
                  <a:pt x="561" y="135"/>
                  <a:pt x="559" y="134"/>
                </a:cubicBezTo>
                <a:cubicBezTo>
                  <a:pt x="558" y="134"/>
                  <a:pt x="556" y="134"/>
                  <a:pt x="554" y="133"/>
                </a:cubicBezTo>
                <a:cubicBezTo>
                  <a:pt x="553" y="133"/>
                  <a:pt x="551" y="133"/>
                  <a:pt x="549" y="133"/>
                </a:cubicBezTo>
                <a:cubicBezTo>
                  <a:pt x="549" y="133"/>
                  <a:pt x="543" y="132"/>
                  <a:pt x="543" y="132"/>
                </a:cubicBezTo>
                <a:cubicBezTo>
                  <a:pt x="542" y="132"/>
                  <a:pt x="534" y="132"/>
                  <a:pt x="534" y="132"/>
                </a:cubicBezTo>
                <a:cubicBezTo>
                  <a:pt x="532" y="132"/>
                  <a:pt x="531" y="132"/>
                  <a:pt x="530" y="132"/>
                </a:cubicBezTo>
                <a:lnTo>
                  <a:pt x="528" y="132"/>
                </a:lnTo>
                <a:cubicBezTo>
                  <a:pt x="526" y="132"/>
                  <a:pt x="524" y="132"/>
                  <a:pt x="522" y="132"/>
                </a:cubicBezTo>
                <a:cubicBezTo>
                  <a:pt x="519" y="132"/>
                  <a:pt x="516" y="132"/>
                  <a:pt x="514" y="132"/>
                </a:cubicBezTo>
                <a:cubicBezTo>
                  <a:pt x="511" y="132"/>
                  <a:pt x="509" y="132"/>
                  <a:pt x="508" y="132"/>
                </a:cubicBezTo>
                <a:cubicBezTo>
                  <a:pt x="506" y="133"/>
                  <a:pt x="504" y="133"/>
                  <a:pt x="502" y="133"/>
                </a:cubicBezTo>
                <a:cubicBezTo>
                  <a:pt x="495" y="134"/>
                  <a:pt x="491" y="134"/>
                  <a:pt x="491" y="134"/>
                </a:cubicBezTo>
                <a:cubicBezTo>
                  <a:pt x="491" y="134"/>
                  <a:pt x="491" y="134"/>
                  <a:pt x="491" y="134"/>
                </a:cubicBezTo>
                <a:cubicBezTo>
                  <a:pt x="489" y="134"/>
                  <a:pt x="488" y="133"/>
                  <a:pt x="487" y="131"/>
                </a:cubicBezTo>
                <a:cubicBezTo>
                  <a:pt x="487" y="129"/>
                  <a:pt x="488" y="128"/>
                  <a:pt x="490" y="127"/>
                </a:cubicBezTo>
                <a:close/>
                <a:moveTo>
                  <a:pt x="485" y="671"/>
                </a:moveTo>
                <a:lnTo>
                  <a:pt x="485" y="671"/>
                </a:lnTo>
                <a:cubicBezTo>
                  <a:pt x="484" y="672"/>
                  <a:pt x="479" y="672"/>
                  <a:pt x="479" y="672"/>
                </a:cubicBezTo>
                <a:cubicBezTo>
                  <a:pt x="476" y="673"/>
                  <a:pt x="472" y="673"/>
                  <a:pt x="468" y="674"/>
                </a:cubicBezTo>
                <a:cubicBezTo>
                  <a:pt x="463" y="675"/>
                  <a:pt x="457" y="676"/>
                  <a:pt x="451" y="677"/>
                </a:cubicBezTo>
                <a:cubicBezTo>
                  <a:pt x="448" y="677"/>
                  <a:pt x="445" y="678"/>
                  <a:pt x="443" y="678"/>
                </a:cubicBezTo>
                <a:lnTo>
                  <a:pt x="438" y="678"/>
                </a:lnTo>
                <a:lnTo>
                  <a:pt x="435" y="678"/>
                </a:lnTo>
                <a:cubicBezTo>
                  <a:pt x="429" y="677"/>
                  <a:pt x="424" y="676"/>
                  <a:pt x="419" y="674"/>
                </a:cubicBezTo>
                <a:cubicBezTo>
                  <a:pt x="410" y="670"/>
                  <a:pt x="402" y="665"/>
                  <a:pt x="394" y="656"/>
                </a:cubicBezTo>
                <a:cubicBezTo>
                  <a:pt x="389" y="651"/>
                  <a:pt x="385" y="645"/>
                  <a:pt x="381" y="640"/>
                </a:cubicBezTo>
                <a:lnTo>
                  <a:pt x="379" y="638"/>
                </a:lnTo>
                <a:cubicBezTo>
                  <a:pt x="374" y="632"/>
                  <a:pt x="371" y="628"/>
                  <a:pt x="368" y="625"/>
                </a:cubicBezTo>
                <a:cubicBezTo>
                  <a:pt x="365" y="622"/>
                  <a:pt x="361" y="620"/>
                  <a:pt x="358" y="619"/>
                </a:cubicBezTo>
                <a:lnTo>
                  <a:pt x="355" y="618"/>
                </a:lnTo>
                <a:lnTo>
                  <a:pt x="353" y="618"/>
                </a:lnTo>
                <a:cubicBezTo>
                  <a:pt x="352" y="618"/>
                  <a:pt x="351" y="617"/>
                  <a:pt x="351" y="617"/>
                </a:cubicBezTo>
                <a:lnTo>
                  <a:pt x="346" y="617"/>
                </a:lnTo>
                <a:cubicBezTo>
                  <a:pt x="345" y="617"/>
                  <a:pt x="343" y="616"/>
                  <a:pt x="343" y="614"/>
                </a:cubicBezTo>
                <a:cubicBezTo>
                  <a:pt x="343" y="612"/>
                  <a:pt x="344" y="610"/>
                  <a:pt x="346" y="610"/>
                </a:cubicBezTo>
                <a:lnTo>
                  <a:pt x="349" y="609"/>
                </a:lnTo>
                <a:cubicBezTo>
                  <a:pt x="351" y="608"/>
                  <a:pt x="352" y="608"/>
                  <a:pt x="354" y="608"/>
                </a:cubicBezTo>
                <a:cubicBezTo>
                  <a:pt x="355" y="608"/>
                  <a:pt x="356" y="608"/>
                  <a:pt x="356" y="607"/>
                </a:cubicBezTo>
                <a:lnTo>
                  <a:pt x="360" y="608"/>
                </a:lnTo>
                <a:cubicBezTo>
                  <a:pt x="365" y="608"/>
                  <a:pt x="371" y="610"/>
                  <a:pt x="377" y="612"/>
                </a:cubicBezTo>
                <a:cubicBezTo>
                  <a:pt x="382" y="615"/>
                  <a:pt x="388" y="619"/>
                  <a:pt x="394" y="625"/>
                </a:cubicBezTo>
                <a:cubicBezTo>
                  <a:pt x="396" y="627"/>
                  <a:pt x="398" y="628"/>
                  <a:pt x="400" y="630"/>
                </a:cubicBezTo>
                <a:cubicBezTo>
                  <a:pt x="403" y="633"/>
                  <a:pt x="406" y="637"/>
                  <a:pt x="410" y="640"/>
                </a:cubicBezTo>
                <a:cubicBezTo>
                  <a:pt x="416" y="645"/>
                  <a:pt x="422" y="648"/>
                  <a:pt x="427" y="650"/>
                </a:cubicBezTo>
                <a:cubicBezTo>
                  <a:pt x="431" y="651"/>
                  <a:pt x="434" y="651"/>
                  <a:pt x="437" y="651"/>
                </a:cubicBezTo>
                <a:lnTo>
                  <a:pt x="439" y="651"/>
                </a:lnTo>
                <a:lnTo>
                  <a:pt x="442" y="651"/>
                </a:lnTo>
                <a:cubicBezTo>
                  <a:pt x="444" y="651"/>
                  <a:pt x="446" y="651"/>
                  <a:pt x="447" y="651"/>
                </a:cubicBezTo>
                <a:cubicBezTo>
                  <a:pt x="452" y="650"/>
                  <a:pt x="456" y="649"/>
                  <a:pt x="461" y="648"/>
                </a:cubicBezTo>
                <a:cubicBezTo>
                  <a:pt x="466" y="648"/>
                  <a:pt x="470" y="647"/>
                  <a:pt x="475" y="646"/>
                </a:cubicBezTo>
                <a:lnTo>
                  <a:pt x="477" y="646"/>
                </a:lnTo>
                <a:cubicBezTo>
                  <a:pt x="479" y="646"/>
                  <a:pt x="481" y="645"/>
                  <a:pt x="483" y="645"/>
                </a:cubicBezTo>
                <a:lnTo>
                  <a:pt x="489" y="645"/>
                </a:lnTo>
                <a:lnTo>
                  <a:pt x="490" y="645"/>
                </a:lnTo>
                <a:lnTo>
                  <a:pt x="497" y="646"/>
                </a:lnTo>
                <a:lnTo>
                  <a:pt x="500" y="646"/>
                </a:lnTo>
                <a:lnTo>
                  <a:pt x="502" y="647"/>
                </a:lnTo>
                <a:cubicBezTo>
                  <a:pt x="504" y="647"/>
                  <a:pt x="507" y="648"/>
                  <a:pt x="509" y="649"/>
                </a:cubicBezTo>
                <a:cubicBezTo>
                  <a:pt x="519" y="653"/>
                  <a:pt x="528" y="659"/>
                  <a:pt x="535" y="664"/>
                </a:cubicBezTo>
                <a:cubicBezTo>
                  <a:pt x="539" y="668"/>
                  <a:pt x="543" y="671"/>
                  <a:pt x="547" y="674"/>
                </a:cubicBezTo>
                <a:cubicBezTo>
                  <a:pt x="549" y="676"/>
                  <a:pt x="552" y="678"/>
                  <a:pt x="554" y="680"/>
                </a:cubicBezTo>
                <a:cubicBezTo>
                  <a:pt x="560" y="686"/>
                  <a:pt x="566" y="690"/>
                  <a:pt x="571" y="692"/>
                </a:cubicBezTo>
                <a:cubicBezTo>
                  <a:pt x="577" y="696"/>
                  <a:pt x="582" y="697"/>
                  <a:pt x="586" y="698"/>
                </a:cubicBezTo>
                <a:lnTo>
                  <a:pt x="587" y="698"/>
                </a:lnTo>
                <a:lnTo>
                  <a:pt x="592" y="698"/>
                </a:lnTo>
                <a:cubicBezTo>
                  <a:pt x="593" y="698"/>
                  <a:pt x="594" y="698"/>
                  <a:pt x="595" y="698"/>
                </a:cubicBezTo>
                <a:cubicBezTo>
                  <a:pt x="596" y="698"/>
                  <a:pt x="597" y="698"/>
                  <a:pt x="598" y="698"/>
                </a:cubicBezTo>
                <a:lnTo>
                  <a:pt x="604" y="696"/>
                </a:lnTo>
                <a:lnTo>
                  <a:pt x="610" y="694"/>
                </a:lnTo>
                <a:cubicBezTo>
                  <a:pt x="610" y="694"/>
                  <a:pt x="611" y="694"/>
                  <a:pt x="611" y="694"/>
                </a:cubicBezTo>
                <a:cubicBezTo>
                  <a:pt x="613" y="694"/>
                  <a:pt x="614" y="694"/>
                  <a:pt x="614" y="696"/>
                </a:cubicBezTo>
                <a:cubicBezTo>
                  <a:pt x="615" y="697"/>
                  <a:pt x="615" y="699"/>
                  <a:pt x="613" y="700"/>
                </a:cubicBezTo>
                <a:lnTo>
                  <a:pt x="607" y="705"/>
                </a:lnTo>
                <a:cubicBezTo>
                  <a:pt x="605" y="706"/>
                  <a:pt x="604" y="707"/>
                  <a:pt x="602" y="708"/>
                </a:cubicBezTo>
                <a:cubicBezTo>
                  <a:pt x="601" y="708"/>
                  <a:pt x="599" y="709"/>
                  <a:pt x="597" y="710"/>
                </a:cubicBezTo>
                <a:lnTo>
                  <a:pt x="595" y="710"/>
                </a:lnTo>
                <a:cubicBezTo>
                  <a:pt x="594" y="711"/>
                  <a:pt x="593" y="711"/>
                  <a:pt x="592" y="711"/>
                </a:cubicBezTo>
                <a:cubicBezTo>
                  <a:pt x="592" y="711"/>
                  <a:pt x="588" y="712"/>
                  <a:pt x="588" y="712"/>
                </a:cubicBezTo>
                <a:cubicBezTo>
                  <a:pt x="588" y="712"/>
                  <a:pt x="587" y="712"/>
                  <a:pt x="586" y="712"/>
                </a:cubicBezTo>
                <a:lnTo>
                  <a:pt x="580" y="712"/>
                </a:lnTo>
                <a:lnTo>
                  <a:pt x="580" y="712"/>
                </a:lnTo>
                <a:cubicBezTo>
                  <a:pt x="579" y="712"/>
                  <a:pt x="578" y="712"/>
                  <a:pt x="577" y="712"/>
                </a:cubicBezTo>
                <a:lnTo>
                  <a:pt x="572" y="711"/>
                </a:lnTo>
                <a:lnTo>
                  <a:pt x="569" y="710"/>
                </a:lnTo>
                <a:cubicBezTo>
                  <a:pt x="567" y="709"/>
                  <a:pt x="565" y="709"/>
                  <a:pt x="564" y="708"/>
                </a:cubicBezTo>
                <a:cubicBezTo>
                  <a:pt x="556" y="705"/>
                  <a:pt x="548" y="701"/>
                  <a:pt x="542" y="697"/>
                </a:cubicBezTo>
                <a:cubicBezTo>
                  <a:pt x="538" y="695"/>
                  <a:pt x="535" y="692"/>
                  <a:pt x="531" y="690"/>
                </a:cubicBezTo>
                <a:cubicBezTo>
                  <a:pt x="528" y="688"/>
                  <a:pt x="524" y="685"/>
                  <a:pt x="521" y="683"/>
                </a:cubicBezTo>
                <a:cubicBezTo>
                  <a:pt x="513" y="678"/>
                  <a:pt x="506" y="675"/>
                  <a:pt x="500" y="673"/>
                </a:cubicBezTo>
                <a:cubicBezTo>
                  <a:pt x="499" y="672"/>
                  <a:pt x="498" y="672"/>
                  <a:pt x="498" y="672"/>
                </a:cubicBezTo>
                <a:cubicBezTo>
                  <a:pt x="497" y="672"/>
                  <a:pt x="496" y="672"/>
                  <a:pt x="495" y="672"/>
                </a:cubicBezTo>
                <a:lnTo>
                  <a:pt x="493" y="671"/>
                </a:lnTo>
                <a:lnTo>
                  <a:pt x="490" y="671"/>
                </a:lnTo>
                <a:lnTo>
                  <a:pt x="490" y="671"/>
                </a:lnTo>
                <a:cubicBezTo>
                  <a:pt x="490" y="671"/>
                  <a:pt x="485" y="671"/>
                  <a:pt x="485" y="671"/>
                </a:cubicBezTo>
                <a:close/>
                <a:moveTo>
                  <a:pt x="708" y="372"/>
                </a:moveTo>
                <a:lnTo>
                  <a:pt x="708" y="372"/>
                </a:lnTo>
                <a:lnTo>
                  <a:pt x="704" y="374"/>
                </a:lnTo>
                <a:cubicBezTo>
                  <a:pt x="703" y="375"/>
                  <a:pt x="701" y="376"/>
                  <a:pt x="699" y="377"/>
                </a:cubicBezTo>
                <a:cubicBezTo>
                  <a:pt x="698" y="378"/>
                  <a:pt x="696" y="379"/>
                  <a:pt x="695" y="381"/>
                </a:cubicBezTo>
                <a:lnTo>
                  <a:pt x="693" y="382"/>
                </a:lnTo>
                <a:cubicBezTo>
                  <a:pt x="689" y="385"/>
                  <a:pt x="685" y="389"/>
                  <a:pt x="680" y="395"/>
                </a:cubicBezTo>
                <a:lnTo>
                  <a:pt x="678" y="397"/>
                </a:lnTo>
                <a:cubicBezTo>
                  <a:pt x="672" y="402"/>
                  <a:pt x="664" y="410"/>
                  <a:pt x="652" y="415"/>
                </a:cubicBezTo>
                <a:cubicBezTo>
                  <a:pt x="650" y="416"/>
                  <a:pt x="648" y="417"/>
                  <a:pt x="646" y="417"/>
                </a:cubicBezTo>
                <a:lnTo>
                  <a:pt x="644" y="418"/>
                </a:lnTo>
                <a:lnTo>
                  <a:pt x="641" y="419"/>
                </a:lnTo>
                <a:cubicBezTo>
                  <a:pt x="639" y="419"/>
                  <a:pt x="637" y="420"/>
                  <a:pt x="635" y="420"/>
                </a:cubicBezTo>
                <a:lnTo>
                  <a:pt x="626" y="421"/>
                </a:lnTo>
                <a:lnTo>
                  <a:pt x="616" y="422"/>
                </a:lnTo>
                <a:lnTo>
                  <a:pt x="598" y="423"/>
                </a:lnTo>
                <a:lnTo>
                  <a:pt x="589" y="423"/>
                </a:lnTo>
                <a:cubicBezTo>
                  <a:pt x="587" y="423"/>
                  <a:pt x="586" y="424"/>
                  <a:pt x="585" y="424"/>
                </a:cubicBezTo>
                <a:lnTo>
                  <a:pt x="580" y="425"/>
                </a:lnTo>
                <a:cubicBezTo>
                  <a:pt x="568" y="427"/>
                  <a:pt x="557" y="432"/>
                  <a:pt x="549" y="438"/>
                </a:cubicBezTo>
                <a:lnTo>
                  <a:pt x="547" y="440"/>
                </a:lnTo>
                <a:lnTo>
                  <a:pt x="542" y="444"/>
                </a:lnTo>
                <a:cubicBezTo>
                  <a:pt x="541" y="446"/>
                  <a:pt x="540" y="447"/>
                  <a:pt x="539" y="448"/>
                </a:cubicBezTo>
                <a:lnTo>
                  <a:pt x="536" y="451"/>
                </a:lnTo>
                <a:cubicBezTo>
                  <a:pt x="536" y="452"/>
                  <a:pt x="535" y="453"/>
                  <a:pt x="535" y="454"/>
                </a:cubicBezTo>
                <a:cubicBezTo>
                  <a:pt x="534" y="455"/>
                  <a:pt x="533" y="457"/>
                  <a:pt x="532" y="458"/>
                </a:cubicBezTo>
                <a:cubicBezTo>
                  <a:pt x="531" y="459"/>
                  <a:pt x="531" y="460"/>
                  <a:pt x="530" y="462"/>
                </a:cubicBezTo>
                <a:cubicBezTo>
                  <a:pt x="529" y="463"/>
                  <a:pt x="528" y="465"/>
                  <a:pt x="528" y="466"/>
                </a:cubicBezTo>
                <a:cubicBezTo>
                  <a:pt x="523" y="477"/>
                  <a:pt x="520" y="489"/>
                  <a:pt x="519" y="503"/>
                </a:cubicBezTo>
                <a:cubicBezTo>
                  <a:pt x="518" y="518"/>
                  <a:pt x="518" y="528"/>
                  <a:pt x="521" y="539"/>
                </a:cubicBezTo>
                <a:cubicBezTo>
                  <a:pt x="524" y="549"/>
                  <a:pt x="529" y="558"/>
                  <a:pt x="537" y="568"/>
                </a:cubicBezTo>
                <a:cubicBezTo>
                  <a:pt x="543" y="576"/>
                  <a:pt x="552" y="583"/>
                  <a:pt x="559" y="589"/>
                </a:cubicBezTo>
                <a:cubicBezTo>
                  <a:pt x="566" y="594"/>
                  <a:pt x="572" y="599"/>
                  <a:pt x="577" y="603"/>
                </a:cubicBezTo>
                <a:lnTo>
                  <a:pt x="582" y="606"/>
                </a:lnTo>
                <a:lnTo>
                  <a:pt x="600" y="618"/>
                </a:lnTo>
                <a:cubicBezTo>
                  <a:pt x="605" y="622"/>
                  <a:pt x="609" y="624"/>
                  <a:pt x="612" y="626"/>
                </a:cubicBezTo>
                <a:lnTo>
                  <a:pt x="616" y="629"/>
                </a:lnTo>
                <a:cubicBezTo>
                  <a:pt x="618" y="630"/>
                  <a:pt x="618" y="632"/>
                  <a:pt x="617" y="634"/>
                </a:cubicBezTo>
                <a:cubicBezTo>
                  <a:pt x="616" y="635"/>
                  <a:pt x="615" y="636"/>
                  <a:pt x="614" y="636"/>
                </a:cubicBezTo>
                <a:cubicBezTo>
                  <a:pt x="613" y="636"/>
                  <a:pt x="613" y="636"/>
                  <a:pt x="612" y="636"/>
                </a:cubicBezTo>
                <a:lnTo>
                  <a:pt x="595" y="628"/>
                </a:lnTo>
                <a:cubicBezTo>
                  <a:pt x="589" y="625"/>
                  <a:pt x="582" y="622"/>
                  <a:pt x="574" y="619"/>
                </a:cubicBezTo>
                <a:cubicBezTo>
                  <a:pt x="565" y="614"/>
                  <a:pt x="557" y="609"/>
                  <a:pt x="549" y="604"/>
                </a:cubicBezTo>
                <a:cubicBezTo>
                  <a:pt x="538" y="598"/>
                  <a:pt x="529" y="590"/>
                  <a:pt x="521" y="582"/>
                </a:cubicBezTo>
                <a:cubicBezTo>
                  <a:pt x="511" y="571"/>
                  <a:pt x="503" y="559"/>
                  <a:pt x="499" y="546"/>
                </a:cubicBezTo>
                <a:cubicBezTo>
                  <a:pt x="493" y="530"/>
                  <a:pt x="494" y="513"/>
                  <a:pt x="494" y="501"/>
                </a:cubicBezTo>
                <a:cubicBezTo>
                  <a:pt x="496" y="485"/>
                  <a:pt x="499" y="470"/>
                  <a:pt x="505" y="457"/>
                </a:cubicBezTo>
                <a:cubicBezTo>
                  <a:pt x="506" y="454"/>
                  <a:pt x="507" y="452"/>
                  <a:pt x="509" y="450"/>
                </a:cubicBezTo>
                <a:lnTo>
                  <a:pt x="510" y="446"/>
                </a:lnTo>
                <a:cubicBezTo>
                  <a:pt x="512" y="444"/>
                  <a:pt x="513" y="442"/>
                  <a:pt x="515" y="440"/>
                </a:cubicBezTo>
                <a:lnTo>
                  <a:pt x="517" y="437"/>
                </a:lnTo>
                <a:lnTo>
                  <a:pt x="520" y="433"/>
                </a:lnTo>
                <a:cubicBezTo>
                  <a:pt x="522" y="431"/>
                  <a:pt x="523" y="429"/>
                  <a:pt x="525" y="427"/>
                </a:cubicBezTo>
                <a:lnTo>
                  <a:pt x="532" y="422"/>
                </a:lnTo>
                <a:lnTo>
                  <a:pt x="535" y="420"/>
                </a:lnTo>
                <a:cubicBezTo>
                  <a:pt x="539" y="416"/>
                  <a:pt x="545" y="413"/>
                  <a:pt x="551" y="410"/>
                </a:cubicBezTo>
                <a:lnTo>
                  <a:pt x="551" y="411"/>
                </a:lnTo>
                <a:lnTo>
                  <a:pt x="553" y="410"/>
                </a:lnTo>
                <a:lnTo>
                  <a:pt x="549" y="410"/>
                </a:lnTo>
                <a:lnTo>
                  <a:pt x="549" y="407"/>
                </a:lnTo>
                <a:lnTo>
                  <a:pt x="552" y="405"/>
                </a:lnTo>
                <a:lnTo>
                  <a:pt x="549" y="405"/>
                </a:lnTo>
                <a:cubicBezTo>
                  <a:pt x="549" y="404"/>
                  <a:pt x="549" y="402"/>
                  <a:pt x="548" y="401"/>
                </a:cubicBezTo>
                <a:cubicBezTo>
                  <a:pt x="548" y="398"/>
                  <a:pt x="547" y="394"/>
                  <a:pt x="545" y="390"/>
                </a:cubicBezTo>
                <a:cubicBezTo>
                  <a:pt x="542" y="382"/>
                  <a:pt x="536" y="373"/>
                  <a:pt x="528" y="366"/>
                </a:cubicBezTo>
                <a:cubicBezTo>
                  <a:pt x="520" y="357"/>
                  <a:pt x="511" y="350"/>
                  <a:pt x="500" y="344"/>
                </a:cubicBezTo>
                <a:cubicBezTo>
                  <a:pt x="494" y="340"/>
                  <a:pt x="488" y="338"/>
                  <a:pt x="483" y="336"/>
                </a:cubicBezTo>
                <a:cubicBezTo>
                  <a:pt x="477" y="333"/>
                  <a:pt x="472" y="332"/>
                  <a:pt x="467" y="332"/>
                </a:cubicBezTo>
                <a:cubicBezTo>
                  <a:pt x="462" y="332"/>
                  <a:pt x="456" y="333"/>
                  <a:pt x="451" y="334"/>
                </a:cubicBezTo>
                <a:cubicBezTo>
                  <a:pt x="446" y="335"/>
                  <a:pt x="441" y="337"/>
                  <a:pt x="436" y="339"/>
                </a:cubicBezTo>
                <a:cubicBezTo>
                  <a:pt x="430" y="341"/>
                  <a:pt x="425" y="344"/>
                  <a:pt x="420" y="346"/>
                </a:cubicBezTo>
                <a:lnTo>
                  <a:pt x="415" y="348"/>
                </a:lnTo>
                <a:lnTo>
                  <a:pt x="406" y="351"/>
                </a:lnTo>
                <a:cubicBezTo>
                  <a:pt x="406" y="352"/>
                  <a:pt x="405" y="352"/>
                  <a:pt x="405" y="352"/>
                </a:cubicBezTo>
                <a:cubicBezTo>
                  <a:pt x="404" y="352"/>
                  <a:pt x="402" y="351"/>
                  <a:pt x="402" y="350"/>
                </a:cubicBezTo>
                <a:cubicBezTo>
                  <a:pt x="401" y="348"/>
                  <a:pt x="402" y="346"/>
                  <a:pt x="403" y="345"/>
                </a:cubicBezTo>
                <a:lnTo>
                  <a:pt x="411" y="341"/>
                </a:lnTo>
                <a:lnTo>
                  <a:pt x="417" y="338"/>
                </a:lnTo>
                <a:cubicBezTo>
                  <a:pt x="421" y="336"/>
                  <a:pt x="426" y="333"/>
                  <a:pt x="433" y="330"/>
                </a:cubicBezTo>
                <a:cubicBezTo>
                  <a:pt x="437" y="328"/>
                  <a:pt x="442" y="325"/>
                  <a:pt x="448" y="324"/>
                </a:cubicBezTo>
                <a:cubicBezTo>
                  <a:pt x="450" y="323"/>
                  <a:pt x="452" y="322"/>
                  <a:pt x="454" y="322"/>
                </a:cubicBezTo>
                <a:lnTo>
                  <a:pt x="457" y="321"/>
                </a:lnTo>
                <a:cubicBezTo>
                  <a:pt x="459" y="321"/>
                  <a:pt x="460" y="320"/>
                  <a:pt x="462" y="320"/>
                </a:cubicBezTo>
                <a:lnTo>
                  <a:pt x="466" y="320"/>
                </a:lnTo>
                <a:cubicBezTo>
                  <a:pt x="468" y="320"/>
                  <a:pt x="469" y="320"/>
                  <a:pt x="470" y="320"/>
                </a:cubicBezTo>
                <a:cubicBezTo>
                  <a:pt x="476" y="320"/>
                  <a:pt x="482" y="321"/>
                  <a:pt x="488" y="322"/>
                </a:cubicBezTo>
                <a:cubicBezTo>
                  <a:pt x="494" y="324"/>
                  <a:pt x="500" y="327"/>
                  <a:pt x="507" y="330"/>
                </a:cubicBezTo>
                <a:cubicBezTo>
                  <a:pt x="519" y="336"/>
                  <a:pt x="531" y="344"/>
                  <a:pt x="541" y="352"/>
                </a:cubicBezTo>
                <a:cubicBezTo>
                  <a:pt x="551" y="361"/>
                  <a:pt x="559" y="371"/>
                  <a:pt x="564" y="381"/>
                </a:cubicBezTo>
                <a:cubicBezTo>
                  <a:pt x="566" y="386"/>
                  <a:pt x="568" y="390"/>
                  <a:pt x="570" y="396"/>
                </a:cubicBezTo>
                <a:cubicBezTo>
                  <a:pt x="570" y="398"/>
                  <a:pt x="571" y="400"/>
                  <a:pt x="571" y="403"/>
                </a:cubicBezTo>
                <a:cubicBezTo>
                  <a:pt x="571" y="403"/>
                  <a:pt x="571" y="404"/>
                  <a:pt x="571" y="404"/>
                </a:cubicBezTo>
                <a:cubicBezTo>
                  <a:pt x="573" y="404"/>
                  <a:pt x="575" y="403"/>
                  <a:pt x="577" y="403"/>
                </a:cubicBezTo>
                <a:lnTo>
                  <a:pt x="582" y="403"/>
                </a:lnTo>
                <a:cubicBezTo>
                  <a:pt x="584" y="402"/>
                  <a:pt x="585" y="402"/>
                  <a:pt x="587" y="402"/>
                </a:cubicBezTo>
                <a:lnTo>
                  <a:pt x="597" y="402"/>
                </a:lnTo>
                <a:cubicBezTo>
                  <a:pt x="598" y="400"/>
                  <a:pt x="599" y="397"/>
                  <a:pt x="600" y="394"/>
                </a:cubicBezTo>
                <a:cubicBezTo>
                  <a:pt x="600" y="392"/>
                  <a:pt x="601" y="389"/>
                  <a:pt x="602" y="387"/>
                </a:cubicBezTo>
                <a:cubicBezTo>
                  <a:pt x="603" y="385"/>
                  <a:pt x="604" y="383"/>
                  <a:pt x="605" y="381"/>
                </a:cubicBezTo>
                <a:lnTo>
                  <a:pt x="606" y="379"/>
                </a:lnTo>
                <a:lnTo>
                  <a:pt x="607" y="377"/>
                </a:lnTo>
                <a:cubicBezTo>
                  <a:pt x="608" y="375"/>
                  <a:pt x="609" y="373"/>
                  <a:pt x="610" y="371"/>
                </a:cubicBezTo>
                <a:cubicBezTo>
                  <a:pt x="612" y="368"/>
                  <a:pt x="613" y="366"/>
                  <a:pt x="614" y="364"/>
                </a:cubicBezTo>
                <a:lnTo>
                  <a:pt x="616" y="363"/>
                </a:lnTo>
                <a:lnTo>
                  <a:pt x="617" y="360"/>
                </a:lnTo>
                <a:cubicBezTo>
                  <a:pt x="619" y="358"/>
                  <a:pt x="620" y="357"/>
                  <a:pt x="622" y="355"/>
                </a:cubicBezTo>
                <a:cubicBezTo>
                  <a:pt x="624" y="352"/>
                  <a:pt x="626" y="350"/>
                  <a:pt x="628" y="348"/>
                </a:cubicBezTo>
                <a:cubicBezTo>
                  <a:pt x="631" y="346"/>
                  <a:pt x="633" y="344"/>
                  <a:pt x="635" y="343"/>
                </a:cubicBezTo>
                <a:cubicBezTo>
                  <a:pt x="638" y="341"/>
                  <a:pt x="640" y="339"/>
                  <a:pt x="642" y="338"/>
                </a:cubicBezTo>
                <a:cubicBezTo>
                  <a:pt x="642" y="338"/>
                  <a:pt x="645" y="337"/>
                  <a:pt x="645" y="337"/>
                </a:cubicBezTo>
                <a:lnTo>
                  <a:pt x="648" y="336"/>
                </a:lnTo>
                <a:cubicBezTo>
                  <a:pt x="650" y="335"/>
                  <a:pt x="652" y="334"/>
                  <a:pt x="653" y="334"/>
                </a:cubicBezTo>
                <a:lnTo>
                  <a:pt x="657" y="333"/>
                </a:lnTo>
                <a:cubicBezTo>
                  <a:pt x="657" y="332"/>
                  <a:pt x="658" y="332"/>
                  <a:pt x="658" y="332"/>
                </a:cubicBezTo>
                <a:cubicBezTo>
                  <a:pt x="659" y="332"/>
                  <a:pt x="661" y="333"/>
                  <a:pt x="661" y="335"/>
                </a:cubicBezTo>
                <a:cubicBezTo>
                  <a:pt x="662" y="337"/>
                  <a:pt x="661" y="339"/>
                  <a:pt x="659" y="340"/>
                </a:cubicBezTo>
                <a:lnTo>
                  <a:pt x="655" y="341"/>
                </a:lnTo>
                <a:cubicBezTo>
                  <a:pt x="654" y="342"/>
                  <a:pt x="653" y="342"/>
                  <a:pt x="651" y="343"/>
                </a:cubicBezTo>
                <a:lnTo>
                  <a:pt x="649" y="344"/>
                </a:lnTo>
                <a:lnTo>
                  <a:pt x="646" y="346"/>
                </a:lnTo>
                <a:cubicBezTo>
                  <a:pt x="645" y="347"/>
                  <a:pt x="643" y="348"/>
                  <a:pt x="642" y="350"/>
                </a:cubicBezTo>
                <a:cubicBezTo>
                  <a:pt x="639" y="352"/>
                  <a:pt x="638" y="354"/>
                  <a:pt x="636" y="356"/>
                </a:cubicBezTo>
                <a:cubicBezTo>
                  <a:pt x="634" y="358"/>
                  <a:pt x="632" y="360"/>
                  <a:pt x="631" y="362"/>
                </a:cubicBezTo>
                <a:cubicBezTo>
                  <a:pt x="629" y="364"/>
                  <a:pt x="628" y="366"/>
                  <a:pt x="627" y="368"/>
                </a:cubicBezTo>
                <a:lnTo>
                  <a:pt x="626" y="369"/>
                </a:lnTo>
                <a:lnTo>
                  <a:pt x="625" y="371"/>
                </a:lnTo>
                <a:cubicBezTo>
                  <a:pt x="624" y="373"/>
                  <a:pt x="623" y="375"/>
                  <a:pt x="622" y="377"/>
                </a:cubicBezTo>
                <a:cubicBezTo>
                  <a:pt x="621" y="379"/>
                  <a:pt x="621" y="381"/>
                  <a:pt x="620" y="383"/>
                </a:cubicBezTo>
                <a:lnTo>
                  <a:pt x="619" y="386"/>
                </a:lnTo>
                <a:cubicBezTo>
                  <a:pt x="618" y="388"/>
                  <a:pt x="617" y="390"/>
                  <a:pt x="617" y="392"/>
                </a:cubicBezTo>
                <a:lnTo>
                  <a:pt x="616" y="393"/>
                </a:lnTo>
                <a:cubicBezTo>
                  <a:pt x="616" y="395"/>
                  <a:pt x="615" y="397"/>
                  <a:pt x="615" y="398"/>
                </a:cubicBezTo>
                <a:cubicBezTo>
                  <a:pt x="615" y="400"/>
                  <a:pt x="614" y="401"/>
                  <a:pt x="614" y="403"/>
                </a:cubicBezTo>
                <a:lnTo>
                  <a:pt x="625" y="403"/>
                </a:lnTo>
                <a:lnTo>
                  <a:pt x="632" y="402"/>
                </a:lnTo>
                <a:cubicBezTo>
                  <a:pt x="634" y="402"/>
                  <a:pt x="640" y="401"/>
                  <a:pt x="640" y="401"/>
                </a:cubicBezTo>
                <a:lnTo>
                  <a:pt x="642" y="401"/>
                </a:lnTo>
                <a:cubicBezTo>
                  <a:pt x="644" y="400"/>
                  <a:pt x="645" y="400"/>
                  <a:pt x="647" y="400"/>
                </a:cubicBezTo>
                <a:cubicBezTo>
                  <a:pt x="654" y="397"/>
                  <a:pt x="661" y="393"/>
                  <a:pt x="669" y="387"/>
                </a:cubicBezTo>
                <a:cubicBezTo>
                  <a:pt x="676" y="380"/>
                  <a:pt x="682" y="376"/>
                  <a:pt x="687" y="373"/>
                </a:cubicBezTo>
                <a:cubicBezTo>
                  <a:pt x="690" y="372"/>
                  <a:pt x="693" y="370"/>
                  <a:pt x="695" y="369"/>
                </a:cubicBezTo>
                <a:cubicBezTo>
                  <a:pt x="697" y="368"/>
                  <a:pt x="699" y="367"/>
                  <a:pt x="701" y="367"/>
                </a:cubicBezTo>
                <a:lnTo>
                  <a:pt x="706" y="365"/>
                </a:lnTo>
                <a:cubicBezTo>
                  <a:pt x="706" y="365"/>
                  <a:pt x="706" y="365"/>
                  <a:pt x="707" y="365"/>
                </a:cubicBezTo>
                <a:cubicBezTo>
                  <a:pt x="708" y="365"/>
                  <a:pt x="710" y="366"/>
                  <a:pt x="710" y="367"/>
                </a:cubicBezTo>
                <a:cubicBezTo>
                  <a:pt x="711" y="369"/>
                  <a:pt x="710" y="371"/>
                  <a:pt x="708" y="372"/>
                </a:cubicBezTo>
                <a:close/>
                <a:moveTo>
                  <a:pt x="652" y="573"/>
                </a:moveTo>
                <a:lnTo>
                  <a:pt x="652" y="573"/>
                </a:lnTo>
                <a:cubicBezTo>
                  <a:pt x="652" y="573"/>
                  <a:pt x="654" y="572"/>
                  <a:pt x="657" y="570"/>
                </a:cubicBezTo>
                <a:cubicBezTo>
                  <a:pt x="659" y="569"/>
                  <a:pt x="661" y="568"/>
                  <a:pt x="664" y="568"/>
                </a:cubicBezTo>
                <a:cubicBezTo>
                  <a:pt x="664" y="568"/>
                  <a:pt x="666" y="567"/>
                  <a:pt x="667" y="567"/>
                </a:cubicBezTo>
                <a:cubicBezTo>
                  <a:pt x="667" y="567"/>
                  <a:pt x="668" y="567"/>
                  <a:pt x="668" y="567"/>
                </a:cubicBezTo>
                <a:lnTo>
                  <a:pt x="670" y="566"/>
                </a:lnTo>
                <a:cubicBezTo>
                  <a:pt x="670" y="566"/>
                  <a:pt x="671" y="566"/>
                  <a:pt x="672" y="566"/>
                </a:cubicBezTo>
                <a:cubicBezTo>
                  <a:pt x="672" y="566"/>
                  <a:pt x="673" y="566"/>
                  <a:pt x="674" y="566"/>
                </a:cubicBezTo>
                <a:cubicBezTo>
                  <a:pt x="675" y="567"/>
                  <a:pt x="676" y="567"/>
                  <a:pt x="677" y="567"/>
                </a:cubicBezTo>
                <a:lnTo>
                  <a:pt x="679" y="568"/>
                </a:lnTo>
                <a:cubicBezTo>
                  <a:pt x="681" y="568"/>
                  <a:pt x="682" y="568"/>
                  <a:pt x="683" y="569"/>
                </a:cubicBezTo>
                <a:lnTo>
                  <a:pt x="685" y="569"/>
                </a:lnTo>
                <a:cubicBezTo>
                  <a:pt x="688" y="571"/>
                  <a:pt x="691" y="572"/>
                  <a:pt x="695" y="574"/>
                </a:cubicBezTo>
                <a:lnTo>
                  <a:pt x="704" y="579"/>
                </a:lnTo>
                <a:cubicBezTo>
                  <a:pt x="706" y="581"/>
                  <a:pt x="709" y="582"/>
                  <a:pt x="711" y="583"/>
                </a:cubicBezTo>
                <a:lnTo>
                  <a:pt x="713" y="584"/>
                </a:lnTo>
                <a:cubicBezTo>
                  <a:pt x="716" y="586"/>
                  <a:pt x="719" y="587"/>
                  <a:pt x="721" y="588"/>
                </a:cubicBezTo>
                <a:cubicBezTo>
                  <a:pt x="724" y="589"/>
                  <a:pt x="727" y="589"/>
                  <a:pt x="729" y="590"/>
                </a:cubicBezTo>
                <a:lnTo>
                  <a:pt x="732" y="590"/>
                </a:lnTo>
                <a:cubicBezTo>
                  <a:pt x="732" y="590"/>
                  <a:pt x="732" y="590"/>
                  <a:pt x="733" y="591"/>
                </a:cubicBezTo>
                <a:lnTo>
                  <a:pt x="733" y="590"/>
                </a:lnTo>
                <a:lnTo>
                  <a:pt x="733" y="591"/>
                </a:lnTo>
                <a:cubicBezTo>
                  <a:pt x="734" y="592"/>
                  <a:pt x="735" y="592"/>
                  <a:pt x="735" y="593"/>
                </a:cubicBezTo>
                <a:lnTo>
                  <a:pt x="735" y="590"/>
                </a:lnTo>
                <a:lnTo>
                  <a:pt x="737" y="590"/>
                </a:lnTo>
                <a:lnTo>
                  <a:pt x="739" y="590"/>
                </a:lnTo>
                <a:cubicBezTo>
                  <a:pt x="739" y="590"/>
                  <a:pt x="740" y="590"/>
                  <a:pt x="741" y="590"/>
                </a:cubicBezTo>
                <a:lnTo>
                  <a:pt x="744" y="590"/>
                </a:lnTo>
                <a:lnTo>
                  <a:pt x="747" y="589"/>
                </a:lnTo>
                <a:lnTo>
                  <a:pt x="750" y="588"/>
                </a:lnTo>
                <a:cubicBezTo>
                  <a:pt x="751" y="587"/>
                  <a:pt x="752" y="587"/>
                  <a:pt x="753" y="586"/>
                </a:cubicBezTo>
                <a:lnTo>
                  <a:pt x="755" y="585"/>
                </a:lnTo>
                <a:cubicBezTo>
                  <a:pt x="757" y="584"/>
                  <a:pt x="759" y="583"/>
                  <a:pt x="759" y="583"/>
                </a:cubicBezTo>
                <a:cubicBezTo>
                  <a:pt x="760" y="582"/>
                  <a:pt x="760" y="582"/>
                  <a:pt x="761" y="582"/>
                </a:cubicBezTo>
                <a:cubicBezTo>
                  <a:pt x="762" y="582"/>
                  <a:pt x="763" y="583"/>
                  <a:pt x="763" y="583"/>
                </a:cubicBezTo>
                <a:cubicBezTo>
                  <a:pt x="764" y="584"/>
                  <a:pt x="765" y="586"/>
                  <a:pt x="764" y="587"/>
                </a:cubicBezTo>
                <a:cubicBezTo>
                  <a:pt x="764" y="587"/>
                  <a:pt x="763" y="589"/>
                  <a:pt x="762" y="592"/>
                </a:cubicBezTo>
                <a:lnTo>
                  <a:pt x="760" y="594"/>
                </a:lnTo>
                <a:cubicBezTo>
                  <a:pt x="760" y="595"/>
                  <a:pt x="759" y="597"/>
                  <a:pt x="757" y="598"/>
                </a:cubicBezTo>
                <a:cubicBezTo>
                  <a:pt x="756" y="599"/>
                  <a:pt x="755" y="600"/>
                  <a:pt x="754" y="601"/>
                </a:cubicBezTo>
                <a:cubicBezTo>
                  <a:pt x="753" y="602"/>
                  <a:pt x="752" y="603"/>
                  <a:pt x="751" y="604"/>
                </a:cubicBezTo>
                <a:cubicBezTo>
                  <a:pt x="748" y="606"/>
                  <a:pt x="744" y="608"/>
                  <a:pt x="740" y="609"/>
                </a:cubicBezTo>
                <a:lnTo>
                  <a:pt x="737" y="610"/>
                </a:lnTo>
                <a:cubicBezTo>
                  <a:pt x="736" y="610"/>
                  <a:pt x="733" y="611"/>
                  <a:pt x="733" y="611"/>
                </a:cubicBezTo>
                <a:cubicBezTo>
                  <a:pt x="733" y="611"/>
                  <a:pt x="732" y="611"/>
                  <a:pt x="732" y="611"/>
                </a:cubicBezTo>
                <a:cubicBezTo>
                  <a:pt x="732" y="611"/>
                  <a:pt x="727" y="611"/>
                  <a:pt x="727" y="611"/>
                </a:cubicBezTo>
                <a:cubicBezTo>
                  <a:pt x="723" y="611"/>
                  <a:pt x="719" y="610"/>
                  <a:pt x="715" y="609"/>
                </a:cubicBezTo>
                <a:cubicBezTo>
                  <a:pt x="713" y="609"/>
                  <a:pt x="712" y="609"/>
                  <a:pt x="710" y="608"/>
                </a:cubicBezTo>
                <a:lnTo>
                  <a:pt x="709" y="608"/>
                </a:lnTo>
                <a:cubicBezTo>
                  <a:pt x="707" y="607"/>
                  <a:pt x="706" y="606"/>
                  <a:pt x="705" y="606"/>
                </a:cubicBezTo>
                <a:lnTo>
                  <a:pt x="703" y="605"/>
                </a:lnTo>
                <a:cubicBezTo>
                  <a:pt x="695" y="601"/>
                  <a:pt x="688" y="596"/>
                  <a:pt x="683" y="592"/>
                </a:cubicBezTo>
                <a:lnTo>
                  <a:pt x="675" y="587"/>
                </a:lnTo>
                <a:cubicBezTo>
                  <a:pt x="675" y="586"/>
                  <a:pt x="674" y="586"/>
                  <a:pt x="674" y="586"/>
                </a:cubicBezTo>
                <a:cubicBezTo>
                  <a:pt x="673" y="585"/>
                  <a:pt x="673" y="585"/>
                  <a:pt x="672" y="584"/>
                </a:cubicBezTo>
                <a:lnTo>
                  <a:pt x="671" y="584"/>
                </a:lnTo>
                <a:lnTo>
                  <a:pt x="672" y="580"/>
                </a:lnTo>
                <a:lnTo>
                  <a:pt x="670" y="583"/>
                </a:lnTo>
                <a:cubicBezTo>
                  <a:pt x="669" y="583"/>
                  <a:pt x="669" y="582"/>
                  <a:pt x="669" y="582"/>
                </a:cubicBezTo>
                <a:cubicBezTo>
                  <a:pt x="669" y="582"/>
                  <a:pt x="662" y="581"/>
                  <a:pt x="662" y="581"/>
                </a:cubicBezTo>
                <a:cubicBezTo>
                  <a:pt x="661" y="581"/>
                  <a:pt x="660" y="580"/>
                  <a:pt x="659" y="580"/>
                </a:cubicBezTo>
                <a:cubicBezTo>
                  <a:pt x="655" y="580"/>
                  <a:pt x="653" y="579"/>
                  <a:pt x="653" y="579"/>
                </a:cubicBezTo>
                <a:cubicBezTo>
                  <a:pt x="652" y="579"/>
                  <a:pt x="651" y="578"/>
                  <a:pt x="650" y="576"/>
                </a:cubicBezTo>
                <a:cubicBezTo>
                  <a:pt x="650" y="575"/>
                  <a:pt x="651" y="573"/>
                  <a:pt x="652" y="573"/>
                </a:cubicBezTo>
                <a:close/>
                <a:moveTo>
                  <a:pt x="850" y="766"/>
                </a:moveTo>
                <a:lnTo>
                  <a:pt x="850" y="766"/>
                </a:lnTo>
                <a:lnTo>
                  <a:pt x="849" y="759"/>
                </a:lnTo>
                <a:lnTo>
                  <a:pt x="844" y="735"/>
                </a:lnTo>
                <a:cubicBezTo>
                  <a:pt x="842" y="733"/>
                  <a:pt x="839" y="731"/>
                  <a:pt x="836" y="729"/>
                </a:cubicBezTo>
                <a:cubicBezTo>
                  <a:pt x="835" y="728"/>
                  <a:pt x="834" y="727"/>
                  <a:pt x="832" y="727"/>
                </a:cubicBezTo>
                <a:lnTo>
                  <a:pt x="830" y="725"/>
                </a:lnTo>
                <a:cubicBezTo>
                  <a:pt x="828" y="724"/>
                  <a:pt x="826" y="723"/>
                  <a:pt x="825" y="722"/>
                </a:cubicBezTo>
                <a:cubicBezTo>
                  <a:pt x="825" y="722"/>
                  <a:pt x="824" y="722"/>
                  <a:pt x="824" y="722"/>
                </a:cubicBezTo>
                <a:cubicBezTo>
                  <a:pt x="820" y="720"/>
                  <a:pt x="817" y="718"/>
                  <a:pt x="814" y="717"/>
                </a:cubicBezTo>
                <a:lnTo>
                  <a:pt x="811" y="716"/>
                </a:lnTo>
                <a:cubicBezTo>
                  <a:pt x="810" y="715"/>
                  <a:pt x="808" y="715"/>
                  <a:pt x="807" y="714"/>
                </a:cubicBezTo>
                <a:cubicBezTo>
                  <a:pt x="806" y="714"/>
                  <a:pt x="803" y="713"/>
                  <a:pt x="802" y="713"/>
                </a:cubicBezTo>
                <a:cubicBezTo>
                  <a:pt x="801" y="712"/>
                  <a:pt x="799" y="712"/>
                  <a:pt x="798" y="712"/>
                </a:cubicBezTo>
                <a:lnTo>
                  <a:pt x="789" y="710"/>
                </a:lnTo>
                <a:cubicBezTo>
                  <a:pt x="788" y="710"/>
                  <a:pt x="787" y="709"/>
                  <a:pt x="786" y="709"/>
                </a:cubicBezTo>
                <a:lnTo>
                  <a:pt x="772" y="708"/>
                </a:lnTo>
                <a:cubicBezTo>
                  <a:pt x="770" y="708"/>
                  <a:pt x="767" y="708"/>
                  <a:pt x="764" y="708"/>
                </a:cubicBezTo>
                <a:cubicBezTo>
                  <a:pt x="759" y="708"/>
                  <a:pt x="755" y="708"/>
                  <a:pt x="751" y="708"/>
                </a:cubicBezTo>
                <a:cubicBezTo>
                  <a:pt x="745" y="709"/>
                  <a:pt x="741" y="710"/>
                  <a:pt x="736" y="711"/>
                </a:cubicBezTo>
                <a:lnTo>
                  <a:pt x="734" y="711"/>
                </a:lnTo>
                <a:cubicBezTo>
                  <a:pt x="730" y="713"/>
                  <a:pt x="726" y="714"/>
                  <a:pt x="723" y="715"/>
                </a:cubicBezTo>
                <a:lnTo>
                  <a:pt x="719" y="716"/>
                </a:lnTo>
                <a:cubicBezTo>
                  <a:pt x="719" y="716"/>
                  <a:pt x="718" y="716"/>
                  <a:pt x="718" y="716"/>
                </a:cubicBezTo>
                <a:cubicBezTo>
                  <a:pt x="717" y="716"/>
                  <a:pt x="716" y="715"/>
                  <a:pt x="715" y="714"/>
                </a:cubicBezTo>
                <a:cubicBezTo>
                  <a:pt x="714" y="713"/>
                  <a:pt x="714" y="711"/>
                  <a:pt x="716" y="710"/>
                </a:cubicBezTo>
                <a:lnTo>
                  <a:pt x="719" y="707"/>
                </a:lnTo>
                <a:cubicBezTo>
                  <a:pt x="721" y="705"/>
                  <a:pt x="725" y="703"/>
                  <a:pt x="730" y="700"/>
                </a:cubicBezTo>
                <a:cubicBezTo>
                  <a:pt x="736" y="697"/>
                  <a:pt x="741" y="695"/>
                  <a:pt x="748" y="693"/>
                </a:cubicBezTo>
                <a:cubicBezTo>
                  <a:pt x="755" y="690"/>
                  <a:pt x="764" y="689"/>
                  <a:pt x="772" y="688"/>
                </a:cubicBezTo>
                <a:cubicBezTo>
                  <a:pt x="772" y="688"/>
                  <a:pt x="786" y="688"/>
                  <a:pt x="787" y="688"/>
                </a:cubicBezTo>
                <a:cubicBezTo>
                  <a:pt x="789" y="688"/>
                  <a:pt x="790" y="688"/>
                  <a:pt x="792" y="688"/>
                </a:cubicBezTo>
                <a:lnTo>
                  <a:pt x="802" y="689"/>
                </a:lnTo>
                <a:cubicBezTo>
                  <a:pt x="804" y="689"/>
                  <a:pt x="806" y="690"/>
                  <a:pt x="808" y="690"/>
                </a:cubicBezTo>
                <a:lnTo>
                  <a:pt x="813" y="691"/>
                </a:lnTo>
                <a:cubicBezTo>
                  <a:pt x="815" y="692"/>
                  <a:pt x="817" y="692"/>
                  <a:pt x="819" y="693"/>
                </a:cubicBezTo>
                <a:lnTo>
                  <a:pt x="821" y="694"/>
                </a:lnTo>
                <a:cubicBezTo>
                  <a:pt x="826" y="695"/>
                  <a:pt x="830" y="697"/>
                  <a:pt x="835" y="699"/>
                </a:cubicBezTo>
                <a:lnTo>
                  <a:pt x="838" y="701"/>
                </a:lnTo>
                <a:cubicBezTo>
                  <a:pt x="831" y="658"/>
                  <a:pt x="824" y="602"/>
                  <a:pt x="824" y="519"/>
                </a:cubicBezTo>
                <a:cubicBezTo>
                  <a:pt x="824" y="510"/>
                  <a:pt x="824" y="500"/>
                  <a:pt x="824" y="492"/>
                </a:cubicBezTo>
                <a:cubicBezTo>
                  <a:pt x="821" y="489"/>
                  <a:pt x="818" y="488"/>
                  <a:pt x="815" y="487"/>
                </a:cubicBezTo>
                <a:cubicBezTo>
                  <a:pt x="814" y="487"/>
                  <a:pt x="814" y="487"/>
                  <a:pt x="813" y="486"/>
                </a:cubicBezTo>
                <a:cubicBezTo>
                  <a:pt x="812" y="486"/>
                  <a:pt x="812" y="486"/>
                  <a:pt x="811" y="486"/>
                </a:cubicBezTo>
                <a:lnTo>
                  <a:pt x="807" y="486"/>
                </a:lnTo>
                <a:lnTo>
                  <a:pt x="801" y="486"/>
                </a:lnTo>
                <a:lnTo>
                  <a:pt x="796" y="487"/>
                </a:lnTo>
                <a:cubicBezTo>
                  <a:pt x="790" y="488"/>
                  <a:pt x="784" y="490"/>
                  <a:pt x="775" y="492"/>
                </a:cubicBezTo>
                <a:cubicBezTo>
                  <a:pt x="768" y="495"/>
                  <a:pt x="761" y="498"/>
                  <a:pt x="755" y="500"/>
                </a:cubicBezTo>
                <a:lnTo>
                  <a:pt x="749" y="503"/>
                </a:lnTo>
                <a:cubicBezTo>
                  <a:pt x="744" y="505"/>
                  <a:pt x="740" y="507"/>
                  <a:pt x="735" y="509"/>
                </a:cubicBezTo>
                <a:cubicBezTo>
                  <a:pt x="731" y="511"/>
                  <a:pt x="728" y="512"/>
                  <a:pt x="724" y="513"/>
                </a:cubicBezTo>
                <a:lnTo>
                  <a:pt x="719" y="515"/>
                </a:lnTo>
                <a:cubicBezTo>
                  <a:pt x="717" y="515"/>
                  <a:pt x="714" y="516"/>
                  <a:pt x="712" y="516"/>
                </a:cubicBezTo>
                <a:lnTo>
                  <a:pt x="708" y="516"/>
                </a:lnTo>
                <a:lnTo>
                  <a:pt x="706" y="516"/>
                </a:lnTo>
                <a:cubicBezTo>
                  <a:pt x="704" y="516"/>
                  <a:pt x="702" y="516"/>
                  <a:pt x="700" y="515"/>
                </a:cubicBezTo>
                <a:cubicBezTo>
                  <a:pt x="696" y="515"/>
                  <a:pt x="693" y="513"/>
                  <a:pt x="690" y="512"/>
                </a:cubicBezTo>
                <a:cubicBezTo>
                  <a:pt x="684" y="510"/>
                  <a:pt x="679" y="508"/>
                  <a:pt x="675" y="505"/>
                </a:cubicBezTo>
                <a:cubicBezTo>
                  <a:pt x="669" y="503"/>
                  <a:pt x="665" y="500"/>
                  <a:pt x="661" y="499"/>
                </a:cubicBezTo>
                <a:cubicBezTo>
                  <a:pt x="658" y="498"/>
                  <a:pt x="654" y="497"/>
                  <a:pt x="650" y="496"/>
                </a:cubicBezTo>
                <a:lnTo>
                  <a:pt x="647" y="496"/>
                </a:lnTo>
                <a:lnTo>
                  <a:pt x="644" y="495"/>
                </a:lnTo>
                <a:cubicBezTo>
                  <a:pt x="644" y="495"/>
                  <a:pt x="642" y="496"/>
                  <a:pt x="641" y="496"/>
                </a:cubicBezTo>
                <a:lnTo>
                  <a:pt x="637" y="496"/>
                </a:lnTo>
                <a:cubicBezTo>
                  <a:pt x="637" y="496"/>
                  <a:pt x="634" y="496"/>
                  <a:pt x="634" y="496"/>
                </a:cubicBezTo>
                <a:cubicBezTo>
                  <a:pt x="633" y="496"/>
                  <a:pt x="632" y="497"/>
                  <a:pt x="631" y="497"/>
                </a:cubicBezTo>
                <a:lnTo>
                  <a:pt x="629" y="498"/>
                </a:lnTo>
                <a:lnTo>
                  <a:pt x="628" y="498"/>
                </a:lnTo>
                <a:cubicBezTo>
                  <a:pt x="626" y="498"/>
                  <a:pt x="625" y="497"/>
                  <a:pt x="624" y="496"/>
                </a:cubicBezTo>
                <a:cubicBezTo>
                  <a:pt x="624" y="494"/>
                  <a:pt x="624" y="492"/>
                  <a:pt x="626" y="491"/>
                </a:cubicBezTo>
                <a:lnTo>
                  <a:pt x="628" y="490"/>
                </a:lnTo>
                <a:cubicBezTo>
                  <a:pt x="629" y="489"/>
                  <a:pt x="630" y="489"/>
                  <a:pt x="632" y="488"/>
                </a:cubicBezTo>
                <a:cubicBezTo>
                  <a:pt x="638" y="486"/>
                  <a:pt x="644" y="484"/>
                  <a:pt x="651" y="484"/>
                </a:cubicBezTo>
                <a:lnTo>
                  <a:pt x="651" y="484"/>
                </a:lnTo>
                <a:cubicBezTo>
                  <a:pt x="661" y="484"/>
                  <a:pt x="671" y="487"/>
                  <a:pt x="680" y="490"/>
                </a:cubicBezTo>
                <a:lnTo>
                  <a:pt x="684" y="492"/>
                </a:lnTo>
                <a:cubicBezTo>
                  <a:pt x="688" y="493"/>
                  <a:pt x="692" y="494"/>
                  <a:pt x="696" y="495"/>
                </a:cubicBezTo>
                <a:cubicBezTo>
                  <a:pt x="700" y="496"/>
                  <a:pt x="703" y="497"/>
                  <a:pt x="706" y="497"/>
                </a:cubicBezTo>
                <a:cubicBezTo>
                  <a:pt x="707" y="497"/>
                  <a:pt x="709" y="497"/>
                  <a:pt x="710" y="497"/>
                </a:cubicBezTo>
                <a:cubicBezTo>
                  <a:pt x="710" y="496"/>
                  <a:pt x="713" y="496"/>
                  <a:pt x="713" y="496"/>
                </a:cubicBezTo>
                <a:lnTo>
                  <a:pt x="717" y="494"/>
                </a:lnTo>
                <a:cubicBezTo>
                  <a:pt x="720" y="493"/>
                  <a:pt x="723" y="491"/>
                  <a:pt x="726" y="490"/>
                </a:cubicBezTo>
                <a:lnTo>
                  <a:pt x="745" y="480"/>
                </a:lnTo>
                <a:cubicBezTo>
                  <a:pt x="759" y="473"/>
                  <a:pt x="774" y="466"/>
                  <a:pt x="792" y="463"/>
                </a:cubicBezTo>
                <a:cubicBezTo>
                  <a:pt x="792" y="463"/>
                  <a:pt x="798" y="462"/>
                  <a:pt x="799" y="462"/>
                </a:cubicBezTo>
                <a:cubicBezTo>
                  <a:pt x="799" y="462"/>
                  <a:pt x="807" y="461"/>
                  <a:pt x="807" y="461"/>
                </a:cubicBezTo>
                <a:cubicBezTo>
                  <a:pt x="807" y="461"/>
                  <a:pt x="810" y="461"/>
                  <a:pt x="810" y="461"/>
                </a:cubicBezTo>
                <a:cubicBezTo>
                  <a:pt x="812" y="461"/>
                  <a:pt x="813" y="461"/>
                  <a:pt x="814" y="462"/>
                </a:cubicBezTo>
                <a:lnTo>
                  <a:pt x="815" y="462"/>
                </a:lnTo>
                <a:cubicBezTo>
                  <a:pt x="818" y="462"/>
                  <a:pt x="820" y="463"/>
                  <a:pt x="823" y="463"/>
                </a:cubicBezTo>
                <a:cubicBezTo>
                  <a:pt x="823" y="464"/>
                  <a:pt x="824" y="464"/>
                  <a:pt x="824" y="464"/>
                </a:cubicBezTo>
                <a:cubicBezTo>
                  <a:pt x="826" y="431"/>
                  <a:pt x="827" y="401"/>
                  <a:pt x="829" y="376"/>
                </a:cubicBezTo>
                <a:lnTo>
                  <a:pt x="826" y="373"/>
                </a:lnTo>
                <a:cubicBezTo>
                  <a:pt x="824" y="372"/>
                  <a:pt x="823" y="370"/>
                  <a:pt x="821" y="369"/>
                </a:cubicBezTo>
                <a:lnTo>
                  <a:pt x="820" y="368"/>
                </a:lnTo>
                <a:lnTo>
                  <a:pt x="817" y="366"/>
                </a:lnTo>
                <a:lnTo>
                  <a:pt x="817" y="362"/>
                </a:lnTo>
                <a:lnTo>
                  <a:pt x="816" y="365"/>
                </a:lnTo>
                <a:lnTo>
                  <a:pt x="810" y="363"/>
                </a:lnTo>
                <a:cubicBezTo>
                  <a:pt x="809" y="363"/>
                  <a:pt x="809" y="362"/>
                  <a:pt x="808" y="362"/>
                </a:cubicBezTo>
                <a:lnTo>
                  <a:pt x="804" y="361"/>
                </a:lnTo>
                <a:cubicBezTo>
                  <a:pt x="804" y="361"/>
                  <a:pt x="803" y="361"/>
                  <a:pt x="802" y="361"/>
                </a:cubicBezTo>
                <a:lnTo>
                  <a:pt x="795" y="360"/>
                </a:lnTo>
                <a:cubicBezTo>
                  <a:pt x="795" y="360"/>
                  <a:pt x="794" y="360"/>
                  <a:pt x="794" y="359"/>
                </a:cubicBezTo>
                <a:cubicBezTo>
                  <a:pt x="794" y="359"/>
                  <a:pt x="790" y="359"/>
                  <a:pt x="789" y="359"/>
                </a:cubicBezTo>
                <a:lnTo>
                  <a:pt x="785" y="359"/>
                </a:lnTo>
                <a:lnTo>
                  <a:pt x="781" y="360"/>
                </a:lnTo>
                <a:cubicBezTo>
                  <a:pt x="779" y="360"/>
                  <a:pt x="777" y="361"/>
                  <a:pt x="775" y="362"/>
                </a:cubicBezTo>
                <a:cubicBezTo>
                  <a:pt x="774" y="362"/>
                  <a:pt x="773" y="362"/>
                  <a:pt x="772" y="363"/>
                </a:cubicBezTo>
                <a:cubicBezTo>
                  <a:pt x="771" y="364"/>
                  <a:pt x="770" y="364"/>
                  <a:pt x="770" y="364"/>
                </a:cubicBezTo>
                <a:lnTo>
                  <a:pt x="768" y="365"/>
                </a:lnTo>
                <a:cubicBezTo>
                  <a:pt x="768" y="366"/>
                  <a:pt x="767" y="366"/>
                  <a:pt x="766" y="367"/>
                </a:cubicBezTo>
                <a:lnTo>
                  <a:pt x="763" y="370"/>
                </a:lnTo>
                <a:cubicBezTo>
                  <a:pt x="763" y="371"/>
                  <a:pt x="762" y="371"/>
                  <a:pt x="761" y="371"/>
                </a:cubicBezTo>
                <a:cubicBezTo>
                  <a:pt x="760" y="371"/>
                  <a:pt x="759" y="371"/>
                  <a:pt x="758" y="370"/>
                </a:cubicBezTo>
                <a:cubicBezTo>
                  <a:pt x="757" y="369"/>
                  <a:pt x="757" y="367"/>
                  <a:pt x="758" y="366"/>
                </a:cubicBezTo>
                <a:lnTo>
                  <a:pt x="760" y="362"/>
                </a:lnTo>
                <a:cubicBezTo>
                  <a:pt x="760" y="361"/>
                  <a:pt x="761" y="360"/>
                  <a:pt x="762" y="358"/>
                </a:cubicBezTo>
                <a:lnTo>
                  <a:pt x="763" y="357"/>
                </a:lnTo>
                <a:cubicBezTo>
                  <a:pt x="764" y="356"/>
                  <a:pt x="765" y="356"/>
                  <a:pt x="766" y="355"/>
                </a:cubicBezTo>
                <a:cubicBezTo>
                  <a:pt x="767" y="353"/>
                  <a:pt x="769" y="352"/>
                  <a:pt x="770" y="352"/>
                </a:cubicBezTo>
                <a:cubicBezTo>
                  <a:pt x="772" y="350"/>
                  <a:pt x="775" y="349"/>
                  <a:pt x="778" y="348"/>
                </a:cubicBezTo>
                <a:lnTo>
                  <a:pt x="782" y="346"/>
                </a:lnTo>
                <a:lnTo>
                  <a:pt x="788" y="345"/>
                </a:lnTo>
                <a:cubicBezTo>
                  <a:pt x="789" y="345"/>
                  <a:pt x="793" y="344"/>
                  <a:pt x="793" y="344"/>
                </a:cubicBezTo>
                <a:cubicBezTo>
                  <a:pt x="793" y="344"/>
                  <a:pt x="794" y="344"/>
                  <a:pt x="794" y="344"/>
                </a:cubicBezTo>
                <a:lnTo>
                  <a:pt x="795" y="348"/>
                </a:lnTo>
                <a:lnTo>
                  <a:pt x="796" y="344"/>
                </a:lnTo>
                <a:lnTo>
                  <a:pt x="803" y="344"/>
                </a:lnTo>
                <a:cubicBezTo>
                  <a:pt x="805" y="344"/>
                  <a:pt x="806" y="344"/>
                  <a:pt x="807" y="344"/>
                </a:cubicBezTo>
                <a:cubicBezTo>
                  <a:pt x="807" y="344"/>
                  <a:pt x="810" y="344"/>
                  <a:pt x="810" y="344"/>
                </a:cubicBezTo>
                <a:cubicBezTo>
                  <a:pt x="812" y="345"/>
                  <a:pt x="813" y="345"/>
                  <a:pt x="815" y="345"/>
                </a:cubicBezTo>
                <a:lnTo>
                  <a:pt x="823" y="347"/>
                </a:lnTo>
                <a:cubicBezTo>
                  <a:pt x="824" y="348"/>
                  <a:pt x="825" y="348"/>
                  <a:pt x="825" y="348"/>
                </a:cubicBezTo>
                <a:lnTo>
                  <a:pt x="830" y="351"/>
                </a:lnTo>
                <a:cubicBezTo>
                  <a:pt x="831" y="331"/>
                  <a:pt x="832" y="311"/>
                  <a:pt x="832" y="294"/>
                </a:cubicBezTo>
                <a:cubicBezTo>
                  <a:pt x="832" y="277"/>
                  <a:pt x="832" y="260"/>
                  <a:pt x="831" y="243"/>
                </a:cubicBezTo>
                <a:cubicBezTo>
                  <a:pt x="831" y="226"/>
                  <a:pt x="830" y="208"/>
                  <a:pt x="830" y="191"/>
                </a:cubicBezTo>
                <a:cubicBezTo>
                  <a:pt x="830" y="150"/>
                  <a:pt x="834" y="134"/>
                  <a:pt x="838" y="122"/>
                </a:cubicBezTo>
                <a:cubicBezTo>
                  <a:pt x="838" y="119"/>
                  <a:pt x="839" y="117"/>
                  <a:pt x="839" y="114"/>
                </a:cubicBezTo>
                <a:lnTo>
                  <a:pt x="837" y="111"/>
                </a:lnTo>
                <a:cubicBezTo>
                  <a:pt x="835" y="109"/>
                  <a:pt x="834" y="108"/>
                  <a:pt x="832" y="107"/>
                </a:cubicBezTo>
                <a:cubicBezTo>
                  <a:pt x="832" y="106"/>
                  <a:pt x="831" y="106"/>
                  <a:pt x="830" y="105"/>
                </a:cubicBezTo>
                <a:cubicBezTo>
                  <a:pt x="828" y="103"/>
                  <a:pt x="825" y="101"/>
                  <a:pt x="823" y="100"/>
                </a:cubicBezTo>
                <a:lnTo>
                  <a:pt x="822" y="99"/>
                </a:lnTo>
                <a:cubicBezTo>
                  <a:pt x="819" y="97"/>
                  <a:pt x="816" y="96"/>
                  <a:pt x="814" y="94"/>
                </a:cubicBezTo>
                <a:lnTo>
                  <a:pt x="812" y="93"/>
                </a:lnTo>
                <a:cubicBezTo>
                  <a:pt x="810" y="92"/>
                  <a:pt x="807" y="91"/>
                  <a:pt x="805" y="90"/>
                </a:cubicBezTo>
                <a:lnTo>
                  <a:pt x="801" y="89"/>
                </a:lnTo>
                <a:cubicBezTo>
                  <a:pt x="800" y="88"/>
                  <a:pt x="799" y="88"/>
                  <a:pt x="799" y="88"/>
                </a:cubicBezTo>
                <a:lnTo>
                  <a:pt x="790" y="86"/>
                </a:lnTo>
                <a:cubicBezTo>
                  <a:pt x="788" y="86"/>
                  <a:pt x="786" y="86"/>
                  <a:pt x="783" y="85"/>
                </a:cubicBezTo>
                <a:cubicBezTo>
                  <a:pt x="782" y="85"/>
                  <a:pt x="780" y="85"/>
                  <a:pt x="779" y="85"/>
                </a:cubicBezTo>
                <a:cubicBezTo>
                  <a:pt x="778" y="85"/>
                  <a:pt x="777" y="85"/>
                  <a:pt x="776" y="85"/>
                </a:cubicBezTo>
                <a:cubicBezTo>
                  <a:pt x="775" y="85"/>
                  <a:pt x="769" y="85"/>
                  <a:pt x="769" y="85"/>
                </a:cubicBezTo>
                <a:lnTo>
                  <a:pt x="759" y="86"/>
                </a:lnTo>
                <a:lnTo>
                  <a:pt x="752" y="88"/>
                </a:lnTo>
                <a:cubicBezTo>
                  <a:pt x="750" y="89"/>
                  <a:pt x="749" y="89"/>
                  <a:pt x="748" y="90"/>
                </a:cubicBezTo>
                <a:cubicBezTo>
                  <a:pt x="747" y="90"/>
                  <a:pt x="741" y="92"/>
                  <a:pt x="741" y="92"/>
                </a:cubicBezTo>
                <a:cubicBezTo>
                  <a:pt x="740" y="93"/>
                  <a:pt x="740" y="93"/>
                  <a:pt x="739" y="93"/>
                </a:cubicBezTo>
                <a:cubicBezTo>
                  <a:pt x="738" y="93"/>
                  <a:pt x="737" y="92"/>
                  <a:pt x="736" y="90"/>
                </a:cubicBezTo>
                <a:cubicBezTo>
                  <a:pt x="735" y="89"/>
                  <a:pt x="736" y="86"/>
                  <a:pt x="738" y="86"/>
                </a:cubicBezTo>
                <a:cubicBezTo>
                  <a:pt x="738" y="86"/>
                  <a:pt x="744" y="83"/>
                  <a:pt x="745" y="82"/>
                </a:cubicBezTo>
                <a:cubicBezTo>
                  <a:pt x="746" y="82"/>
                  <a:pt x="748" y="81"/>
                  <a:pt x="749" y="80"/>
                </a:cubicBezTo>
                <a:lnTo>
                  <a:pt x="757" y="78"/>
                </a:lnTo>
                <a:lnTo>
                  <a:pt x="768" y="75"/>
                </a:lnTo>
                <a:lnTo>
                  <a:pt x="771" y="75"/>
                </a:lnTo>
                <a:cubicBezTo>
                  <a:pt x="774" y="74"/>
                  <a:pt x="777" y="74"/>
                  <a:pt x="780" y="74"/>
                </a:cubicBezTo>
                <a:lnTo>
                  <a:pt x="784" y="74"/>
                </a:lnTo>
                <a:cubicBezTo>
                  <a:pt x="786" y="74"/>
                  <a:pt x="789" y="74"/>
                  <a:pt x="792" y="75"/>
                </a:cubicBezTo>
                <a:lnTo>
                  <a:pt x="802" y="76"/>
                </a:lnTo>
                <a:cubicBezTo>
                  <a:pt x="802" y="76"/>
                  <a:pt x="803" y="76"/>
                  <a:pt x="804" y="77"/>
                </a:cubicBezTo>
                <a:lnTo>
                  <a:pt x="808" y="78"/>
                </a:lnTo>
                <a:cubicBezTo>
                  <a:pt x="812" y="79"/>
                  <a:pt x="815" y="80"/>
                  <a:pt x="818" y="81"/>
                </a:cubicBezTo>
                <a:lnTo>
                  <a:pt x="819" y="82"/>
                </a:lnTo>
                <a:cubicBezTo>
                  <a:pt x="822" y="83"/>
                  <a:pt x="826" y="84"/>
                  <a:pt x="829" y="86"/>
                </a:cubicBezTo>
                <a:lnTo>
                  <a:pt x="830" y="87"/>
                </a:lnTo>
                <a:cubicBezTo>
                  <a:pt x="834" y="89"/>
                  <a:pt x="837" y="90"/>
                  <a:pt x="839" y="93"/>
                </a:cubicBezTo>
                <a:lnTo>
                  <a:pt x="840" y="93"/>
                </a:lnTo>
                <a:cubicBezTo>
                  <a:pt x="838" y="46"/>
                  <a:pt x="812" y="0"/>
                  <a:pt x="760" y="0"/>
                </a:cubicBezTo>
                <a:cubicBezTo>
                  <a:pt x="547" y="0"/>
                  <a:pt x="350" y="77"/>
                  <a:pt x="206" y="217"/>
                </a:cubicBezTo>
                <a:cubicBezTo>
                  <a:pt x="79" y="340"/>
                  <a:pt x="3" y="502"/>
                  <a:pt x="3" y="651"/>
                </a:cubicBezTo>
                <a:cubicBezTo>
                  <a:pt x="3" y="659"/>
                  <a:pt x="3" y="664"/>
                  <a:pt x="3" y="669"/>
                </a:cubicBezTo>
                <a:cubicBezTo>
                  <a:pt x="4" y="675"/>
                  <a:pt x="4" y="680"/>
                  <a:pt x="4" y="688"/>
                </a:cubicBezTo>
                <a:cubicBezTo>
                  <a:pt x="4" y="706"/>
                  <a:pt x="3" y="724"/>
                  <a:pt x="2" y="742"/>
                </a:cubicBezTo>
                <a:lnTo>
                  <a:pt x="2" y="743"/>
                </a:lnTo>
                <a:cubicBezTo>
                  <a:pt x="1" y="762"/>
                  <a:pt x="0" y="780"/>
                  <a:pt x="0" y="798"/>
                </a:cubicBezTo>
                <a:cubicBezTo>
                  <a:pt x="0" y="883"/>
                  <a:pt x="44" y="950"/>
                  <a:pt x="129" y="997"/>
                </a:cubicBezTo>
                <a:cubicBezTo>
                  <a:pt x="201" y="1036"/>
                  <a:pt x="298" y="1058"/>
                  <a:pt x="403" y="1058"/>
                </a:cubicBezTo>
                <a:cubicBezTo>
                  <a:pt x="434" y="1058"/>
                  <a:pt x="464" y="1056"/>
                  <a:pt x="473" y="1055"/>
                </a:cubicBezTo>
                <a:lnTo>
                  <a:pt x="474" y="1055"/>
                </a:lnTo>
                <a:cubicBezTo>
                  <a:pt x="486" y="1055"/>
                  <a:pt x="690" y="1041"/>
                  <a:pt x="810" y="1005"/>
                </a:cubicBezTo>
                <a:cubicBezTo>
                  <a:pt x="827" y="997"/>
                  <a:pt x="841" y="972"/>
                  <a:pt x="849" y="930"/>
                </a:cubicBezTo>
                <a:cubicBezTo>
                  <a:pt x="849" y="916"/>
                  <a:pt x="851" y="902"/>
                  <a:pt x="853" y="888"/>
                </a:cubicBezTo>
                <a:cubicBezTo>
                  <a:pt x="854" y="878"/>
                  <a:pt x="855" y="870"/>
                  <a:pt x="856" y="861"/>
                </a:cubicBezTo>
                <a:cubicBezTo>
                  <a:pt x="857" y="851"/>
                  <a:pt x="857" y="841"/>
                  <a:pt x="857" y="830"/>
                </a:cubicBezTo>
                <a:cubicBezTo>
                  <a:pt x="856" y="811"/>
                  <a:pt x="853" y="790"/>
                  <a:pt x="850" y="766"/>
                </a:cubicBez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en-US" sz="1500">
              <a:solidFill>
                <a:srgbClr val="3F3F3F"/>
              </a:solidFill>
              <a:latin typeface="CVS Health Sans"/>
            </a:endParaRPr>
          </a:p>
        </p:txBody>
      </p:sp>
      <p:sp>
        <p:nvSpPr>
          <p:cNvPr id="36" name="AutoShape 19">
            <a:extLst>
              <a:ext uri="{FF2B5EF4-FFF2-40B4-BE49-F238E27FC236}">
                <a16:creationId xmlns:a16="http://schemas.microsoft.com/office/drawing/2014/main" id="{AFECCF7C-9BA5-85C7-3568-295B7BECC8B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9518233" y="3036932"/>
            <a:ext cx="1096962" cy="1096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en-US" sz="1500">
              <a:solidFill>
                <a:srgbClr val="3F3F3F"/>
              </a:solidFill>
              <a:latin typeface="CVS Health Sans"/>
            </a:endParaRPr>
          </a:p>
        </p:txBody>
      </p:sp>
      <p:sp>
        <p:nvSpPr>
          <p:cNvPr id="37" name="Freeform 21">
            <a:extLst>
              <a:ext uri="{FF2B5EF4-FFF2-40B4-BE49-F238E27FC236}">
                <a16:creationId xmlns:a16="http://schemas.microsoft.com/office/drawing/2014/main" id="{F2E68356-9FB1-B1E1-E329-D61DF55758BE}"/>
              </a:ext>
            </a:extLst>
          </p:cNvPr>
          <p:cNvSpPr>
            <a:spLocks/>
          </p:cNvSpPr>
          <p:nvPr/>
        </p:nvSpPr>
        <p:spPr bwMode="auto">
          <a:xfrm>
            <a:off x="9518233" y="3028994"/>
            <a:ext cx="1103312" cy="1103313"/>
          </a:xfrm>
          <a:custGeom>
            <a:avLst/>
            <a:gdLst>
              <a:gd name="T0" fmla="*/ 2239 w 2239"/>
              <a:gd name="T1" fmla="*/ 1119 h 2238"/>
              <a:gd name="T2" fmla="*/ 2239 w 2239"/>
              <a:gd name="T3" fmla="*/ 1119 h 2238"/>
              <a:gd name="T4" fmla="*/ 1119 w 2239"/>
              <a:gd name="T5" fmla="*/ 2238 h 2238"/>
              <a:gd name="T6" fmla="*/ 0 w 2239"/>
              <a:gd name="T7" fmla="*/ 1119 h 2238"/>
              <a:gd name="T8" fmla="*/ 1119 w 2239"/>
              <a:gd name="T9" fmla="*/ 0 h 2238"/>
              <a:gd name="T10" fmla="*/ 2239 w 2239"/>
              <a:gd name="T11" fmla="*/ 1119 h 2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239" h="2238">
                <a:moveTo>
                  <a:pt x="2239" y="1119"/>
                </a:moveTo>
                <a:lnTo>
                  <a:pt x="2239" y="1119"/>
                </a:lnTo>
                <a:cubicBezTo>
                  <a:pt x="2239" y="1737"/>
                  <a:pt x="1738" y="2238"/>
                  <a:pt x="1119" y="2238"/>
                </a:cubicBezTo>
                <a:cubicBezTo>
                  <a:pt x="501" y="2238"/>
                  <a:pt x="0" y="1737"/>
                  <a:pt x="0" y="1119"/>
                </a:cubicBezTo>
                <a:cubicBezTo>
                  <a:pt x="0" y="500"/>
                  <a:pt x="501" y="0"/>
                  <a:pt x="1119" y="0"/>
                </a:cubicBezTo>
                <a:cubicBezTo>
                  <a:pt x="1738" y="0"/>
                  <a:pt x="2239" y="500"/>
                  <a:pt x="2239" y="1119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en-US" sz="1500">
              <a:solidFill>
                <a:srgbClr val="3F3F3F"/>
              </a:solidFill>
              <a:latin typeface="CVS Health Sans"/>
            </a:endParaRPr>
          </a:p>
        </p:txBody>
      </p:sp>
      <p:sp>
        <p:nvSpPr>
          <p:cNvPr id="38" name="Freeform 22">
            <a:extLst>
              <a:ext uri="{FF2B5EF4-FFF2-40B4-BE49-F238E27FC236}">
                <a16:creationId xmlns:a16="http://schemas.microsoft.com/office/drawing/2014/main" id="{D09552E7-84EC-5639-CA17-B7A15A4E09A5}"/>
              </a:ext>
            </a:extLst>
          </p:cNvPr>
          <p:cNvSpPr>
            <a:spLocks/>
          </p:cNvSpPr>
          <p:nvPr/>
        </p:nvSpPr>
        <p:spPr bwMode="auto">
          <a:xfrm>
            <a:off x="9703971" y="3217907"/>
            <a:ext cx="733425" cy="701675"/>
          </a:xfrm>
          <a:custGeom>
            <a:avLst/>
            <a:gdLst>
              <a:gd name="T0" fmla="*/ 117 w 1489"/>
              <a:gd name="T1" fmla="*/ 1414 h 1425"/>
              <a:gd name="T2" fmla="*/ 10 w 1489"/>
              <a:gd name="T3" fmla="*/ 1182 h 1425"/>
              <a:gd name="T4" fmla="*/ 378 w 1489"/>
              <a:gd name="T5" fmla="*/ 758 h 1425"/>
              <a:gd name="T6" fmla="*/ 499 w 1489"/>
              <a:gd name="T7" fmla="*/ 778 h 1425"/>
              <a:gd name="T8" fmla="*/ 546 w 1489"/>
              <a:gd name="T9" fmla="*/ 785 h 1425"/>
              <a:gd name="T10" fmla="*/ 567 w 1489"/>
              <a:gd name="T11" fmla="*/ 788 h 1425"/>
              <a:gd name="T12" fmla="*/ 590 w 1489"/>
              <a:gd name="T13" fmla="*/ 794 h 1425"/>
              <a:gd name="T14" fmla="*/ 659 w 1489"/>
              <a:gd name="T15" fmla="*/ 832 h 1425"/>
              <a:gd name="T16" fmla="*/ 721 w 1489"/>
              <a:gd name="T17" fmla="*/ 898 h 1425"/>
              <a:gd name="T18" fmla="*/ 763 w 1489"/>
              <a:gd name="T19" fmla="*/ 973 h 1425"/>
              <a:gd name="T20" fmla="*/ 781 w 1489"/>
              <a:gd name="T21" fmla="*/ 1021 h 1425"/>
              <a:gd name="T22" fmla="*/ 787 w 1489"/>
              <a:gd name="T23" fmla="*/ 1047 h 1425"/>
              <a:gd name="T24" fmla="*/ 797 w 1489"/>
              <a:gd name="T25" fmla="*/ 1045 h 1425"/>
              <a:gd name="T26" fmla="*/ 792 w 1489"/>
              <a:gd name="T27" fmla="*/ 1018 h 1425"/>
              <a:gd name="T28" fmla="*/ 778 w 1489"/>
              <a:gd name="T29" fmla="*/ 967 h 1425"/>
              <a:gd name="T30" fmla="*/ 740 w 1489"/>
              <a:gd name="T31" fmla="*/ 886 h 1425"/>
              <a:gd name="T32" fmla="*/ 678 w 1489"/>
              <a:gd name="T33" fmla="*/ 809 h 1425"/>
              <a:gd name="T34" fmla="*/ 603 w 1489"/>
              <a:gd name="T35" fmla="*/ 761 h 1425"/>
              <a:gd name="T36" fmla="*/ 664 w 1489"/>
              <a:gd name="T37" fmla="*/ 618 h 1425"/>
              <a:gd name="T38" fmla="*/ 730 w 1489"/>
              <a:gd name="T39" fmla="*/ 426 h 1425"/>
              <a:gd name="T40" fmla="*/ 743 w 1489"/>
              <a:gd name="T41" fmla="*/ 398 h 1425"/>
              <a:gd name="T42" fmla="*/ 756 w 1489"/>
              <a:gd name="T43" fmla="*/ 378 h 1425"/>
              <a:gd name="T44" fmla="*/ 774 w 1489"/>
              <a:gd name="T45" fmla="*/ 355 h 1425"/>
              <a:gd name="T46" fmla="*/ 784 w 1489"/>
              <a:gd name="T47" fmla="*/ 344 h 1425"/>
              <a:gd name="T48" fmla="*/ 808 w 1489"/>
              <a:gd name="T49" fmla="*/ 325 h 1425"/>
              <a:gd name="T50" fmla="*/ 826 w 1489"/>
              <a:gd name="T51" fmla="*/ 313 h 1425"/>
              <a:gd name="T52" fmla="*/ 849 w 1489"/>
              <a:gd name="T53" fmla="*/ 302 h 1425"/>
              <a:gd name="T54" fmla="*/ 878 w 1489"/>
              <a:gd name="T55" fmla="*/ 292 h 1425"/>
              <a:gd name="T56" fmla="*/ 905 w 1489"/>
              <a:gd name="T57" fmla="*/ 282 h 1425"/>
              <a:gd name="T58" fmla="*/ 878 w 1489"/>
              <a:gd name="T59" fmla="*/ 280 h 1425"/>
              <a:gd name="T60" fmla="*/ 850 w 1489"/>
              <a:gd name="T61" fmla="*/ 287 h 1425"/>
              <a:gd name="T62" fmla="*/ 830 w 1489"/>
              <a:gd name="T63" fmla="*/ 294 h 1425"/>
              <a:gd name="T64" fmla="*/ 808 w 1489"/>
              <a:gd name="T65" fmla="*/ 304 h 1425"/>
              <a:gd name="T66" fmla="*/ 777 w 1489"/>
              <a:gd name="T67" fmla="*/ 324 h 1425"/>
              <a:gd name="T68" fmla="*/ 759 w 1489"/>
              <a:gd name="T69" fmla="*/ 339 h 1425"/>
              <a:gd name="T70" fmla="*/ 741 w 1489"/>
              <a:gd name="T71" fmla="*/ 358 h 1425"/>
              <a:gd name="T72" fmla="*/ 727 w 1489"/>
              <a:gd name="T73" fmla="*/ 376 h 1425"/>
              <a:gd name="T74" fmla="*/ 714 w 1489"/>
              <a:gd name="T75" fmla="*/ 395 h 1425"/>
              <a:gd name="T76" fmla="*/ 551 w 1489"/>
              <a:gd name="T77" fmla="*/ 34 h 1425"/>
              <a:gd name="T78" fmla="*/ 723 w 1489"/>
              <a:gd name="T79" fmla="*/ 126 h 1425"/>
              <a:gd name="T80" fmla="*/ 825 w 1489"/>
              <a:gd name="T81" fmla="*/ 178 h 1425"/>
              <a:gd name="T82" fmla="*/ 1112 w 1489"/>
              <a:gd name="T83" fmla="*/ 98 h 1425"/>
              <a:gd name="T84" fmla="*/ 1181 w 1489"/>
              <a:gd name="T85" fmla="*/ 110 h 1425"/>
              <a:gd name="T86" fmla="*/ 1464 w 1489"/>
              <a:gd name="T87" fmla="*/ 342 h 1425"/>
              <a:gd name="T88" fmla="*/ 1333 w 1489"/>
              <a:gd name="T89" fmla="*/ 954 h 1425"/>
              <a:gd name="T90" fmla="*/ 726 w 1489"/>
              <a:gd name="T91" fmla="*/ 1335 h 1425"/>
              <a:gd name="T92" fmla="*/ 282 w 1489"/>
              <a:gd name="T93" fmla="*/ 1026 h 1425"/>
              <a:gd name="T94" fmla="*/ 181 w 1489"/>
              <a:gd name="T95" fmla="*/ 1075 h 1425"/>
              <a:gd name="T96" fmla="*/ 216 w 1489"/>
              <a:gd name="T97" fmla="*/ 1328 h 1425"/>
              <a:gd name="T98" fmla="*/ 142 w 1489"/>
              <a:gd name="T99" fmla="*/ 1419 h 14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489" h="1425">
                <a:moveTo>
                  <a:pt x="133" y="1425"/>
                </a:moveTo>
                <a:lnTo>
                  <a:pt x="133" y="1425"/>
                </a:lnTo>
                <a:cubicBezTo>
                  <a:pt x="131" y="1425"/>
                  <a:pt x="128" y="1423"/>
                  <a:pt x="125" y="1420"/>
                </a:cubicBezTo>
                <a:cubicBezTo>
                  <a:pt x="123" y="1418"/>
                  <a:pt x="120" y="1416"/>
                  <a:pt x="117" y="1414"/>
                </a:cubicBezTo>
                <a:cubicBezTo>
                  <a:pt x="114" y="1412"/>
                  <a:pt x="111" y="1410"/>
                  <a:pt x="109" y="1407"/>
                </a:cubicBezTo>
                <a:cubicBezTo>
                  <a:pt x="104" y="1400"/>
                  <a:pt x="100" y="1393"/>
                  <a:pt x="96" y="1386"/>
                </a:cubicBezTo>
                <a:cubicBezTo>
                  <a:pt x="62" y="1332"/>
                  <a:pt x="27" y="1277"/>
                  <a:pt x="16" y="1212"/>
                </a:cubicBezTo>
                <a:cubicBezTo>
                  <a:pt x="15" y="1202"/>
                  <a:pt x="12" y="1192"/>
                  <a:pt x="10" y="1182"/>
                </a:cubicBezTo>
                <a:cubicBezTo>
                  <a:pt x="6" y="1163"/>
                  <a:pt x="2" y="1144"/>
                  <a:pt x="2" y="1125"/>
                </a:cubicBezTo>
                <a:cubicBezTo>
                  <a:pt x="0" y="1015"/>
                  <a:pt x="48" y="922"/>
                  <a:pt x="144" y="849"/>
                </a:cubicBezTo>
                <a:cubicBezTo>
                  <a:pt x="170" y="828"/>
                  <a:pt x="206" y="803"/>
                  <a:pt x="244" y="787"/>
                </a:cubicBezTo>
                <a:cubicBezTo>
                  <a:pt x="292" y="767"/>
                  <a:pt x="336" y="758"/>
                  <a:pt x="378" y="758"/>
                </a:cubicBezTo>
                <a:cubicBezTo>
                  <a:pt x="391" y="758"/>
                  <a:pt x="405" y="759"/>
                  <a:pt x="417" y="761"/>
                </a:cubicBezTo>
                <a:cubicBezTo>
                  <a:pt x="434" y="763"/>
                  <a:pt x="451" y="767"/>
                  <a:pt x="467" y="771"/>
                </a:cubicBezTo>
                <a:cubicBezTo>
                  <a:pt x="475" y="773"/>
                  <a:pt x="483" y="775"/>
                  <a:pt x="491" y="777"/>
                </a:cubicBezTo>
                <a:cubicBezTo>
                  <a:pt x="494" y="777"/>
                  <a:pt x="497" y="778"/>
                  <a:pt x="499" y="778"/>
                </a:cubicBezTo>
                <a:cubicBezTo>
                  <a:pt x="507" y="780"/>
                  <a:pt x="516" y="782"/>
                  <a:pt x="524" y="783"/>
                </a:cubicBezTo>
                <a:cubicBezTo>
                  <a:pt x="526" y="783"/>
                  <a:pt x="527" y="783"/>
                  <a:pt x="528" y="783"/>
                </a:cubicBezTo>
                <a:cubicBezTo>
                  <a:pt x="530" y="784"/>
                  <a:pt x="531" y="784"/>
                  <a:pt x="533" y="784"/>
                </a:cubicBezTo>
                <a:lnTo>
                  <a:pt x="546" y="785"/>
                </a:lnTo>
                <a:cubicBezTo>
                  <a:pt x="547" y="785"/>
                  <a:pt x="548" y="785"/>
                  <a:pt x="548" y="785"/>
                </a:cubicBezTo>
                <a:lnTo>
                  <a:pt x="558" y="786"/>
                </a:lnTo>
                <a:cubicBezTo>
                  <a:pt x="559" y="787"/>
                  <a:pt x="561" y="787"/>
                  <a:pt x="563" y="787"/>
                </a:cubicBezTo>
                <a:cubicBezTo>
                  <a:pt x="565" y="788"/>
                  <a:pt x="566" y="788"/>
                  <a:pt x="567" y="788"/>
                </a:cubicBezTo>
                <a:cubicBezTo>
                  <a:pt x="570" y="788"/>
                  <a:pt x="572" y="789"/>
                  <a:pt x="575" y="790"/>
                </a:cubicBezTo>
                <a:cubicBezTo>
                  <a:pt x="576" y="790"/>
                  <a:pt x="577" y="790"/>
                  <a:pt x="578" y="791"/>
                </a:cubicBezTo>
                <a:cubicBezTo>
                  <a:pt x="581" y="791"/>
                  <a:pt x="584" y="792"/>
                  <a:pt x="588" y="793"/>
                </a:cubicBezTo>
                <a:lnTo>
                  <a:pt x="590" y="794"/>
                </a:lnTo>
                <a:cubicBezTo>
                  <a:pt x="598" y="797"/>
                  <a:pt x="606" y="800"/>
                  <a:pt x="617" y="805"/>
                </a:cubicBezTo>
                <a:cubicBezTo>
                  <a:pt x="626" y="810"/>
                  <a:pt x="635" y="815"/>
                  <a:pt x="645" y="822"/>
                </a:cubicBezTo>
                <a:cubicBezTo>
                  <a:pt x="648" y="824"/>
                  <a:pt x="651" y="826"/>
                  <a:pt x="654" y="828"/>
                </a:cubicBezTo>
                <a:cubicBezTo>
                  <a:pt x="656" y="830"/>
                  <a:pt x="657" y="831"/>
                  <a:pt x="659" y="832"/>
                </a:cubicBezTo>
                <a:cubicBezTo>
                  <a:pt x="660" y="833"/>
                  <a:pt x="661" y="834"/>
                  <a:pt x="663" y="835"/>
                </a:cubicBezTo>
                <a:cubicBezTo>
                  <a:pt x="666" y="838"/>
                  <a:pt x="669" y="841"/>
                  <a:pt x="672" y="843"/>
                </a:cubicBezTo>
                <a:cubicBezTo>
                  <a:pt x="680" y="851"/>
                  <a:pt x="689" y="859"/>
                  <a:pt x="698" y="869"/>
                </a:cubicBezTo>
                <a:cubicBezTo>
                  <a:pt x="707" y="879"/>
                  <a:pt x="715" y="890"/>
                  <a:pt x="721" y="898"/>
                </a:cubicBezTo>
                <a:cubicBezTo>
                  <a:pt x="727" y="907"/>
                  <a:pt x="733" y="916"/>
                  <a:pt x="741" y="929"/>
                </a:cubicBezTo>
                <a:cubicBezTo>
                  <a:pt x="747" y="940"/>
                  <a:pt x="752" y="950"/>
                  <a:pt x="757" y="958"/>
                </a:cubicBezTo>
                <a:cubicBezTo>
                  <a:pt x="758" y="962"/>
                  <a:pt x="760" y="965"/>
                  <a:pt x="761" y="968"/>
                </a:cubicBezTo>
                <a:cubicBezTo>
                  <a:pt x="762" y="970"/>
                  <a:pt x="762" y="971"/>
                  <a:pt x="763" y="973"/>
                </a:cubicBezTo>
                <a:cubicBezTo>
                  <a:pt x="764" y="974"/>
                  <a:pt x="765" y="976"/>
                  <a:pt x="765" y="978"/>
                </a:cubicBezTo>
                <a:cubicBezTo>
                  <a:pt x="766" y="981"/>
                  <a:pt x="768" y="983"/>
                  <a:pt x="769" y="986"/>
                </a:cubicBezTo>
                <a:cubicBezTo>
                  <a:pt x="772" y="996"/>
                  <a:pt x="775" y="1004"/>
                  <a:pt x="777" y="1011"/>
                </a:cubicBezTo>
                <a:cubicBezTo>
                  <a:pt x="779" y="1014"/>
                  <a:pt x="780" y="1018"/>
                  <a:pt x="781" y="1021"/>
                </a:cubicBezTo>
                <a:lnTo>
                  <a:pt x="781" y="1022"/>
                </a:lnTo>
                <a:cubicBezTo>
                  <a:pt x="782" y="1025"/>
                  <a:pt x="782" y="1027"/>
                  <a:pt x="783" y="1030"/>
                </a:cubicBezTo>
                <a:cubicBezTo>
                  <a:pt x="784" y="1035"/>
                  <a:pt x="785" y="1040"/>
                  <a:pt x="786" y="1042"/>
                </a:cubicBezTo>
                <a:lnTo>
                  <a:pt x="787" y="1047"/>
                </a:lnTo>
                <a:cubicBezTo>
                  <a:pt x="787" y="1049"/>
                  <a:pt x="789" y="1051"/>
                  <a:pt x="792" y="1051"/>
                </a:cubicBezTo>
                <a:cubicBezTo>
                  <a:pt x="792" y="1051"/>
                  <a:pt x="792" y="1051"/>
                  <a:pt x="792" y="1051"/>
                </a:cubicBezTo>
                <a:cubicBezTo>
                  <a:pt x="794" y="1050"/>
                  <a:pt x="795" y="1050"/>
                  <a:pt x="796" y="1049"/>
                </a:cubicBezTo>
                <a:cubicBezTo>
                  <a:pt x="797" y="1048"/>
                  <a:pt x="797" y="1046"/>
                  <a:pt x="797" y="1045"/>
                </a:cubicBezTo>
                <a:lnTo>
                  <a:pt x="796" y="1040"/>
                </a:lnTo>
                <a:cubicBezTo>
                  <a:pt x="796" y="1038"/>
                  <a:pt x="795" y="1033"/>
                  <a:pt x="794" y="1027"/>
                </a:cubicBezTo>
                <a:cubicBezTo>
                  <a:pt x="794" y="1025"/>
                  <a:pt x="793" y="1022"/>
                  <a:pt x="792" y="1019"/>
                </a:cubicBezTo>
                <a:lnTo>
                  <a:pt x="792" y="1018"/>
                </a:lnTo>
                <a:cubicBezTo>
                  <a:pt x="792" y="1015"/>
                  <a:pt x="791" y="1011"/>
                  <a:pt x="790" y="1007"/>
                </a:cubicBezTo>
                <a:cubicBezTo>
                  <a:pt x="788" y="1000"/>
                  <a:pt x="786" y="991"/>
                  <a:pt x="783" y="981"/>
                </a:cubicBezTo>
                <a:cubicBezTo>
                  <a:pt x="782" y="978"/>
                  <a:pt x="781" y="975"/>
                  <a:pt x="780" y="972"/>
                </a:cubicBezTo>
                <a:cubicBezTo>
                  <a:pt x="779" y="970"/>
                  <a:pt x="779" y="969"/>
                  <a:pt x="778" y="967"/>
                </a:cubicBezTo>
                <a:cubicBezTo>
                  <a:pt x="777" y="965"/>
                  <a:pt x="777" y="964"/>
                  <a:pt x="776" y="962"/>
                </a:cubicBezTo>
                <a:cubicBezTo>
                  <a:pt x="775" y="958"/>
                  <a:pt x="774" y="955"/>
                  <a:pt x="772" y="952"/>
                </a:cubicBezTo>
                <a:cubicBezTo>
                  <a:pt x="769" y="942"/>
                  <a:pt x="764" y="932"/>
                  <a:pt x="758" y="919"/>
                </a:cubicBezTo>
                <a:cubicBezTo>
                  <a:pt x="751" y="906"/>
                  <a:pt x="746" y="896"/>
                  <a:pt x="740" y="886"/>
                </a:cubicBezTo>
                <a:cubicBezTo>
                  <a:pt x="734" y="877"/>
                  <a:pt x="726" y="865"/>
                  <a:pt x="718" y="853"/>
                </a:cubicBezTo>
                <a:cubicBezTo>
                  <a:pt x="709" y="842"/>
                  <a:pt x="700" y="832"/>
                  <a:pt x="692" y="823"/>
                </a:cubicBezTo>
                <a:cubicBezTo>
                  <a:pt x="689" y="820"/>
                  <a:pt x="685" y="816"/>
                  <a:pt x="682" y="813"/>
                </a:cubicBezTo>
                <a:cubicBezTo>
                  <a:pt x="680" y="812"/>
                  <a:pt x="679" y="811"/>
                  <a:pt x="678" y="809"/>
                </a:cubicBezTo>
                <a:cubicBezTo>
                  <a:pt x="676" y="808"/>
                  <a:pt x="675" y="807"/>
                  <a:pt x="673" y="805"/>
                </a:cubicBezTo>
                <a:cubicBezTo>
                  <a:pt x="670" y="803"/>
                  <a:pt x="667" y="800"/>
                  <a:pt x="663" y="797"/>
                </a:cubicBezTo>
                <a:cubicBezTo>
                  <a:pt x="653" y="789"/>
                  <a:pt x="643" y="782"/>
                  <a:pt x="633" y="776"/>
                </a:cubicBezTo>
                <a:cubicBezTo>
                  <a:pt x="622" y="769"/>
                  <a:pt x="612" y="764"/>
                  <a:pt x="603" y="761"/>
                </a:cubicBezTo>
                <a:lnTo>
                  <a:pt x="600" y="760"/>
                </a:lnTo>
                <a:cubicBezTo>
                  <a:pt x="597" y="758"/>
                  <a:pt x="595" y="757"/>
                  <a:pt x="592" y="756"/>
                </a:cubicBezTo>
                <a:cubicBezTo>
                  <a:pt x="593" y="754"/>
                  <a:pt x="594" y="752"/>
                  <a:pt x="596" y="750"/>
                </a:cubicBezTo>
                <a:cubicBezTo>
                  <a:pt x="616" y="711"/>
                  <a:pt x="641" y="665"/>
                  <a:pt x="664" y="618"/>
                </a:cubicBezTo>
                <a:cubicBezTo>
                  <a:pt x="695" y="553"/>
                  <a:pt x="716" y="494"/>
                  <a:pt x="726" y="436"/>
                </a:cubicBezTo>
                <a:cubicBezTo>
                  <a:pt x="727" y="436"/>
                  <a:pt x="727" y="436"/>
                  <a:pt x="727" y="436"/>
                </a:cubicBezTo>
                <a:lnTo>
                  <a:pt x="729" y="429"/>
                </a:lnTo>
                <a:cubicBezTo>
                  <a:pt x="729" y="428"/>
                  <a:pt x="730" y="427"/>
                  <a:pt x="730" y="426"/>
                </a:cubicBezTo>
                <a:lnTo>
                  <a:pt x="736" y="413"/>
                </a:lnTo>
                <a:lnTo>
                  <a:pt x="739" y="406"/>
                </a:lnTo>
                <a:cubicBezTo>
                  <a:pt x="740" y="405"/>
                  <a:pt x="740" y="404"/>
                  <a:pt x="741" y="403"/>
                </a:cubicBezTo>
                <a:cubicBezTo>
                  <a:pt x="742" y="401"/>
                  <a:pt x="742" y="400"/>
                  <a:pt x="743" y="398"/>
                </a:cubicBezTo>
                <a:lnTo>
                  <a:pt x="748" y="390"/>
                </a:lnTo>
                <a:cubicBezTo>
                  <a:pt x="749" y="387"/>
                  <a:pt x="751" y="385"/>
                  <a:pt x="752" y="383"/>
                </a:cubicBezTo>
                <a:lnTo>
                  <a:pt x="754" y="381"/>
                </a:lnTo>
                <a:cubicBezTo>
                  <a:pt x="754" y="380"/>
                  <a:pt x="755" y="379"/>
                  <a:pt x="756" y="378"/>
                </a:cubicBezTo>
                <a:cubicBezTo>
                  <a:pt x="757" y="376"/>
                  <a:pt x="758" y="374"/>
                  <a:pt x="760" y="373"/>
                </a:cubicBezTo>
                <a:lnTo>
                  <a:pt x="766" y="364"/>
                </a:lnTo>
                <a:cubicBezTo>
                  <a:pt x="768" y="362"/>
                  <a:pt x="769" y="360"/>
                  <a:pt x="771" y="359"/>
                </a:cubicBezTo>
                <a:cubicBezTo>
                  <a:pt x="772" y="357"/>
                  <a:pt x="773" y="356"/>
                  <a:pt x="774" y="355"/>
                </a:cubicBezTo>
                <a:lnTo>
                  <a:pt x="775" y="354"/>
                </a:lnTo>
                <a:cubicBezTo>
                  <a:pt x="776" y="353"/>
                  <a:pt x="777" y="352"/>
                  <a:pt x="777" y="351"/>
                </a:cubicBezTo>
                <a:lnTo>
                  <a:pt x="781" y="347"/>
                </a:lnTo>
                <a:cubicBezTo>
                  <a:pt x="782" y="346"/>
                  <a:pt x="783" y="345"/>
                  <a:pt x="784" y="344"/>
                </a:cubicBezTo>
                <a:cubicBezTo>
                  <a:pt x="786" y="343"/>
                  <a:pt x="788" y="341"/>
                  <a:pt x="790" y="339"/>
                </a:cubicBezTo>
                <a:lnTo>
                  <a:pt x="799" y="332"/>
                </a:lnTo>
                <a:cubicBezTo>
                  <a:pt x="800" y="330"/>
                  <a:pt x="802" y="329"/>
                  <a:pt x="804" y="328"/>
                </a:cubicBezTo>
                <a:cubicBezTo>
                  <a:pt x="805" y="327"/>
                  <a:pt x="807" y="326"/>
                  <a:pt x="808" y="325"/>
                </a:cubicBezTo>
                <a:cubicBezTo>
                  <a:pt x="810" y="323"/>
                  <a:pt x="813" y="321"/>
                  <a:pt x="816" y="319"/>
                </a:cubicBezTo>
                <a:lnTo>
                  <a:pt x="817" y="319"/>
                </a:lnTo>
                <a:cubicBezTo>
                  <a:pt x="818" y="318"/>
                  <a:pt x="819" y="317"/>
                  <a:pt x="821" y="317"/>
                </a:cubicBezTo>
                <a:cubicBezTo>
                  <a:pt x="823" y="315"/>
                  <a:pt x="824" y="314"/>
                  <a:pt x="826" y="313"/>
                </a:cubicBezTo>
                <a:lnTo>
                  <a:pt x="836" y="308"/>
                </a:lnTo>
                <a:cubicBezTo>
                  <a:pt x="838" y="307"/>
                  <a:pt x="840" y="306"/>
                  <a:pt x="842" y="305"/>
                </a:cubicBezTo>
                <a:cubicBezTo>
                  <a:pt x="843" y="305"/>
                  <a:pt x="844" y="304"/>
                  <a:pt x="845" y="304"/>
                </a:cubicBezTo>
                <a:cubicBezTo>
                  <a:pt x="846" y="303"/>
                  <a:pt x="848" y="303"/>
                  <a:pt x="849" y="302"/>
                </a:cubicBezTo>
                <a:cubicBezTo>
                  <a:pt x="851" y="302"/>
                  <a:pt x="852" y="301"/>
                  <a:pt x="854" y="300"/>
                </a:cubicBezTo>
                <a:lnTo>
                  <a:pt x="863" y="297"/>
                </a:lnTo>
                <a:cubicBezTo>
                  <a:pt x="867" y="296"/>
                  <a:pt x="870" y="295"/>
                  <a:pt x="874" y="294"/>
                </a:cubicBezTo>
                <a:cubicBezTo>
                  <a:pt x="876" y="293"/>
                  <a:pt x="877" y="293"/>
                  <a:pt x="878" y="292"/>
                </a:cubicBezTo>
                <a:cubicBezTo>
                  <a:pt x="879" y="292"/>
                  <a:pt x="880" y="292"/>
                  <a:pt x="881" y="292"/>
                </a:cubicBezTo>
                <a:cubicBezTo>
                  <a:pt x="882" y="291"/>
                  <a:pt x="884" y="291"/>
                  <a:pt x="885" y="291"/>
                </a:cubicBezTo>
                <a:lnTo>
                  <a:pt x="901" y="288"/>
                </a:lnTo>
                <a:cubicBezTo>
                  <a:pt x="904" y="287"/>
                  <a:pt x="906" y="285"/>
                  <a:pt x="905" y="282"/>
                </a:cubicBezTo>
                <a:cubicBezTo>
                  <a:pt x="905" y="280"/>
                  <a:pt x="903" y="278"/>
                  <a:pt x="900" y="278"/>
                </a:cubicBezTo>
                <a:cubicBezTo>
                  <a:pt x="900" y="278"/>
                  <a:pt x="900" y="278"/>
                  <a:pt x="900" y="278"/>
                </a:cubicBezTo>
                <a:lnTo>
                  <a:pt x="883" y="280"/>
                </a:lnTo>
                <a:cubicBezTo>
                  <a:pt x="881" y="280"/>
                  <a:pt x="880" y="280"/>
                  <a:pt x="878" y="280"/>
                </a:cubicBezTo>
                <a:lnTo>
                  <a:pt x="876" y="281"/>
                </a:lnTo>
                <a:cubicBezTo>
                  <a:pt x="874" y="281"/>
                  <a:pt x="873" y="281"/>
                  <a:pt x="871" y="282"/>
                </a:cubicBezTo>
                <a:cubicBezTo>
                  <a:pt x="868" y="282"/>
                  <a:pt x="863" y="283"/>
                  <a:pt x="859" y="284"/>
                </a:cubicBezTo>
                <a:lnTo>
                  <a:pt x="850" y="287"/>
                </a:lnTo>
                <a:cubicBezTo>
                  <a:pt x="848" y="287"/>
                  <a:pt x="846" y="288"/>
                  <a:pt x="844" y="289"/>
                </a:cubicBezTo>
                <a:cubicBezTo>
                  <a:pt x="842" y="289"/>
                  <a:pt x="841" y="290"/>
                  <a:pt x="840" y="290"/>
                </a:cubicBezTo>
                <a:cubicBezTo>
                  <a:pt x="839" y="291"/>
                  <a:pt x="838" y="291"/>
                  <a:pt x="837" y="291"/>
                </a:cubicBezTo>
                <a:cubicBezTo>
                  <a:pt x="834" y="292"/>
                  <a:pt x="832" y="293"/>
                  <a:pt x="830" y="294"/>
                </a:cubicBezTo>
                <a:lnTo>
                  <a:pt x="819" y="298"/>
                </a:lnTo>
                <a:cubicBezTo>
                  <a:pt x="817" y="299"/>
                  <a:pt x="814" y="301"/>
                  <a:pt x="812" y="302"/>
                </a:cubicBezTo>
                <a:cubicBezTo>
                  <a:pt x="811" y="303"/>
                  <a:pt x="810" y="303"/>
                  <a:pt x="809" y="304"/>
                </a:cubicBezTo>
                <a:lnTo>
                  <a:pt x="808" y="304"/>
                </a:lnTo>
                <a:cubicBezTo>
                  <a:pt x="804" y="306"/>
                  <a:pt x="801" y="308"/>
                  <a:pt x="798" y="310"/>
                </a:cubicBezTo>
                <a:cubicBezTo>
                  <a:pt x="797" y="311"/>
                  <a:pt x="795" y="311"/>
                  <a:pt x="794" y="312"/>
                </a:cubicBezTo>
                <a:cubicBezTo>
                  <a:pt x="792" y="313"/>
                  <a:pt x="790" y="315"/>
                  <a:pt x="787" y="316"/>
                </a:cubicBezTo>
                <a:lnTo>
                  <a:pt x="777" y="324"/>
                </a:lnTo>
                <a:cubicBezTo>
                  <a:pt x="775" y="325"/>
                  <a:pt x="773" y="327"/>
                  <a:pt x="771" y="329"/>
                </a:cubicBezTo>
                <a:cubicBezTo>
                  <a:pt x="770" y="330"/>
                  <a:pt x="768" y="331"/>
                  <a:pt x="767" y="332"/>
                </a:cubicBezTo>
                <a:lnTo>
                  <a:pt x="763" y="336"/>
                </a:lnTo>
                <a:cubicBezTo>
                  <a:pt x="761" y="337"/>
                  <a:pt x="760" y="338"/>
                  <a:pt x="759" y="339"/>
                </a:cubicBezTo>
                <a:lnTo>
                  <a:pt x="758" y="340"/>
                </a:lnTo>
                <a:cubicBezTo>
                  <a:pt x="757" y="341"/>
                  <a:pt x="756" y="342"/>
                  <a:pt x="755" y="343"/>
                </a:cubicBezTo>
                <a:cubicBezTo>
                  <a:pt x="753" y="345"/>
                  <a:pt x="751" y="347"/>
                  <a:pt x="749" y="349"/>
                </a:cubicBezTo>
                <a:lnTo>
                  <a:pt x="741" y="358"/>
                </a:lnTo>
                <a:cubicBezTo>
                  <a:pt x="739" y="360"/>
                  <a:pt x="738" y="362"/>
                  <a:pt x="736" y="364"/>
                </a:cubicBezTo>
                <a:cubicBezTo>
                  <a:pt x="735" y="365"/>
                  <a:pt x="735" y="366"/>
                  <a:pt x="734" y="367"/>
                </a:cubicBezTo>
                <a:lnTo>
                  <a:pt x="732" y="369"/>
                </a:lnTo>
                <a:cubicBezTo>
                  <a:pt x="731" y="371"/>
                  <a:pt x="729" y="373"/>
                  <a:pt x="727" y="376"/>
                </a:cubicBezTo>
                <a:lnTo>
                  <a:pt x="721" y="384"/>
                </a:lnTo>
                <a:cubicBezTo>
                  <a:pt x="720" y="386"/>
                  <a:pt x="719" y="388"/>
                  <a:pt x="717" y="390"/>
                </a:cubicBezTo>
                <a:cubicBezTo>
                  <a:pt x="717" y="391"/>
                  <a:pt x="716" y="392"/>
                  <a:pt x="716" y="393"/>
                </a:cubicBezTo>
                <a:lnTo>
                  <a:pt x="714" y="395"/>
                </a:lnTo>
                <a:cubicBezTo>
                  <a:pt x="701" y="373"/>
                  <a:pt x="686" y="352"/>
                  <a:pt x="672" y="331"/>
                </a:cubicBezTo>
                <a:cubicBezTo>
                  <a:pt x="668" y="325"/>
                  <a:pt x="664" y="320"/>
                  <a:pt x="661" y="314"/>
                </a:cubicBezTo>
                <a:cubicBezTo>
                  <a:pt x="602" y="227"/>
                  <a:pt x="570" y="150"/>
                  <a:pt x="558" y="69"/>
                </a:cubicBezTo>
                <a:cubicBezTo>
                  <a:pt x="556" y="58"/>
                  <a:pt x="554" y="46"/>
                  <a:pt x="551" y="34"/>
                </a:cubicBezTo>
                <a:cubicBezTo>
                  <a:pt x="550" y="30"/>
                  <a:pt x="549" y="25"/>
                  <a:pt x="548" y="20"/>
                </a:cubicBezTo>
                <a:lnTo>
                  <a:pt x="651" y="0"/>
                </a:lnTo>
                <a:cubicBezTo>
                  <a:pt x="657" y="11"/>
                  <a:pt x="663" y="22"/>
                  <a:pt x="669" y="33"/>
                </a:cubicBezTo>
                <a:cubicBezTo>
                  <a:pt x="687" y="63"/>
                  <a:pt x="704" y="95"/>
                  <a:pt x="723" y="126"/>
                </a:cubicBezTo>
                <a:cubicBezTo>
                  <a:pt x="726" y="133"/>
                  <a:pt x="731" y="139"/>
                  <a:pt x="736" y="144"/>
                </a:cubicBezTo>
                <a:cubicBezTo>
                  <a:pt x="740" y="149"/>
                  <a:pt x="744" y="154"/>
                  <a:pt x="747" y="159"/>
                </a:cubicBezTo>
                <a:cubicBezTo>
                  <a:pt x="759" y="177"/>
                  <a:pt x="774" y="186"/>
                  <a:pt x="793" y="186"/>
                </a:cubicBezTo>
                <a:cubicBezTo>
                  <a:pt x="803" y="186"/>
                  <a:pt x="813" y="183"/>
                  <a:pt x="825" y="178"/>
                </a:cubicBezTo>
                <a:cubicBezTo>
                  <a:pt x="864" y="161"/>
                  <a:pt x="905" y="143"/>
                  <a:pt x="943" y="123"/>
                </a:cubicBezTo>
                <a:cubicBezTo>
                  <a:pt x="974" y="107"/>
                  <a:pt x="1007" y="99"/>
                  <a:pt x="1050" y="98"/>
                </a:cubicBezTo>
                <a:cubicBezTo>
                  <a:pt x="1059" y="97"/>
                  <a:pt x="1069" y="97"/>
                  <a:pt x="1081" y="97"/>
                </a:cubicBezTo>
                <a:cubicBezTo>
                  <a:pt x="1091" y="97"/>
                  <a:pt x="1101" y="97"/>
                  <a:pt x="1112" y="98"/>
                </a:cubicBezTo>
                <a:lnTo>
                  <a:pt x="1127" y="98"/>
                </a:lnTo>
                <a:lnTo>
                  <a:pt x="1134" y="98"/>
                </a:lnTo>
                <a:cubicBezTo>
                  <a:pt x="1138" y="98"/>
                  <a:pt x="1143" y="98"/>
                  <a:pt x="1147" y="99"/>
                </a:cubicBezTo>
                <a:cubicBezTo>
                  <a:pt x="1158" y="103"/>
                  <a:pt x="1169" y="107"/>
                  <a:pt x="1181" y="110"/>
                </a:cubicBezTo>
                <a:cubicBezTo>
                  <a:pt x="1215" y="122"/>
                  <a:pt x="1251" y="134"/>
                  <a:pt x="1284" y="149"/>
                </a:cubicBezTo>
                <a:cubicBezTo>
                  <a:pt x="1304" y="157"/>
                  <a:pt x="1322" y="170"/>
                  <a:pt x="1340" y="182"/>
                </a:cubicBezTo>
                <a:cubicBezTo>
                  <a:pt x="1350" y="188"/>
                  <a:pt x="1359" y="195"/>
                  <a:pt x="1369" y="201"/>
                </a:cubicBezTo>
                <a:cubicBezTo>
                  <a:pt x="1422" y="233"/>
                  <a:pt x="1444" y="286"/>
                  <a:pt x="1464" y="342"/>
                </a:cubicBezTo>
                <a:cubicBezTo>
                  <a:pt x="1485" y="402"/>
                  <a:pt x="1489" y="469"/>
                  <a:pt x="1476" y="553"/>
                </a:cubicBezTo>
                <a:cubicBezTo>
                  <a:pt x="1471" y="585"/>
                  <a:pt x="1462" y="618"/>
                  <a:pt x="1453" y="650"/>
                </a:cubicBezTo>
                <a:cubicBezTo>
                  <a:pt x="1446" y="674"/>
                  <a:pt x="1439" y="699"/>
                  <a:pt x="1434" y="724"/>
                </a:cubicBezTo>
                <a:cubicBezTo>
                  <a:pt x="1418" y="798"/>
                  <a:pt x="1387" y="871"/>
                  <a:pt x="1333" y="954"/>
                </a:cubicBezTo>
                <a:cubicBezTo>
                  <a:pt x="1305" y="999"/>
                  <a:pt x="1270" y="1043"/>
                  <a:pt x="1230" y="1084"/>
                </a:cubicBezTo>
                <a:cubicBezTo>
                  <a:pt x="1188" y="1127"/>
                  <a:pt x="1139" y="1171"/>
                  <a:pt x="1076" y="1224"/>
                </a:cubicBezTo>
                <a:cubicBezTo>
                  <a:pt x="1034" y="1258"/>
                  <a:pt x="982" y="1285"/>
                  <a:pt x="911" y="1308"/>
                </a:cubicBezTo>
                <a:cubicBezTo>
                  <a:pt x="856" y="1326"/>
                  <a:pt x="795" y="1335"/>
                  <a:pt x="726" y="1335"/>
                </a:cubicBezTo>
                <a:cubicBezTo>
                  <a:pt x="710" y="1335"/>
                  <a:pt x="693" y="1335"/>
                  <a:pt x="676" y="1334"/>
                </a:cubicBezTo>
                <a:cubicBezTo>
                  <a:pt x="594" y="1329"/>
                  <a:pt x="525" y="1309"/>
                  <a:pt x="465" y="1270"/>
                </a:cubicBezTo>
                <a:cubicBezTo>
                  <a:pt x="425" y="1245"/>
                  <a:pt x="391" y="1210"/>
                  <a:pt x="364" y="1165"/>
                </a:cubicBezTo>
                <a:cubicBezTo>
                  <a:pt x="337" y="1122"/>
                  <a:pt x="310" y="1076"/>
                  <a:pt x="282" y="1026"/>
                </a:cubicBezTo>
                <a:cubicBezTo>
                  <a:pt x="276" y="1015"/>
                  <a:pt x="270" y="1010"/>
                  <a:pt x="261" y="1010"/>
                </a:cubicBezTo>
                <a:cubicBezTo>
                  <a:pt x="257" y="1010"/>
                  <a:pt x="252" y="1011"/>
                  <a:pt x="246" y="1013"/>
                </a:cubicBezTo>
                <a:cubicBezTo>
                  <a:pt x="219" y="1022"/>
                  <a:pt x="204" y="1043"/>
                  <a:pt x="189" y="1064"/>
                </a:cubicBezTo>
                <a:cubicBezTo>
                  <a:pt x="187" y="1068"/>
                  <a:pt x="184" y="1071"/>
                  <a:pt x="181" y="1075"/>
                </a:cubicBezTo>
                <a:cubicBezTo>
                  <a:pt x="157" y="1108"/>
                  <a:pt x="145" y="1146"/>
                  <a:pt x="146" y="1185"/>
                </a:cubicBezTo>
                <a:cubicBezTo>
                  <a:pt x="147" y="1225"/>
                  <a:pt x="163" y="1263"/>
                  <a:pt x="193" y="1297"/>
                </a:cubicBezTo>
                <a:lnTo>
                  <a:pt x="194" y="1297"/>
                </a:lnTo>
                <a:cubicBezTo>
                  <a:pt x="209" y="1313"/>
                  <a:pt x="216" y="1321"/>
                  <a:pt x="216" y="1328"/>
                </a:cubicBezTo>
                <a:cubicBezTo>
                  <a:pt x="216" y="1335"/>
                  <a:pt x="209" y="1343"/>
                  <a:pt x="195" y="1358"/>
                </a:cubicBezTo>
                <a:lnTo>
                  <a:pt x="194" y="1359"/>
                </a:lnTo>
                <a:cubicBezTo>
                  <a:pt x="181" y="1374"/>
                  <a:pt x="167" y="1390"/>
                  <a:pt x="154" y="1405"/>
                </a:cubicBezTo>
                <a:cubicBezTo>
                  <a:pt x="150" y="1410"/>
                  <a:pt x="146" y="1414"/>
                  <a:pt x="142" y="1419"/>
                </a:cubicBezTo>
                <a:cubicBezTo>
                  <a:pt x="139" y="1423"/>
                  <a:pt x="136" y="1425"/>
                  <a:pt x="133" y="1425"/>
                </a:cubicBez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en-US" sz="1500">
              <a:solidFill>
                <a:srgbClr val="3F3F3F"/>
              </a:solidFill>
              <a:latin typeface="CVS Health Sans"/>
            </a:endParaRP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1D2AFBCF-89B4-EBDD-F051-0B2D97EC1FAC}"/>
              </a:ext>
            </a:extLst>
          </p:cNvPr>
          <p:cNvCxnSpPr>
            <a:cxnSpLocks/>
          </p:cNvCxnSpPr>
          <p:nvPr/>
        </p:nvCxnSpPr>
        <p:spPr>
          <a:xfrm>
            <a:off x="2490798" y="2641333"/>
            <a:ext cx="7622680" cy="0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B0F8D747-583D-F3C2-CC5A-ED179F09179D}"/>
              </a:ext>
            </a:extLst>
          </p:cNvPr>
          <p:cNvCxnSpPr>
            <a:endCxn id="14" idx="4"/>
          </p:cNvCxnSpPr>
          <p:nvPr/>
        </p:nvCxnSpPr>
        <p:spPr>
          <a:xfrm flipH="1">
            <a:off x="2499009" y="2641334"/>
            <a:ext cx="246" cy="380603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1B6E1CE-F865-6144-9C27-7466122763F3}"/>
              </a:ext>
            </a:extLst>
          </p:cNvPr>
          <p:cNvCxnSpPr/>
          <p:nvPr/>
        </p:nvCxnSpPr>
        <p:spPr>
          <a:xfrm flipH="1">
            <a:off x="6295367" y="2643606"/>
            <a:ext cx="246" cy="380603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3D85136-8D55-4A8B-756E-A052811ED279}"/>
              </a:ext>
            </a:extLst>
          </p:cNvPr>
          <p:cNvCxnSpPr/>
          <p:nvPr/>
        </p:nvCxnSpPr>
        <p:spPr>
          <a:xfrm flipH="1">
            <a:off x="10106309" y="2641334"/>
            <a:ext cx="246" cy="380603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83747A9E-B943-1AC4-B9AF-BEEB5CF70C16}"/>
              </a:ext>
            </a:extLst>
          </p:cNvPr>
          <p:cNvSpPr txBox="1"/>
          <p:nvPr/>
        </p:nvSpPr>
        <p:spPr>
          <a:xfrm>
            <a:off x="445618" y="6008721"/>
            <a:ext cx="943112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200"/>
            <a:r>
              <a:rPr lang="en-US" sz="1000" dirty="0">
                <a:solidFill>
                  <a:srgbClr val="3F3F3F"/>
                </a:solidFill>
                <a:latin typeface="CVS Health Sans"/>
              </a:rPr>
              <a:t>Journal of Internal Medicine, “Glucagon-like peptide-1: Are its roles as endogenous hormone and therapeutic wizard congruent?”, </a:t>
            </a:r>
          </a:p>
          <a:p>
            <a:pPr defTabSz="457200"/>
            <a:r>
              <a:rPr lang="en-US" sz="1000" dirty="0">
                <a:solidFill>
                  <a:srgbClr val="3F3F3F"/>
                </a:solidFill>
                <a:latin typeface="CVS Health Sans"/>
              </a:rPr>
              <a:t>Volume291, Issue5, May 2022, Pages 557-573. https://onlinelibrary.wiley.com/doi/10.1111/joim.13433, accessed, 6/13/24</a:t>
            </a:r>
          </a:p>
        </p:txBody>
      </p:sp>
    </p:spTree>
    <p:extLst>
      <p:ext uri="{BB962C8B-B14F-4D97-AF65-F5344CB8AC3E}">
        <p14:creationId xmlns:p14="http://schemas.microsoft.com/office/powerpoint/2010/main" val="19050113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5"/>
          <p:cNvSpPr txBox="1"/>
          <p:nvPr/>
        </p:nvSpPr>
        <p:spPr>
          <a:xfrm>
            <a:off x="416150" y="293125"/>
            <a:ext cx="8832300" cy="12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VS Health Sans" panose="020B0504020202020204" pitchFamily="34" charset="0"/>
                <a:ea typeface="Aharoni"/>
                <a:cs typeface="Aharoni"/>
                <a:sym typeface="Aharoni"/>
              </a:rPr>
              <a:t>Oshi</a:t>
            </a:r>
            <a:r>
              <a:rPr kumimoji="0" 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VS Health Sans" panose="020B0504020202020204" pitchFamily="34" charset="0"/>
                <a:ea typeface="Aharoni"/>
                <a:cs typeface="Aharoni"/>
                <a:sym typeface="Aharoni"/>
              </a:rPr>
              <a:t> Health: the first and only virtual medical clinic for total GI care</a:t>
            </a:r>
            <a:endParaRPr kumimoji="0" sz="3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VS Health Sans" panose="020B0504020202020204" pitchFamily="34" charset="0"/>
              <a:ea typeface="Aharoni"/>
              <a:cs typeface="Aharoni"/>
              <a:sym typeface="Aharoni"/>
            </a:endParaRPr>
          </a:p>
        </p:txBody>
      </p:sp>
      <p:grpSp>
        <p:nvGrpSpPr>
          <p:cNvPr id="90" name="Google Shape;90;p5"/>
          <p:cNvGrpSpPr/>
          <p:nvPr/>
        </p:nvGrpSpPr>
        <p:grpSpPr>
          <a:xfrm>
            <a:off x="213800" y="1710025"/>
            <a:ext cx="3629100" cy="5004375"/>
            <a:chOff x="213800" y="1710025"/>
            <a:chExt cx="3629100" cy="5004375"/>
          </a:xfrm>
        </p:grpSpPr>
        <p:sp>
          <p:nvSpPr>
            <p:cNvPr id="91" name="Google Shape;91;p5"/>
            <p:cNvSpPr/>
            <p:nvPr/>
          </p:nvSpPr>
          <p:spPr>
            <a:xfrm>
              <a:off x="213800" y="2466100"/>
              <a:ext cx="3629100" cy="424830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pic>
          <p:nvPicPr>
            <p:cNvPr id="92" name="Google Shape;92;p5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350375" y="2387300"/>
              <a:ext cx="3342118" cy="297197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3" name="Google Shape;93;p5"/>
            <p:cNvSpPr txBox="1"/>
            <p:nvPr/>
          </p:nvSpPr>
          <p:spPr>
            <a:xfrm>
              <a:off x="350375" y="1710025"/>
              <a:ext cx="3342000" cy="677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1592A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Multidisciplinary</a:t>
              </a:r>
              <a:b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1592A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</a:b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1592A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medical team</a:t>
              </a: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305C83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 </a:t>
              </a:r>
              <a:endParaRPr kumimoji="0" sz="1600" b="1" i="0" u="none" strike="noStrike" kern="0" cap="none" spc="0" normalizeH="0" baseline="0" noProof="0">
                <a:ln>
                  <a:noFill/>
                </a:ln>
                <a:solidFill>
                  <a:srgbClr val="305C83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94" name="Google Shape;94;p5"/>
          <p:cNvSpPr txBox="1"/>
          <p:nvPr/>
        </p:nvSpPr>
        <p:spPr>
          <a:xfrm>
            <a:off x="4417150" y="1710025"/>
            <a:ext cx="4755000" cy="507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2100" b="1" i="0" u="none" strike="noStrike" kern="0" cap="none" spc="0" normalizeH="0" baseline="0" noProof="0">
                <a:ln>
                  <a:noFill/>
                </a:ln>
                <a:solidFill>
                  <a:srgbClr val="F1592A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rusted by industry leaders</a:t>
            </a:r>
            <a:endParaRPr kumimoji="0" sz="2100" b="1" i="0" u="none" strike="noStrike" kern="0" cap="none" spc="0" normalizeH="0" baseline="0" noProof="0">
              <a:ln>
                <a:noFill/>
              </a:ln>
              <a:solidFill>
                <a:srgbClr val="F1592A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95" name="Google Shape;95;p5"/>
          <p:cNvSpPr txBox="1"/>
          <p:nvPr/>
        </p:nvSpPr>
        <p:spPr>
          <a:xfrm>
            <a:off x="4417150" y="2192275"/>
            <a:ext cx="55662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artnerships with major health plans and employers</a:t>
            </a:r>
            <a:endParaRPr kumimoji="0" sz="14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96" name="Google Shape;96;p5"/>
          <p:cNvSpPr txBox="1"/>
          <p:nvPr/>
        </p:nvSpPr>
        <p:spPr>
          <a:xfrm>
            <a:off x="4417150" y="5516915"/>
            <a:ext cx="2157300" cy="83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Validated by the country’s leading GI medical associations</a:t>
            </a:r>
            <a:endParaRPr kumimoji="0" sz="14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pSp>
        <p:nvGrpSpPr>
          <p:cNvPr id="97" name="Google Shape;97;p5"/>
          <p:cNvGrpSpPr/>
          <p:nvPr/>
        </p:nvGrpSpPr>
        <p:grpSpPr>
          <a:xfrm>
            <a:off x="4664350" y="2664608"/>
            <a:ext cx="4352869" cy="393195"/>
            <a:chOff x="4359550" y="2816951"/>
            <a:chExt cx="5091075" cy="493158"/>
          </a:xfrm>
        </p:grpSpPr>
        <p:pic>
          <p:nvPicPr>
            <p:cNvPr id="98" name="Google Shape;98;p5"/>
            <p:cNvPicPr preferRelativeResize="0"/>
            <p:nvPr/>
          </p:nvPicPr>
          <p:blipFill>
            <a:blip r:embed="rId5">
              <a:alphaModFix/>
            </a:blip>
            <a:stretch>
              <a:fillRect/>
            </a:stretch>
          </p:blipFill>
          <p:spPr>
            <a:xfrm>
              <a:off x="4359550" y="2972091"/>
              <a:ext cx="738836" cy="18288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99" name="Google Shape;99;p5"/>
            <p:cNvPicPr preferRelativeResize="0"/>
            <p:nvPr/>
          </p:nvPicPr>
          <p:blipFill>
            <a:blip r:embed="rId6">
              <a:alphaModFix/>
            </a:blip>
            <a:stretch>
              <a:fillRect/>
            </a:stretch>
          </p:blipFill>
          <p:spPr>
            <a:xfrm>
              <a:off x="5390256" y="2972091"/>
              <a:ext cx="1250898" cy="18288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0" name="Google Shape;100;p5"/>
            <p:cNvPicPr preferRelativeResize="0"/>
            <p:nvPr/>
          </p:nvPicPr>
          <p:blipFill>
            <a:blip r:embed="rId7">
              <a:alphaModFix/>
            </a:blip>
            <a:stretch>
              <a:fillRect/>
            </a:stretch>
          </p:blipFill>
          <p:spPr>
            <a:xfrm>
              <a:off x="8403525" y="2855781"/>
              <a:ext cx="1047100" cy="4155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1" name="Google Shape;101;p5"/>
            <p:cNvPicPr preferRelativeResize="0"/>
            <p:nvPr/>
          </p:nvPicPr>
          <p:blipFill rotWithShape="1">
            <a:blip r:embed="rId8">
              <a:alphaModFix/>
            </a:blip>
            <a:srcRect l="14722" t="22528" r="14904" b="21984"/>
            <a:stretch/>
          </p:blipFill>
          <p:spPr>
            <a:xfrm>
              <a:off x="6877625" y="2816951"/>
              <a:ext cx="1250900" cy="493158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02" name="Google Shape;102;p5"/>
          <p:cNvGrpSpPr/>
          <p:nvPr/>
        </p:nvGrpSpPr>
        <p:grpSpPr>
          <a:xfrm>
            <a:off x="4664350" y="3031752"/>
            <a:ext cx="3003562" cy="539713"/>
            <a:chOff x="4359550" y="3277436"/>
            <a:chExt cx="3512938" cy="676926"/>
          </a:xfrm>
        </p:grpSpPr>
        <p:pic>
          <p:nvPicPr>
            <p:cNvPr id="103" name="Google Shape;103;p5"/>
            <p:cNvPicPr preferRelativeResize="0"/>
            <p:nvPr/>
          </p:nvPicPr>
          <p:blipFill rotWithShape="1">
            <a:blip r:embed="rId9">
              <a:alphaModFix/>
            </a:blip>
            <a:srcRect l="12652" t="26884" r="12216" b="27049"/>
            <a:stretch/>
          </p:blipFill>
          <p:spPr>
            <a:xfrm>
              <a:off x="7133662" y="3488488"/>
              <a:ext cx="738825" cy="25481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4" name="Google Shape;104;p5"/>
            <p:cNvPicPr preferRelativeResize="0"/>
            <p:nvPr/>
          </p:nvPicPr>
          <p:blipFill>
            <a:blip r:embed="rId10">
              <a:alphaModFix/>
            </a:blip>
            <a:stretch>
              <a:fillRect/>
            </a:stretch>
          </p:blipFill>
          <p:spPr>
            <a:xfrm>
              <a:off x="5628400" y="3418883"/>
              <a:ext cx="1250900" cy="39403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5" name="Google Shape;105;p5"/>
            <p:cNvPicPr preferRelativeResize="0"/>
            <p:nvPr/>
          </p:nvPicPr>
          <p:blipFill rotWithShape="1">
            <a:blip r:embed="rId11">
              <a:alphaModFix/>
            </a:blip>
            <a:srcRect l="12967" r="12332" b="8265"/>
            <a:stretch/>
          </p:blipFill>
          <p:spPr>
            <a:xfrm>
              <a:off x="4359550" y="3277436"/>
              <a:ext cx="1102450" cy="676926"/>
            </a:xfrm>
            <a:prstGeom prst="rect">
              <a:avLst/>
            </a:prstGeom>
            <a:noFill/>
            <a:ln>
              <a:noFill/>
            </a:ln>
          </p:spPr>
        </p:pic>
      </p:grpSp>
      <p:cxnSp>
        <p:nvCxnSpPr>
          <p:cNvPr id="106" name="Google Shape;106;p5"/>
          <p:cNvCxnSpPr/>
          <p:nvPr/>
        </p:nvCxnSpPr>
        <p:spPr>
          <a:xfrm>
            <a:off x="4417150" y="3756150"/>
            <a:ext cx="5026500" cy="0"/>
          </a:xfrm>
          <a:prstGeom prst="straightConnector1">
            <a:avLst/>
          </a:prstGeom>
          <a:noFill/>
          <a:ln w="19050" cap="flat" cmpd="sng">
            <a:solidFill>
              <a:srgbClr val="02AEF0"/>
            </a:solidFill>
            <a:prstDash val="dot"/>
            <a:miter lim="800000"/>
            <a:headEnd type="none" w="sm" len="sm"/>
            <a:tailEnd type="none" w="sm" len="sm"/>
          </a:ln>
        </p:spPr>
      </p:cxnSp>
      <p:cxnSp>
        <p:nvCxnSpPr>
          <p:cNvPr id="107" name="Google Shape;107;p5"/>
          <p:cNvCxnSpPr/>
          <p:nvPr/>
        </p:nvCxnSpPr>
        <p:spPr>
          <a:xfrm>
            <a:off x="4417150" y="5471825"/>
            <a:ext cx="5026500" cy="0"/>
          </a:xfrm>
          <a:prstGeom prst="straightConnector1">
            <a:avLst/>
          </a:prstGeom>
          <a:noFill/>
          <a:ln w="19050" cap="flat" cmpd="sng">
            <a:solidFill>
              <a:srgbClr val="02AEF0"/>
            </a:solidFill>
            <a:prstDash val="dot"/>
            <a:miter lim="800000"/>
            <a:headEnd type="none" w="sm" len="sm"/>
            <a:tailEnd type="none" w="sm" len="sm"/>
          </a:ln>
        </p:spPr>
      </p:cxnSp>
      <p:pic>
        <p:nvPicPr>
          <p:cNvPr id="108" name="Google Shape;108;p5"/>
          <p:cNvPicPr preferRelativeResize="0"/>
          <p:nvPr/>
        </p:nvPicPr>
        <p:blipFill>
          <a:blip r:embed="rId12">
            <a:alphaModFix/>
          </a:blip>
          <a:stretch>
            <a:fillRect/>
          </a:stretch>
        </p:blipFill>
        <p:spPr>
          <a:xfrm>
            <a:off x="6598850" y="5624122"/>
            <a:ext cx="662786" cy="662786"/>
          </a:xfrm>
          <a:prstGeom prst="rect">
            <a:avLst/>
          </a:prstGeom>
          <a:noFill/>
          <a:ln>
            <a:noFill/>
          </a:ln>
        </p:spPr>
      </p:pic>
      <p:pic>
        <p:nvPicPr>
          <p:cNvPr id="109" name="Google Shape;109;p5"/>
          <p:cNvPicPr preferRelativeResize="0"/>
          <p:nvPr/>
        </p:nvPicPr>
        <p:blipFill>
          <a:blip r:embed="rId13">
            <a:alphaModFix/>
          </a:blip>
          <a:stretch>
            <a:fillRect/>
          </a:stretch>
        </p:blipFill>
        <p:spPr>
          <a:xfrm>
            <a:off x="7489450" y="5794955"/>
            <a:ext cx="1523267" cy="321121"/>
          </a:xfrm>
          <a:prstGeom prst="rect">
            <a:avLst/>
          </a:prstGeom>
          <a:noFill/>
          <a:ln>
            <a:noFill/>
          </a:ln>
        </p:spPr>
      </p:pic>
      <p:pic>
        <p:nvPicPr>
          <p:cNvPr id="110" name="Google Shape;110;p5"/>
          <p:cNvPicPr preferRelativeResize="0"/>
          <p:nvPr/>
        </p:nvPicPr>
        <p:blipFill rotWithShape="1">
          <a:blip r:embed="rId14">
            <a:alphaModFix/>
          </a:blip>
          <a:srcRect l="5276" t="34378" r="5437" b="36082"/>
          <a:stretch/>
        </p:blipFill>
        <p:spPr>
          <a:xfrm>
            <a:off x="6071204" y="4948427"/>
            <a:ext cx="1203900" cy="219463"/>
          </a:xfrm>
          <a:prstGeom prst="rect">
            <a:avLst/>
          </a:prstGeom>
          <a:noFill/>
          <a:ln>
            <a:noFill/>
          </a:ln>
        </p:spPr>
      </p:pic>
      <p:pic>
        <p:nvPicPr>
          <p:cNvPr id="111" name="Google Shape;111;p5"/>
          <p:cNvPicPr preferRelativeResize="0"/>
          <p:nvPr/>
        </p:nvPicPr>
        <p:blipFill rotWithShape="1">
          <a:blip r:embed="rId15">
            <a:alphaModFix/>
          </a:blip>
          <a:srcRect l="1000" t="28983" r="873" b="28631"/>
          <a:stretch/>
        </p:blipFill>
        <p:spPr>
          <a:xfrm>
            <a:off x="7547103" y="4858275"/>
            <a:ext cx="1795348" cy="399768"/>
          </a:xfrm>
          <a:prstGeom prst="rect">
            <a:avLst/>
          </a:prstGeom>
          <a:noFill/>
          <a:ln>
            <a:noFill/>
          </a:ln>
        </p:spPr>
      </p:pic>
      <p:sp>
        <p:nvSpPr>
          <p:cNvPr id="112" name="Google Shape;112;p5"/>
          <p:cNvSpPr txBox="1"/>
          <p:nvPr/>
        </p:nvSpPr>
        <p:spPr>
          <a:xfrm>
            <a:off x="4417150" y="3824200"/>
            <a:ext cx="12039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wards</a:t>
            </a:r>
            <a:endParaRPr kumimoji="0" sz="14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pSp>
        <p:nvGrpSpPr>
          <p:cNvPr id="113" name="Google Shape;113;p5"/>
          <p:cNvGrpSpPr/>
          <p:nvPr/>
        </p:nvGrpSpPr>
        <p:grpSpPr>
          <a:xfrm>
            <a:off x="4588150" y="4210239"/>
            <a:ext cx="1313725" cy="575780"/>
            <a:chOff x="4130950" y="4286439"/>
            <a:chExt cx="1313725" cy="575780"/>
          </a:xfrm>
        </p:grpSpPr>
        <p:pic>
          <p:nvPicPr>
            <p:cNvPr id="114" name="Google Shape;114;p5"/>
            <p:cNvPicPr preferRelativeResize="0"/>
            <p:nvPr/>
          </p:nvPicPr>
          <p:blipFill>
            <a:blip r:embed="rId16">
              <a:alphaModFix/>
            </a:blip>
            <a:stretch>
              <a:fillRect/>
            </a:stretch>
          </p:blipFill>
          <p:spPr>
            <a:xfrm>
              <a:off x="4130950" y="4286439"/>
              <a:ext cx="585216" cy="57578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5" name="Google Shape;115;p5"/>
            <p:cNvSpPr txBox="1"/>
            <p:nvPr/>
          </p:nvSpPr>
          <p:spPr>
            <a:xfrm>
              <a:off x="4662275" y="4343479"/>
              <a:ext cx="782400" cy="4617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2023 HPIR Innovator</a:t>
              </a: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116" name="Google Shape;116;p5"/>
          <p:cNvGrpSpPr/>
          <p:nvPr/>
        </p:nvGrpSpPr>
        <p:grpSpPr>
          <a:xfrm>
            <a:off x="6040140" y="4267279"/>
            <a:ext cx="1421460" cy="461700"/>
            <a:chOff x="5582940" y="4343500"/>
            <a:chExt cx="1421460" cy="461700"/>
          </a:xfrm>
        </p:grpSpPr>
        <p:pic>
          <p:nvPicPr>
            <p:cNvPr id="117" name="Google Shape;117;p5"/>
            <p:cNvPicPr preferRelativeResize="0"/>
            <p:nvPr/>
          </p:nvPicPr>
          <p:blipFill>
            <a:blip r:embed="rId17">
              <a:alphaModFix/>
            </a:blip>
            <a:stretch>
              <a:fillRect/>
            </a:stretch>
          </p:blipFill>
          <p:spPr>
            <a:xfrm>
              <a:off x="5582940" y="4358433"/>
              <a:ext cx="413468" cy="431834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8" name="Google Shape;118;p5"/>
            <p:cNvSpPr txBox="1"/>
            <p:nvPr/>
          </p:nvSpPr>
          <p:spPr>
            <a:xfrm>
              <a:off x="5996400" y="4343500"/>
              <a:ext cx="1008000" cy="4617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2024 Best Places to Work</a:t>
              </a: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119" name="Google Shape;119;p5"/>
          <p:cNvGrpSpPr/>
          <p:nvPr/>
        </p:nvGrpSpPr>
        <p:grpSpPr>
          <a:xfrm>
            <a:off x="7516055" y="4267279"/>
            <a:ext cx="1471520" cy="461700"/>
            <a:chOff x="7058855" y="4381075"/>
            <a:chExt cx="1471520" cy="461700"/>
          </a:xfrm>
        </p:grpSpPr>
        <p:pic>
          <p:nvPicPr>
            <p:cNvPr id="120" name="Google Shape;120;p5"/>
            <p:cNvPicPr preferRelativeResize="0"/>
            <p:nvPr/>
          </p:nvPicPr>
          <p:blipFill>
            <a:blip r:embed="rId18">
              <a:alphaModFix/>
            </a:blip>
            <a:stretch>
              <a:fillRect/>
            </a:stretch>
          </p:blipFill>
          <p:spPr>
            <a:xfrm>
              <a:off x="7058855" y="4396008"/>
              <a:ext cx="381663" cy="43183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21" name="Google Shape;121;p5"/>
            <p:cNvSpPr txBox="1"/>
            <p:nvPr/>
          </p:nvSpPr>
          <p:spPr>
            <a:xfrm>
              <a:off x="7482175" y="4381075"/>
              <a:ext cx="1048200" cy="4617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2023 Digital Health 100</a:t>
              </a: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122" name="Google Shape;122;p5"/>
          <p:cNvGrpSpPr/>
          <p:nvPr/>
        </p:nvGrpSpPr>
        <p:grpSpPr>
          <a:xfrm>
            <a:off x="4670416" y="4860235"/>
            <a:ext cx="1506022" cy="395848"/>
            <a:chOff x="4182153" y="5029752"/>
            <a:chExt cx="1506022" cy="395848"/>
          </a:xfrm>
        </p:grpSpPr>
        <p:pic>
          <p:nvPicPr>
            <p:cNvPr id="123" name="Google Shape;123;p5"/>
            <p:cNvPicPr preferRelativeResize="0"/>
            <p:nvPr/>
          </p:nvPicPr>
          <p:blipFill>
            <a:blip r:embed="rId19">
              <a:alphaModFix/>
            </a:blip>
            <a:stretch>
              <a:fillRect/>
            </a:stretch>
          </p:blipFill>
          <p:spPr>
            <a:xfrm>
              <a:off x="4182153" y="5029752"/>
              <a:ext cx="482803" cy="39584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24" name="Google Shape;124;p5"/>
            <p:cNvSpPr txBox="1"/>
            <p:nvPr/>
          </p:nvSpPr>
          <p:spPr>
            <a:xfrm>
              <a:off x="4639975" y="5066126"/>
              <a:ext cx="1048200" cy="323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2023 Finalist</a:t>
              </a: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pic>
        <p:nvPicPr>
          <p:cNvPr id="125" name="Google Shape;125;p5" descr="A qr code with a white background&#10;&#10;Description automatically generated"/>
          <p:cNvPicPr preferRelativeResize="0"/>
          <p:nvPr/>
        </p:nvPicPr>
        <p:blipFill rotWithShape="1">
          <a:blip r:embed="rId20">
            <a:alphaModFix/>
          </a:blip>
          <a:srcRect/>
          <a:stretch/>
        </p:blipFill>
        <p:spPr>
          <a:xfrm>
            <a:off x="210809" y="5548032"/>
            <a:ext cx="1080296" cy="1080296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26" name="Google Shape;126;p5"/>
          <p:cNvCxnSpPr/>
          <p:nvPr/>
        </p:nvCxnSpPr>
        <p:spPr>
          <a:xfrm rot="10800000">
            <a:off x="4039675" y="1710100"/>
            <a:ext cx="0" cy="4832700"/>
          </a:xfrm>
          <a:prstGeom prst="straightConnector1">
            <a:avLst/>
          </a:prstGeom>
          <a:noFill/>
          <a:ln w="19050" cap="flat" cmpd="sng">
            <a:solidFill>
              <a:srgbClr val="02AEF0"/>
            </a:solidFill>
            <a:prstDash val="dot"/>
            <a:miter lim="800000"/>
            <a:headEnd type="none" w="sm" len="sm"/>
            <a:tailEnd type="none" w="sm" len="sm"/>
          </a:ln>
        </p:spPr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8230297-0485-8481-C98C-8CCB4C9E8444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9248450" y="6445765"/>
            <a:ext cx="2743200" cy="365125"/>
          </a:xfrm>
        </p:spPr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>
                <a:solidFill>
                  <a:schemeClr val="tx1"/>
                </a:solidFill>
              </a:rPr>
              <a:t>4</a:t>
            </a:fld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1" name="Google Shape;131;p6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016125" y="2406201"/>
            <a:ext cx="728924" cy="69049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2" name="Google Shape;132;p6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969737" y="3301157"/>
            <a:ext cx="806492" cy="798265"/>
          </a:xfrm>
          <a:prstGeom prst="rect">
            <a:avLst/>
          </a:prstGeom>
          <a:noFill/>
          <a:ln>
            <a:noFill/>
          </a:ln>
        </p:spPr>
      </p:pic>
      <p:pic>
        <p:nvPicPr>
          <p:cNvPr id="133" name="Google Shape;133;p6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004986" y="4396679"/>
            <a:ext cx="735995" cy="752538"/>
          </a:xfrm>
          <a:prstGeom prst="rect">
            <a:avLst/>
          </a:prstGeom>
          <a:noFill/>
          <a:ln>
            <a:noFill/>
          </a:ln>
        </p:spPr>
      </p:pic>
      <p:sp>
        <p:nvSpPr>
          <p:cNvPr id="134" name="Google Shape;134;p6"/>
          <p:cNvSpPr txBox="1"/>
          <p:nvPr/>
        </p:nvSpPr>
        <p:spPr>
          <a:xfrm>
            <a:off x="416777" y="1317600"/>
            <a:ext cx="6703214" cy="5693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3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VS Health Sans" panose="020B0504020202020204" pitchFamily="34" charset="0"/>
                <a:ea typeface="Aharoni"/>
                <a:cs typeface="Aharoni"/>
                <a:sym typeface="Aharoni"/>
              </a:rPr>
              <a:t>Key GI concerns related to GLP-1s</a:t>
            </a:r>
            <a:endParaRPr kumimoji="0" sz="3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VS Health Sans" panose="020B0504020202020204" pitchFamily="34" charset="0"/>
              <a:ea typeface="Aharoni"/>
              <a:cs typeface="Aharoni"/>
              <a:sym typeface="Aharoni"/>
            </a:endParaRPr>
          </a:p>
        </p:txBody>
      </p:sp>
      <p:cxnSp>
        <p:nvCxnSpPr>
          <p:cNvPr id="135" name="Google Shape;135;p6"/>
          <p:cNvCxnSpPr/>
          <p:nvPr/>
        </p:nvCxnSpPr>
        <p:spPr>
          <a:xfrm rot="10800000" flipH="1">
            <a:off x="542356" y="2056359"/>
            <a:ext cx="2935500" cy="2700"/>
          </a:xfrm>
          <a:prstGeom prst="straightConnector1">
            <a:avLst/>
          </a:prstGeom>
          <a:noFill/>
          <a:ln w="28575" cap="flat" cmpd="sng">
            <a:solidFill>
              <a:srgbClr val="F1592A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6" name="Google Shape;136;p6"/>
          <p:cNvSpPr txBox="1"/>
          <p:nvPr/>
        </p:nvSpPr>
        <p:spPr>
          <a:xfrm>
            <a:off x="1889975" y="3530552"/>
            <a:ext cx="2608500" cy="43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GI side effects </a:t>
            </a: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37" name="Google Shape;137;p6"/>
          <p:cNvSpPr txBox="1"/>
          <p:nvPr/>
        </p:nvSpPr>
        <p:spPr>
          <a:xfrm>
            <a:off x="1900775" y="4557200"/>
            <a:ext cx="2036700" cy="43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GLP-1 adherence</a:t>
            </a: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38" name="Google Shape;138;p6"/>
          <p:cNvSpPr txBox="1"/>
          <p:nvPr/>
        </p:nvSpPr>
        <p:spPr>
          <a:xfrm>
            <a:off x="1900775" y="2405718"/>
            <a:ext cx="2380200" cy="67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Untreated comorbidities (alongside obesity, etc.)</a:t>
            </a: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39" name="Google Shape;139;p6"/>
          <p:cNvSpPr/>
          <p:nvPr/>
        </p:nvSpPr>
        <p:spPr>
          <a:xfrm>
            <a:off x="123925" y="5605825"/>
            <a:ext cx="1114800" cy="11691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0" name="Google Shape;140;p6"/>
          <p:cNvSpPr txBox="1"/>
          <p:nvPr/>
        </p:nvSpPr>
        <p:spPr>
          <a:xfrm>
            <a:off x="1889975" y="5468038"/>
            <a:ext cx="4143300" cy="67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upporting longitudinal care plan, including dietary and mental health support</a:t>
            </a: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141" name="Google Shape;141;p6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1008516" y="5427550"/>
            <a:ext cx="728934" cy="663415"/>
          </a:xfrm>
          <a:prstGeom prst="rect">
            <a:avLst/>
          </a:prstGeom>
          <a:noFill/>
          <a:ln>
            <a:noFill/>
          </a:ln>
        </p:spPr>
      </p:pic>
      <p:sp>
        <p:nvSpPr>
          <p:cNvPr id="142" name="Google Shape;142;p6"/>
          <p:cNvSpPr txBox="1"/>
          <p:nvPr/>
        </p:nvSpPr>
        <p:spPr>
          <a:xfrm>
            <a:off x="7544550" y="1356000"/>
            <a:ext cx="4051800" cy="49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Oshi GLP-1 population</a:t>
            </a:r>
            <a:endParaRPr kumimoji="0" sz="26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3" name="Google Shape;143;p6"/>
          <p:cNvSpPr txBox="1"/>
          <p:nvPr/>
        </p:nvSpPr>
        <p:spPr>
          <a:xfrm>
            <a:off x="7544550" y="2056475"/>
            <a:ext cx="1776300" cy="1046700"/>
          </a:xfrm>
          <a:prstGeom prst="rect">
            <a:avLst/>
          </a:prstGeom>
          <a:solidFill>
            <a:srgbClr val="43414C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4600" b="1" i="0" u="none" strike="noStrike" kern="0" cap="none" spc="0" normalizeH="0" baseline="0" noProof="0">
                <a:ln>
                  <a:noFill/>
                </a:ln>
                <a:solidFill>
                  <a:srgbClr val="F1592A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5% </a:t>
            </a:r>
            <a:endParaRPr kumimoji="0" sz="4600" b="1" i="0" u="none" strike="noStrike" kern="0" cap="none" spc="0" normalizeH="0" baseline="0" noProof="0">
              <a:ln>
                <a:noFill/>
              </a:ln>
              <a:solidFill>
                <a:srgbClr val="F1592A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on GLP-1s</a:t>
            </a: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4" name="Google Shape;144;p6"/>
          <p:cNvSpPr txBox="1"/>
          <p:nvPr/>
        </p:nvSpPr>
        <p:spPr>
          <a:xfrm>
            <a:off x="9548226" y="2056477"/>
            <a:ext cx="1589700" cy="1046700"/>
          </a:xfrm>
          <a:prstGeom prst="rect">
            <a:avLst/>
          </a:prstGeom>
          <a:solidFill>
            <a:srgbClr val="43414C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4600" b="1" i="0" u="none" strike="noStrike" kern="0" cap="none" spc="0" normalizeH="0" baseline="0" noProof="0">
                <a:ln>
                  <a:noFill/>
                </a:ln>
                <a:solidFill>
                  <a:srgbClr val="F1592A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74% </a:t>
            </a:r>
            <a:endParaRPr kumimoji="0" sz="4600" b="1" i="0" u="none" strike="noStrike" kern="0" cap="none" spc="0" normalizeH="0" baseline="0" noProof="0">
              <a:ln>
                <a:noFill/>
              </a:ln>
              <a:solidFill>
                <a:srgbClr val="F1592A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female</a:t>
            </a: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5" name="Google Shape;145;p6"/>
          <p:cNvSpPr txBox="1"/>
          <p:nvPr/>
        </p:nvSpPr>
        <p:spPr>
          <a:xfrm>
            <a:off x="7544550" y="3355700"/>
            <a:ext cx="1776300" cy="1046700"/>
          </a:xfrm>
          <a:prstGeom prst="rect">
            <a:avLst/>
          </a:prstGeom>
          <a:solidFill>
            <a:srgbClr val="43414C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4600" b="1" i="0" u="none" strike="noStrike" kern="0" cap="none" spc="0" normalizeH="0" baseline="0" noProof="0">
                <a:ln>
                  <a:noFill/>
                </a:ln>
                <a:solidFill>
                  <a:srgbClr val="F1592A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48</a:t>
            </a:r>
            <a:r>
              <a:rPr kumimoji="0" lang="en-US" sz="1500" b="1" i="0" u="none" strike="noStrike" kern="0" cap="none" spc="0" normalizeH="0" baseline="0" noProof="0">
                <a:ln>
                  <a:noFill/>
                </a:ln>
                <a:solidFill>
                  <a:srgbClr val="F1592A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</a:t>
            </a:r>
            <a:r>
              <a:rPr kumimoji="0" lang="en-US" sz="3400" b="1" i="0" u="none" strike="noStrike" kern="0" cap="none" spc="0" normalizeH="0" baseline="0" noProof="0">
                <a:ln>
                  <a:noFill/>
                </a:ln>
                <a:solidFill>
                  <a:srgbClr val="F1592A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yrs</a:t>
            </a:r>
            <a:r>
              <a:rPr kumimoji="0" lang="en-US" sz="4600" b="1" i="0" u="none" strike="noStrike" kern="0" cap="none" spc="0" normalizeH="0" baseline="0" noProof="0">
                <a:ln>
                  <a:noFill/>
                </a:ln>
                <a:solidFill>
                  <a:srgbClr val="F1592A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</a:t>
            </a:r>
            <a:endParaRPr kumimoji="0" sz="4600" b="1" i="0" u="none" strike="noStrike" kern="0" cap="none" spc="0" normalizeH="0" baseline="0" noProof="0">
              <a:ln>
                <a:noFill/>
              </a:ln>
              <a:solidFill>
                <a:srgbClr val="F1592A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verage age</a:t>
            </a: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6" name="Google Shape;146;p6"/>
          <p:cNvSpPr txBox="1"/>
          <p:nvPr/>
        </p:nvSpPr>
        <p:spPr>
          <a:xfrm>
            <a:off x="9548225" y="3355700"/>
            <a:ext cx="1776300" cy="1973400"/>
          </a:xfrm>
          <a:prstGeom prst="rect">
            <a:avLst/>
          </a:prstGeom>
          <a:solidFill>
            <a:srgbClr val="43414C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4600" b="1" i="0" u="none" strike="noStrike" kern="0" cap="none" spc="0" normalizeH="0" baseline="0" noProof="0">
                <a:ln>
                  <a:noFill/>
                </a:ln>
                <a:solidFill>
                  <a:srgbClr val="F1592A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33% </a:t>
            </a:r>
            <a:endParaRPr kumimoji="0" sz="4600" b="1" i="0" u="none" strike="noStrike" kern="0" cap="none" spc="0" normalizeH="0" baseline="0" noProof="0">
              <a:ln>
                <a:noFill/>
              </a:ln>
              <a:solidFill>
                <a:srgbClr val="F1592A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with underlying IBS or other functional GI disorder </a:t>
            </a: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C3CE43-C2EC-D292-AE36-22F748D198A7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9444821" y="6311189"/>
            <a:ext cx="2743200" cy="365125"/>
          </a:xfrm>
        </p:spPr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>
                <a:solidFill>
                  <a:schemeClr val="bg1"/>
                </a:solidFill>
              </a:rPr>
              <a:t>5</a:t>
            </a:fld>
            <a:endParaRPr lang="en-US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0" name="Google Shape;690;p57"/>
          <p:cNvSpPr txBox="1">
            <a:spLocks noGrp="1"/>
          </p:cNvSpPr>
          <p:nvPr>
            <p:ph type="title" idx="2"/>
          </p:nvPr>
        </p:nvSpPr>
        <p:spPr>
          <a:xfrm>
            <a:off x="415600" y="398075"/>
            <a:ext cx="105573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800" dirty="0">
                <a:latin typeface="CVS Health Sans" panose="020B0504020202020204" pitchFamily="34" charset="0"/>
                <a:cs typeface="Aharoni" panose="02010803020104030203" pitchFamily="2" charset="-79"/>
              </a:rPr>
              <a:t>Hypertension, diabetes, high cholesterol, &amp; obesity are interrelated and risk factors for CVD</a:t>
            </a:r>
            <a:endParaRPr sz="2800" dirty="0">
              <a:latin typeface="CVS Health Sans" panose="020B0504020202020204" pitchFamily="34" charset="0"/>
              <a:cs typeface="Aharoni" panose="02010803020104030203" pitchFamily="2" charset="-79"/>
            </a:endParaRPr>
          </a:p>
        </p:txBody>
      </p:sp>
      <p:cxnSp>
        <p:nvCxnSpPr>
          <p:cNvPr id="691" name="Google Shape;691;p57"/>
          <p:cNvCxnSpPr/>
          <p:nvPr/>
        </p:nvCxnSpPr>
        <p:spPr>
          <a:xfrm>
            <a:off x="6089701" y="2011375"/>
            <a:ext cx="12600" cy="355590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692" name="Google Shape;692;p57"/>
          <p:cNvSpPr/>
          <p:nvPr/>
        </p:nvSpPr>
        <p:spPr>
          <a:xfrm>
            <a:off x="6612725" y="5712225"/>
            <a:ext cx="5276700" cy="6108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/>
              <a:ea typeface="Lato"/>
              <a:cs typeface="Lato"/>
              <a:sym typeface="Lato"/>
            </a:endParaRPr>
          </a:p>
        </p:txBody>
      </p:sp>
      <p:grpSp>
        <p:nvGrpSpPr>
          <p:cNvPr id="693" name="Google Shape;693;p57"/>
          <p:cNvGrpSpPr/>
          <p:nvPr/>
        </p:nvGrpSpPr>
        <p:grpSpPr>
          <a:xfrm>
            <a:off x="291004" y="1755380"/>
            <a:ext cx="5514037" cy="4067896"/>
            <a:chOff x="-122000" y="1410975"/>
            <a:chExt cx="5854785" cy="4289672"/>
          </a:xfrm>
        </p:grpSpPr>
        <p:pic>
          <p:nvPicPr>
            <p:cNvPr id="694" name="Google Shape;694;p57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-122000" y="1412110"/>
              <a:ext cx="5854785" cy="4288536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695" name="Google Shape;695;p57"/>
            <p:cNvSpPr txBox="1"/>
            <p:nvPr/>
          </p:nvSpPr>
          <p:spPr>
            <a:xfrm>
              <a:off x="1593625" y="2701025"/>
              <a:ext cx="2090100" cy="1701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F5F5F0"/>
                  </a:solidFill>
                  <a:effectLst/>
                  <a:uLnTx/>
                  <a:uFillTx/>
                  <a:latin typeface="Lato"/>
                  <a:ea typeface="Lato"/>
                  <a:cs typeface="Lato"/>
                  <a:sym typeface="Lato"/>
                </a:rPr>
                <a:t>Hypertension</a:t>
              </a: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F5F5F0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3600" b="0" i="0" u="none" strike="noStrike" kern="0" cap="none" spc="0" normalizeH="0" baseline="0" noProof="0">
                  <a:ln>
                    <a:noFill/>
                  </a:ln>
                  <a:solidFill>
                    <a:srgbClr val="F5F5F0"/>
                  </a:solidFill>
                  <a:effectLst/>
                  <a:uLnTx/>
                  <a:uFillTx/>
                  <a:latin typeface="Lato Black"/>
                  <a:ea typeface="Lato Black"/>
                  <a:cs typeface="Lato Black"/>
                  <a:sym typeface="Lato Black"/>
                </a:rPr>
                <a:t>48%</a:t>
              </a:r>
              <a:endParaRPr kumimoji="0" sz="3600" b="0" i="0" u="none" strike="noStrike" kern="0" cap="none" spc="0" normalizeH="0" baseline="0" noProof="0">
                <a:ln>
                  <a:noFill/>
                </a:ln>
                <a:solidFill>
                  <a:srgbClr val="F5F5F0"/>
                </a:solidFill>
                <a:effectLst/>
                <a:uLnTx/>
                <a:uFillTx/>
                <a:latin typeface="Lato Black"/>
                <a:ea typeface="Lato Black"/>
                <a:cs typeface="Lato Black"/>
                <a:sym typeface="Lato Black"/>
              </a:endParaRPr>
            </a:p>
          </p:txBody>
        </p:sp>
        <p:sp>
          <p:nvSpPr>
            <p:cNvPr id="696" name="Google Shape;696;p57"/>
            <p:cNvSpPr txBox="1"/>
            <p:nvPr/>
          </p:nvSpPr>
          <p:spPr>
            <a:xfrm>
              <a:off x="4032075" y="2874325"/>
              <a:ext cx="1700700" cy="1376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F5F5F0"/>
                  </a:solidFill>
                  <a:effectLst/>
                  <a:uLnTx/>
                  <a:uFillTx/>
                  <a:latin typeface="Lato"/>
                  <a:ea typeface="Lato"/>
                  <a:cs typeface="Lato"/>
                  <a:sym typeface="Lato"/>
                </a:rPr>
                <a:t>Obesity</a:t>
              </a: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F5F5F0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3600" b="0" i="0" u="none" strike="noStrike" kern="0" cap="none" spc="0" normalizeH="0" baseline="0" noProof="0">
                  <a:ln>
                    <a:noFill/>
                  </a:ln>
                  <a:solidFill>
                    <a:srgbClr val="F5F5F0"/>
                  </a:solidFill>
                  <a:effectLst/>
                  <a:uLnTx/>
                  <a:uFillTx/>
                  <a:latin typeface="Lato Black"/>
                  <a:ea typeface="Lato Black"/>
                  <a:cs typeface="Lato Black"/>
                  <a:sym typeface="Lato Black"/>
                </a:rPr>
                <a:t>42%</a:t>
              </a:r>
              <a:endParaRPr kumimoji="0" sz="3600" b="0" i="0" u="none" strike="noStrike" kern="0" cap="none" spc="0" normalizeH="0" baseline="0" noProof="0">
                <a:ln>
                  <a:noFill/>
                </a:ln>
                <a:solidFill>
                  <a:srgbClr val="F5F5F0"/>
                </a:solidFill>
                <a:effectLst/>
                <a:uLnTx/>
                <a:uFillTx/>
                <a:latin typeface="Lato Black"/>
                <a:ea typeface="Lato Black"/>
                <a:cs typeface="Lato Black"/>
                <a:sym typeface="Lato Black"/>
              </a:endParaRPr>
            </a:p>
          </p:txBody>
        </p:sp>
        <p:sp>
          <p:nvSpPr>
            <p:cNvPr id="697" name="Google Shape;697;p57"/>
            <p:cNvSpPr txBox="1"/>
            <p:nvPr/>
          </p:nvSpPr>
          <p:spPr>
            <a:xfrm>
              <a:off x="2232975" y="1410975"/>
              <a:ext cx="841200" cy="840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91425" rIns="0" bIns="914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F5F5F0"/>
                  </a:solidFill>
                  <a:effectLst/>
                  <a:uLnTx/>
                  <a:uFillTx/>
                  <a:latin typeface="Lato"/>
                  <a:ea typeface="Lato"/>
                  <a:cs typeface="Lato"/>
                  <a:sym typeface="Lato"/>
                </a:rPr>
                <a:t>CVD</a:t>
              </a:r>
              <a:endParaRPr kumimoji="0" sz="1200" b="1" i="0" u="none" strike="noStrike" kern="0" cap="none" spc="0" normalizeH="0" baseline="0" noProof="0">
                <a:ln>
                  <a:noFill/>
                </a:ln>
                <a:solidFill>
                  <a:srgbClr val="F5F5F0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5F5F0"/>
                  </a:solidFill>
                  <a:effectLst/>
                  <a:uLnTx/>
                  <a:uFillTx/>
                  <a:latin typeface="Lato Black"/>
                  <a:ea typeface="Lato Black"/>
                  <a:cs typeface="Lato Black"/>
                  <a:sym typeface="Lato Black"/>
                </a:rPr>
                <a:t>9%</a:t>
              </a: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F5F5F0"/>
                </a:solidFill>
                <a:effectLst/>
                <a:uLnTx/>
                <a:uFillTx/>
                <a:latin typeface="Lato Black"/>
                <a:ea typeface="Lato Black"/>
                <a:cs typeface="Lato Black"/>
                <a:sym typeface="Lato Black"/>
              </a:endParaRPr>
            </a:p>
          </p:txBody>
        </p:sp>
        <p:sp>
          <p:nvSpPr>
            <p:cNvPr id="698" name="Google Shape;698;p57"/>
            <p:cNvSpPr txBox="1"/>
            <p:nvPr/>
          </p:nvSpPr>
          <p:spPr>
            <a:xfrm>
              <a:off x="-122000" y="3138275"/>
              <a:ext cx="1367100" cy="840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91425" rIns="0" bIns="914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F5F5F0"/>
                  </a:solidFill>
                  <a:effectLst/>
                  <a:uLnTx/>
                  <a:uFillTx/>
                  <a:latin typeface="Lato"/>
                  <a:ea typeface="Lato"/>
                  <a:cs typeface="Lato"/>
                  <a:sym typeface="Lato"/>
                </a:rPr>
                <a:t>High Cholesterol</a:t>
              </a:r>
              <a:endParaRPr kumimoji="0" sz="1100" b="1" i="0" u="none" strike="noStrike" kern="0" cap="none" spc="0" normalizeH="0" baseline="0" noProof="0">
                <a:ln>
                  <a:noFill/>
                </a:ln>
                <a:solidFill>
                  <a:srgbClr val="F5F5F0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5F5F0"/>
                  </a:solidFill>
                  <a:effectLst/>
                  <a:uLnTx/>
                  <a:uFillTx/>
                  <a:latin typeface="Lato Black"/>
                  <a:ea typeface="Lato Black"/>
                  <a:cs typeface="Lato Black"/>
                  <a:sym typeface="Lato Black"/>
                </a:rPr>
                <a:t>35%</a:t>
              </a: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F5F5F0"/>
                </a:solidFill>
                <a:effectLst/>
                <a:uLnTx/>
                <a:uFillTx/>
                <a:latin typeface="Lato Black"/>
                <a:ea typeface="Lato Black"/>
                <a:cs typeface="Lato Black"/>
                <a:sym typeface="Lato Black"/>
              </a:endParaRPr>
            </a:p>
          </p:txBody>
        </p:sp>
        <p:sp>
          <p:nvSpPr>
            <p:cNvPr id="699" name="Google Shape;699;p57"/>
            <p:cNvSpPr txBox="1"/>
            <p:nvPr/>
          </p:nvSpPr>
          <p:spPr>
            <a:xfrm>
              <a:off x="2103675" y="4852375"/>
              <a:ext cx="1099800" cy="840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91425" rIns="0" bIns="914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/>
                  <a:ea typeface="Lato"/>
                  <a:cs typeface="Lato"/>
                  <a:sym typeface="Lato"/>
                </a:rPr>
                <a:t>Diabetes</a:t>
              </a:r>
              <a:endParaRPr kumimoji="0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 Black"/>
                  <a:ea typeface="Lato Black"/>
                  <a:cs typeface="Lato Black"/>
                  <a:sym typeface="Lato Black"/>
                </a:rPr>
                <a:t>11%</a:t>
              </a: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Black"/>
                <a:ea typeface="Lato Black"/>
                <a:cs typeface="Lato Black"/>
                <a:sym typeface="Lato Black"/>
              </a:endParaRPr>
            </a:p>
          </p:txBody>
        </p:sp>
      </p:grpSp>
      <p:sp>
        <p:nvSpPr>
          <p:cNvPr id="700" name="Google Shape;700;p57"/>
          <p:cNvSpPr/>
          <p:nvPr/>
        </p:nvSpPr>
        <p:spPr>
          <a:xfrm>
            <a:off x="6888927" y="3342461"/>
            <a:ext cx="4510200" cy="1692900"/>
          </a:xfrm>
          <a:prstGeom prst="roundRect">
            <a:avLst>
              <a:gd name="adj" fmla="val 16667"/>
            </a:avLst>
          </a:prstGeom>
          <a:solidFill>
            <a:schemeClr val="lt2"/>
          </a:solidFill>
          <a:ln>
            <a:noFill/>
          </a:ln>
          <a:effectLst>
            <a:outerShdw blurRad="200025" algn="bl" rotWithShape="0">
              <a:srgbClr val="000000">
                <a:alpha val="19000"/>
              </a:srgbClr>
            </a:outerShdw>
            <a:reflection endPos="30000" dist="38100" dir="5400000" fadeDir="5400012" sy="-100000" algn="bl" rotWithShape="0"/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701" name="Google Shape;701;p57"/>
          <p:cNvSpPr txBox="1"/>
          <p:nvPr/>
        </p:nvSpPr>
        <p:spPr>
          <a:xfrm>
            <a:off x="7173975" y="3615956"/>
            <a:ext cx="3948900" cy="124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32535"/>
                </a:solidFill>
                <a:effectLst/>
                <a:uLnTx/>
                <a:uFillTx/>
                <a:latin typeface="Lato Black"/>
                <a:ea typeface="Lato Black"/>
                <a:cs typeface="Lato Black"/>
                <a:sym typeface="Lato Black"/>
              </a:rPr>
              <a:t>FDA Approves First Treatment to Reduce Risk of Serious Heart Problems Specifically in Adults with Obesity or Overweight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132535"/>
              </a:solidFill>
              <a:effectLst/>
              <a:uLnTx/>
              <a:uFillTx/>
              <a:latin typeface="Lato Black"/>
              <a:ea typeface="Lato Black"/>
              <a:cs typeface="Lato Black"/>
              <a:sym typeface="Lato Black"/>
            </a:endParaRPr>
          </a:p>
        </p:txBody>
      </p:sp>
      <p:sp>
        <p:nvSpPr>
          <p:cNvPr id="702" name="Google Shape;702;p57"/>
          <p:cNvSpPr/>
          <p:nvPr/>
        </p:nvSpPr>
        <p:spPr>
          <a:xfrm>
            <a:off x="8248630" y="3173942"/>
            <a:ext cx="1707300" cy="3849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703" name="Google Shape;703;p57"/>
          <p:cNvSpPr txBox="1"/>
          <p:nvPr/>
        </p:nvSpPr>
        <p:spPr>
          <a:xfrm>
            <a:off x="8340255" y="3194008"/>
            <a:ext cx="1539300" cy="38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Black"/>
                <a:ea typeface="Lato Black"/>
                <a:cs typeface="Lato Black"/>
                <a:sym typeface="Lato Black"/>
              </a:rPr>
              <a:t>FDA NEWS RELEASE</a:t>
            </a: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Black"/>
              <a:ea typeface="Lato Black"/>
              <a:cs typeface="Lato Black"/>
              <a:sym typeface="Lato Black"/>
            </a:endParaRPr>
          </a:p>
        </p:txBody>
      </p:sp>
      <p:pic>
        <p:nvPicPr>
          <p:cNvPr id="704" name="Google Shape;704;p57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8491363" y="2543292"/>
            <a:ext cx="1291370" cy="5247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1B68A4D-7B7B-D18D-AB27-940286E8A0A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>
                <a:solidFill>
                  <a:schemeClr val="bg2"/>
                </a:solidFill>
              </a:rPr>
              <a:t>6</a:t>
            </a:fld>
            <a:endParaRPr lang="en-US" dirty="0">
              <a:solidFill>
                <a:schemeClr val="bg2"/>
              </a:solidFill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0" name="Google Shape;710;p58"/>
          <p:cNvSpPr/>
          <p:nvPr/>
        </p:nvSpPr>
        <p:spPr>
          <a:xfrm>
            <a:off x="0" y="1031150"/>
            <a:ext cx="6096000" cy="58269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/>
              <a:ea typeface="Lato"/>
              <a:cs typeface="Lato"/>
              <a:sym typeface="Lato"/>
            </a:endParaRPr>
          </a:p>
        </p:txBody>
      </p:sp>
      <p:pic>
        <p:nvPicPr>
          <p:cNvPr id="711" name="Google Shape;711;p58"/>
          <p:cNvPicPr preferRelativeResize="0"/>
          <p:nvPr/>
        </p:nvPicPr>
        <p:blipFill rotWithShape="1">
          <a:blip r:embed="rId3">
            <a:alphaModFix/>
          </a:blip>
          <a:srcRect l="40511" r="5788"/>
          <a:stretch/>
        </p:blipFill>
        <p:spPr>
          <a:xfrm>
            <a:off x="6858000" y="1227575"/>
            <a:ext cx="4572000" cy="5074920"/>
          </a:xfrm>
          <a:prstGeom prst="rect">
            <a:avLst/>
          </a:prstGeom>
          <a:noFill/>
          <a:ln>
            <a:noFill/>
          </a:ln>
        </p:spPr>
      </p:pic>
      <p:pic>
        <p:nvPicPr>
          <p:cNvPr id="712" name="Google Shape;712;p5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740075" y="2288550"/>
            <a:ext cx="2615850" cy="2615850"/>
          </a:xfrm>
          <a:prstGeom prst="rect">
            <a:avLst/>
          </a:prstGeom>
          <a:noFill/>
          <a:ln>
            <a:noFill/>
          </a:ln>
        </p:spPr>
      </p:pic>
      <p:sp>
        <p:nvSpPr>
          <p:cNvPr id="713" name="Google Shape;713;p58"/>
          <p:cNvSpPr/>
          <p:nvPr/>
        </p:nvSpPr>
        <p:spPr>
          <a:xfrm>
            <a:off x="1740000" y="3048000"/>
            <a:ext cx="2616000" cy="1218900"/>
          </a:xfrm>
          <a:prstGeom prst="rect">
            <a:avLst/>
          </a:prstGeom>
          <a:noFill/>
          <a:ln>
            <a:noFill/>
          </a:ln>
          <a:effectLst>
            <a:outerShdw blurRad="200025" dist="19050" dir="600000" algn="bl" rotWithShape="0">
              <a:srgbClr val="000000">
                <a:alpha val="20000"/>
              </a:srgbClr>
            </a:outerShdw>
          </a:effectLst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500"/>
              <a:buFont typeface="Arial"/>
              <a:buNone/>
              <a:tabLst/>
              <a:defRPr/>
            </a:pPr>
            <a:r>
              <a:rPr kumimoji="0" lang="en-US" sz="7500" b="0" i="0" u="none" strike="noStrike" kern="0" cap="none" spc="0" normalizeH="0" baseline="0" noProof="0">
                <a:ln>
                  <a:noFill/>
                </a:ln>
                <a:solidFill>
                  <a:srgbClr val="F5F5F0"/>
                </a:solidFill>
                <a:effectLst/>
                <a:uLnTx/>
                <a:uFillTx/>
                <a:latin typeface="Lato Black"/>
                <a:ea typeface="Lato Black"/>
                <a:cs typeface="Lato Black"/>
                <a:sym typeface="Lato Black"/>
              </a:rPr>
              <a:t>80</a:t>
            </a:r>
            <a:r>
              <a:rPr kumimoji="0" lang="en-US" sz="7500" b="0" i="0" u="none" strike="noStrike" kern="0" cap="none" spc="0" normalizeH="0" baseline="0" noProof="0">
                <a:ln>
                  <a:noFill/>
                </a:ln>
                <a:solidFill>
                  <a:srgbClr val="F5F5F0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  <a:t>%</a:t>
            </a:r>
            <a:endParaRPr kumimoji="0" sz="7500" b="0" i="0" u="none" strike="noStrike" kern="0" cap="none" spc="0" normalizeH="0" baseline="30000" noProof="0">
              <a:ln>
                <a:noFill/>
              </a:ln>
              <a:solidFill>
                <a:srgbClr val="F5F5F0"/>
              </a:solidFill>
              <a:effectLst/>
              <a:uLnTx/>
              <a:uFillTx/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714" name="Google Shape;714;p58"/>
          <p:cNvSpPr txBox="1"/>
          <p:nvPr/>
        </p:nvSpPr>
        <p:spPr>
          <a:xfrm>
            <a:off x="0" y="1774425"/>
            <a:ext cx="6096000" cy="33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200" b="0" i="0" u="none" strike="noStrike" kern="0" cap="none" spc="0" normalizeH="0" baseline="0" noProof="0">
                <a:ln>
                  <a:noFill/>
                </a:ln>
                <a:solidFill>
                  <a:srgbClr val="132535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  <a:t>The reality is that</a:t>
            </a:r>
            <a:endParaRPr kumimoji="0" sz="2200" b="0" i="0" u="none" strike="noStrike" kern="0" cap="none" spc="0" normalizeH="0" baseline="0" noProof="0">
              <a:ln>
                <a:noFill/>
              </a:ln>
              <a:solidFill>
                <a:srgbClr val="132535"/>
              </a:solidFill>
              <a:effectLst/>
              <a:uLnTx/>
              <a:uFillTx/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715" name="Google Shape;715;p58"/>
          <p:cNvSpPr txBox="1"/>
          <p:nvPr/>
        </p:nvSpPr>
        <p:spPr>
          <a:xfrm>
            <a:off x="0" y="5098030"/>
            <a:ext cx="6096000" cy="33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200" b="0" i="0" u="none" strike="noStrike" kern="0" cap="none" spc="0" normalizeH="0" baseline="0" noProof="0">
                <a:ln>
                  <a:noFill/>
                </a:ln>
                <a:solidFill>
                  <a:srgbClr val="132535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  <a:t>of CVD cases are preventable.</a:t>
            </a:r>
            <a:r>
              <a:rPr kumimoji="0" lang="en-US" sz="2200" b="0" i="0" u="none" strike="noStrike" kern="0" cap="none" spc="0" normalizeH="0" baseline="30000" noProof="0">
                <a:ln>
                  <a:noFill/>
                </a:ln>
                <a:solidFill>
                  <a:srgbClr val="132535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  <a:t> </a:t>
            </a:r>
            <a:endParaRPr kumimoji="0" sz="2200" b="0" i="0" u="none" strike="noStrike" kern="0" cap="none" spc="0" normalizeH="0" baseline="30000" noProof="0">
              <a:ln>
                <a:noFill/>
              </a:ln>
              <a:solidFill>
                <a:srgbClr val="132535"/>
              </a:solidFill>
              <a:effectLst/>
              <a:uLnTx/>
              <a:uFillTx/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716" name="Google Shape;716;p58"/>
          <p:cNvSpPr txBox="1">
            <a:spLocks noGrp="1"/>
          </p:cNvSpPr>
          <p:nvPr>
            <p:ph type="title" idx="2"/>
          </p:nvPr>
        </p:nvSpPr>
        <p:spPr>
          <a:xfrm>
            <a:off x="415600" y="398067"/>
            <a:ext cx="101241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latin typeface="CVS Health Sans" panose="020B0504020202020204" pitchFamily="34" charset="0"/>
                <a:cs typeface="Aharoni" panose="02010803020104030203" pitchFamily="2" charset="-79"/>
              </a:rPr>
              <a:t>Lifestyle change is key to managing health</a:t>
            </a:r>
            <a:endParaRPr dirty="0">
              <a:latin typeface="CVS Health Sans" panose="020B0504020202020204" pitchFamily="34" charset="0"/>
              <a:cs typeface="Aharoni" panose="02010803020104030203" pitchFamily="2" charset="-79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332ECDC-3DD2-37DA-9FD8-33B487AACB8D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7</a:t>
            </a:fld>
            <a:endParaRPr lang="en-US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2" name="Google Shape;722;p59"/>
          <p:cNvSpPr/>
          <p:nvPr/>
        </p:nvSpPr>
        <p:spPr>
          <a:xfrm rot="6753530">
            <a:off x="6704469" y="3701707"/>
            <a:ext cx="4441756" cy="4609733"/>
          </a:xfrm>
          <a:prstGeom prst="chord">
            <a:avLst>
              <a:gd name="adj1" fmla="val 2700000"/>
              <a:gd name="adj2" fmla="val 1620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/>
              <a:ea typeface="Lato"/>
              <a:cs typeface="Lato"/>
              <a:sym typeface="Lato"/>
            </a:endParaRPr>
          </a:p>
        </p:txBody>
      </p:sp>
      <p:pic>
        <p:nvPicPr>
          <p:cNvPr id="723" name="Google Shape;723;p59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675306" y="1408325"/>
            <a:ext cx="2498551" cy="5147873"/>
          </a:xfrm>
          <a:prstGeom prst="rect">
            <a:avLst/>
          </a:prstGeom>
          <a:noFill/>
          <a:ln>
            <a:noFill/>
          </a:ln>
        </p:spPr>
      </p:pic>
      <p:sp>
        <p:nvSpPr>
          <p:cNvPr id="724" name="Google Shape;724;p59"/>
          <p:cNvSpPr/>
          <p:nvPr/>
        </p:nvSpPr>
        <p:spPr>
          <a:xfrm>
            <a:off x="425000" y="1918975"/>
            <a:ext cx="5416500" cy="1314300"/>
          </a:xfrm>
          <a:prstGeom prst="roundRect">
            <a:avLst>
              <a:gd name="adj" fmla="val 12143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725" name="Google Shape;725;p59"/>
          <p:cNvSpPr txBox="1">
            <a:spLocks noGrp="1"/>
          </p:cNvSpPr>
          <p:nvPr>
            <p:ph type="title" idx="2"/>
          </p:nvPr>
        </p:nvSpPr>
        <p:spPr>
          <a:xfrm>
            <a:off x="415600" y="398067"/>
            <a:ext cx="10124100" cy="524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latin typeface="CVS Health Sans" panose="020B0504020202020204" pitchFamily="34" charset="0"/>
                <a:cs typeface="Aharoni" panose="02010803020104030203" pitchFamily="2" charset="-79"/>
              </a:rPr>
              <a:t>Engagement strategies are key</a:t>
            </a:r>
            <a:endParaRPr dirty="0">
              <a:latin typeface="CVS Health Sans" panose="020B0504020202020204" pitchFamily="34" charset="0"/>
              <a:cs typeface="Aharoni" panose="02010803020104030203" pitchFamily="2" charset="-79"/>
            </a:endParaRPr>
          </a:p>
        </p:txBody>
      </p:sp>
      <p:sp>
        <p:nvSpPr>
          <p:cNvPr id="726" name="Google Shape;726;p59"/>
          <p:cNvSpPr txBox="1"/>
          <p:nvPr/>
        </p:nvSpPr>
        <p:spPr>
          <a:xfrm>
            <a:off x="1175475" y="2305361"/>
            <a:ext cx="2612100" cy="615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  <a:t>Medication education and support</a:t>
            </a:r>
            <a:endParaRPr kumimoji="0" sz="1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/>
              <a:ea typeface="Lato"/>
              <a:cs typeface="Lato"/>
              <a:sym typeface="Lato"/>
            </a:endParaRPr>
          </a:p>
        </p:txBody>
      </p:sp>
      <p:grpSp>
        <p:nvGrpSpPr>
          <p:cNvPr id="727" name="Google Shape;727;p59"/>
          <p:cNvGrpSpPr/>
          <p:nvPr/>
        </p:nvGrpSpPr>
        <p:grpSpPr>
          <a:xfrm>
            <a:off x="4311102" y="2197002"/>
            <a:ext cx="975925" cy="788925"/>
            <a:chOff x="4234902" y="1872467"/>
            <a:chExt cx="975925" cy="788925"/>
          </a:xfrm>
        </p:grpSpPr>
        <p:pic>
          <p:nvPicPr>
            <p:cNvPr id="728" name="Google Shape;728;p59"/>
            <p:cNvPicPr preferRelativeResize="0"/>
            <p:nvPr/>
          </p:nvPicPr>
          <p:blipFill rotWithShape="1">
            <a:blip r:embed="rId4">
              <a:alphaModFix/>
            </a:blip>
            <a:srcRect t="89" b="89"/>
            <a:stretch/>
          </p:blipFill>
          <p:spPr>
            <a:xfrm>
              <a:off x="4613069" y="1872467"/>
              <a:ext cx="597757" cy="62921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729" name="Google Shape;729;p59"/>
            <p:cNvPicPr preferRelativeResize="0"/>
            <p:nvPr/>
          </p:nvPicPr>
          <p:blipFill>
            <a:blip r:embed="rId5">
              <a:alphaModFix/>
            </a:blip>
            <a:stretch>
              <a:fillRect/>
            </a:stretch>
          </p:blipFill>
          <p:spPr>
            <a:xfrm>
              <a:off x="4234902" y="2208057"/>
              <a:ext cx="322913" cy="453335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30" name="Google Shape;730;p59"/>
          <p:cNvSpPr/>
          <p:nvPr/>
        </p:nvSpPr>
        <p:spPr>
          <a:xfrm>
            <a:off x="515800" y="1909224"/>
            <a:ext cx="394800" cy="1324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731" name="Google Shape;731;p59"/>
          <p:cNvSpPr/>
          <p:nvPr/>
        </p:nvSpPr>
        <p:spPr>
          <a:xfrm>
            <a:off x="415600" y="1909225"/>
            <a:ext cx="495000" cy="1324200"/>
          </a:xfrm>
          <a:prstGeom prst="roundRect">
            <a:avLst>
              <a:gd name="adj" fmla="val 16667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Black"/>
                <a:ea typeface="Lato Black"/>
                <a:cs typeface="Lato Black"/>
                <a:sym typeface="Lato Black"/>
              </a:rPr>
              <a:t>1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 Black"/>
              <a:ea typeface="Lato Black"/>
              <a:cs typeface="Lato Black"/>
              <a:sym typeface="Lato Black"/>
            </a:endParaRPr>
          </a:p>
        </p:txBody>
      </p:sp>
      <p:sp>
        <p:nvSpPr>
          <p:cNvPr id="732" name="Google Shape;732;p59"/>
          <p:cNvSpPr/>
          <p:nvPr/>
        </p:nvSpPr>
        <p:spPr>
          <a:xfrm>
            <a:off x="425000" y="3406169"/>
            <a:ext cx="5416500" cy="1450800"/>
          </a:xfrm>
          <a:prstGeom prst="roundRect">
            <a:avLst>
              <a:gd name="adj" fmla="val 12143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733" name="Google Shape;733;p59"/>
          <p:cNvSpPr txBox="1"/>
          <p:nvPr/>
        </p:nvSpPr>
        <p:spPr>
          <a:xfrm>
            <a:off x="1175475" y="3849021"/>
            <a:ext cx="2612100" cy="615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  <a:t>Lifestyle interventions + pharmacotherapy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734" name="Google Shape;734;p59"/>
          <p:cNvSpPr/>
          <p:nvPr/>
        </p:nvSpPr>
        <p:spPr>
          <a:xfrm>
            <a:off x="515800" y="3396411"/>
            <a:ext cx="394800" cy="14607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735" name="Google Shape;735;p59"/>
          <p:cNvSpPr/>
          <p:nvPr/>
        </p:nvSpPr>
        <p:spPr>
          <a:xfrm>
            <a:off x="415600" y="3396420"/>
            <a:ext cx="495000" cy="1450800"/>
          </a:xfrm>
          <a:prstGeom prst="roundRect">
            <a:avLst>
              <a:gd name="adj" fmla="val 16667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Black"/>
                <a:ea typeface="Lato Black"/>
                <a:cs typeface="Lato Black"/>
                <a:sym typeface="Lato Black"/>
              </a:rPr>
              <a:t>2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 Black"/>
              <a:ea typeface="Lato Black"/>
              <a:cs typeface="Lato Black"/>
              <a:sym typeface="Lato Black"/>
            </a:endParaRPr>
          </a:p>
        </p:txBody>
      </p:sp>
      <p:sp>
        <p:nvSpPr>
          <p:cNvPr id="736" name="Google Shape;736;p59"/>
          <p:cNvSpPr/>
          <p:nvPr/>
        </p:nvSpPr>
        <p:spPr>
          <a:xfrm>
            <a:off x="425000" y="5029950"/>
            <a:ext cx="5416500" cy="1450800"/>
          </a:xfrm>
          <a:prstGeom prst="roundRect">
            <a:avLst>
              <a:gd name="adj" fmla="val 12143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737" name="Google Shape;737;p59"/>
          <p:cNvSpPr txBox="1"/>
          <p:nvPr/>
        </p:nvSpPr>
        <p:spPr>
          <a:xfrm>
            <a:off x="1175475" y="5468863"/>
            <a:ext cx="2612100" cy="615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  <a:t>Track outcomes and success metrics</a:t>
            </a:r>
            <a:endParaRPr kumimoji="0" sz="1800" b="1" i="0" u="none" strike="noStrike" kern="0" cap="none" spc="0" normalizeH="0" baseline="0" noProof="0">
              <a:ln>
                <a:noFill/>
              </a:ln>
              <a:solidFill>
                <a:srgbClr val="303030"/>
              </a:solidFill>
              <a:effectLst/>
              <a:uLnTx/>
              <a:uFillTx/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738" name="Google Shape;738;p59"/>
          <p:cNvSpPr/>
          <p:nvPr/>
        </p:nvSpPr>
        <p:spPr>
          <a:xfrm>
            <a:off x="515800" y="5020178"/>
            <a:ext cx="394800" cy="14607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739" name="Google Shape;739;p59"/>
          <p:cNvSpPr/>
          <p:nvPr/>
        </p:nvSpPr>
        <p:spPr>
          <a:xfrm>
            <a:off x="415600" y="5020188"/>
            <a:ext cx="495000" cy="1450800"/>
          </a:xfrm>
          <a:prstGeom prst="roundRect">
            <a:avLst>
              <a:gd name="adj" fmla="val 16667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Black"/>
                <a:ea typeface="Lato Black"/>
                <a:cs typeface="Lato Black"/>
                <a:sym typeface="Lato Black"/>
              </a:rPr>
              <a:t>3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 Black"/>
              <a:ea typeface="Lato Black"/>
              <a:cs typeface="Lato Black"/>
              <a:sym typeface="Lato Black"/>
            </a:endParaRPr>
          </a:p>
        </p:txBody>
      </p:sp>
      <p:grpSp>
        <p:nvGrpSpPr>
          <p:cNvPr id="740" name="Google Shape;740;p59"/>
          <p:cNvGrpSpPr/>
          <p:nvPr/>
        </p:nvGrpSpPr>
        <p:grpSpPr>
          <a:xfrm>
            <a:off x="4182490" y="3530114"/>
            <a:ext cx="1260594" cy="1194542"/>
            <a:chOff x="733366" y="2116425"/>
            <a:chExt cx="2372659" cy="2305175"/>
          </a:xfrm>
        </p:grpSpPr>
        <p:sp>
          <p:nvSpPr>
            <p:cNvPr id="741" name="Google Shape;741;p59"/>
            <p:cNvSpPr/>
            <p:nvPr/>
          </p:nvSpPr>
          <p:spPr>
            <a:xfrm>
              <a:off x="1030250" y="2393125"/>
              <a:ext cx="1766400" cy="1766400"/>
            </a:xfrm>
            <a:prstGeom prst="ellipse">
              <a:avLst/>
            </a:prstGeom>
            <a:noFill/>
            <a:ln w="19050" cap="flat" cmpd="sng">
              <a:solidFill>
                <a:srgbClr val="13253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68575" rIns="68575" bIns="685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endParaRPr>
            </a:p>
          </p:txBody>
        </p:sp>
        <p:sp>
          <p:nvSpPr>
            <p:cNvPr id="742" name="Google Shape;742;p59"/>
            <p:cNvSpPr/>
            <p:nvPr/>
          </p:nvSpPr>
          <p:spPr>
            <a:xfrm>
              <a:off x="733366" y="2985350"/>
              <a:ext cx="685800" cy="685800"/>
            </a:xfrm>
            <a:prstGeom prst="ellipse">
              <a:avLst/>
            </a:prstGeom>
            <a:solidFill>
              <a:srgbClr val="F5F5F0"/>
            </a:solidFill>
            <a:ln>
              <a:noFill/>
            </a:ln>
            <a:effectLst>
              <a:outerShdw blurRad="200025" dist="19050" dir="600000" algn="bl" rotWithShape="0">
                <a:srgbClr val="000000">
                  <a:alpha val="20000"/>
                </a:srgbClr>
              </a:outerShdw>
            </a:effectLst>
          </p:spPr>
          <p:txBody>
            <a:bodyPr spcFirstLastPara="1" wrap="square" lIns="68575" tIns="68575" rIns="68575" bIns="685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endParaRPr>
            </a:p>
          </p:txBody>
        </p:sp>
        <p:sp>
          <p:nvSpPr>
            <p:cNvPr id="743" name="Google Shape;743;p59"/>
            <p:cNvSpPr/>
            <p:nvPr/>
          </p:nvSpPr>
          <p:spPr>
            <a:xfrm>
              <a:off x="2420225" y="2985350"/>
              <a:ext cx="685800" cy="685800"/>
            </a:xfrm>
            <a:prstGeom prst="ellipse">
              <a:avLst/>
            </a:prstGeom>
            <a:solidFill>
              <a:srgbClr val="F5F5F0"/>
            </a:solidFill>
            <a:ln>
              <a:noFill/>
            </a:ln>
            <a:effectLst>
              <a:outerShdw blurRad="200025" dist="19050" dir="600000" algn="bl" rotWithShape="0">
                <a:srgbClr val="000000">
                  <a:alpha val="20000"/>
                </a:srgbClr>
              </a:outerShdw>
            </a:effectLst>
          </p:spPr>
          <p:txBody>
            <a:bodyPr spcFirstLastPara="1" wrap="square" lIns="68575" tIns="68575" rIns="68575" bIns="685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endParaRPr>
            </a:p>
          </p:txBody>
        </p:sp>
        <p:sp>
          <p:nvSpPr>
            <p:cNvPr id="744" name="Google Shape;744;p59"/>
            <p:cNvSpPr/>
            <p:nvPr/>
          </p:nvSpPr>
          <p:spPr>
            <a:xfrm>
              <a:off x="1595606" y="2116425"/>
              <a:ext cx="685800" cy="685800"/>
            </a:xfrm>
            <a:prstGeom prst="ellipse">
              <a:avLst/>
            </a:prstGeom>
            <a:solidFill>
              <a:srgbClr val="F5F5F0"/>
            </a:solidFill>
            <a:ln>
              <a:noFill/>
            </a:ln>
            <a:effectLst>
              <a:outerShdw blurRad="200025" dist="19050" dir="600000" algn="bl" rotWithShape="0">
                <a:srgbClr val="000000">
                  <a:alpha val="20000"/>
                </a:srgbClr>
              </a:outerShdw>
            </a:effectLst>
          </p:spPr>
          <p:txBody>
            <a:bodyPr spcFirstLastPara="1" wrap="square" lIns="68575" tIns="68575" rIns="68575" bIns="685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endParaRPr>
            </a:p>
          </p:txBody>
        </p:sp>
        <p:sp>
          <p:nvSpPr>
            <p:cNvPr id="745" name="Google Shape;745;p59"/>
            <p:cNvSpPr/>
            <p:nvPr/>
          </p:nvSpPr>
          <p:spPr>
            <a:xfrm>
              <a:off x="1595606" y="3735800"/>
              <a:ext cx="685800" cy="685800"/>
            </a:xfrm>
            <a:prstGeom prst="ellipse">
              <a:avLst/>
            </a:prstGeom>
            <a:solidFill>
              <a:srgbClr val="F5F5F0"/>
            </a:solidFill>
            <a:ln>
              <a:noFill/>
            </a:ln>
            <a:effectLst>
              <a:outerShdw blurRad="200025" dist="19050" dir="600000" algn="bl" rotWithShape="0">
                <a:srgbClr val="000000">
                  <a:alpha val="20000"/>
                </a:srgbClr>
              </a:outerShdw>
            </a:effectLst>
          </p:spPr>
          <p:txBody>
            <a:bodyPr spcFirstLastPara="1" wrap="square" lIns="68575" tIns="68575" rIns="68575" bIns="6857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endParaRPr>
            </a:p>
          </p:txBody>
        </p:sp>
        <p:pic>
          <p:nvPicPr>
            <p:cNvPr id="746" name="Google Shape;746;p59"/>
            <p:cNvPicPr preferRelativeResize="0"/>
            <p:nvPr/>
          </p:nvPicPr>
          <p:blipFill>
            <a:blip r:embed="rId6">
              <a:alphaModFix/>
            </a:blip>
            <a:stretch>
              <a:fillRect/>
            </a:stretch>
          </p:blipFill>
          <p:spPr>
            <a:xfrm>
              <a:off x="2550536" y="3130299"/>
              <a:ext cx="438912" cy="36576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747" name="Google Shape;747;p59"/>
            <p:cNvPicPr preferRelativeResize="0"/>
            <p:nvPr/>
          </p:nvPicPr>
          <p:blipFill rotWithShape="1">
            <a:blip r:embed="rId7">
              <a:alphaModFix/>
            </a:blip>
            <a:srcRect r="-5429"/>
            <a:stretch/>
          </p:blipFill>
          <p:spPr>
            <a:xfrm>
              <a:off x="1729529" y="3882796"/>
              <a:ext cx="409651" cy="36576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748" name="Google Shape;748;p59"/>
            <p:cNvPicPr preferRelativeResize="0"/>
            <p:nvPr/>
          </p:nvPicPr>
          <p:blipFill>
            <a:blip r:embed="rId8">
              <a:alphaModFix/>
            </a:blip>
            <a:stretch>
              <a:fillRect/>
            </a:stretch>
          </p:blipFill>
          <p:spPr>
            <a:xfrm>
              <a:off x="1747826" y="2223632"/>
              <a:ext cx="373075" cy="36576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749" name="Google Shape;749;p59"/>
            <p:cNvPicPr preferRelativeResize="0"/>
            <p:nvPr/>
          </p:nvPicPr>
          <p:blipFill>
            <a:blip r:embed="rId9">
              <a:alphaModFix/>
            </a:blip>
            <a:stretch>
              <a:fillRect/>
            </a:stretch>
          </p:blipFill>
          <p:spPr>
            <a:xfrm>
              <a:off x="857790" y="3133772"/>
              <a:ext cx="365760" cy="36576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750" name="Google Shape;750;p59"/>
          <p:cNvGrpSpPr/>
          <p:nvPr/>
        </p:nvGrpSpPr>
        <p:grpSpPr>
          <a:xfrm>
            <a:off x="4346734" y="5349878"/>
            <a:ext cx="1020025" cy="879900"/>
            <a:chOff x="4194334" y="5273678"/>
            <a:chExt cx="1020025" cy="879900"/>
          </a:xfrm>
        </p:grpSpPr>
        <p:sp>
          <p:nvSpPr>
            <p:cNvPr id="751" name="Google Shape;751;p59"/>
            <p:cNvSpPr/>
            <p:nvPr/>
          </p:nvSpPr>
          <p:spPr>
            <a:xfrm>
              <a:off x="4194334" y="5273678"/>
              <a:ext cx="880500" cy="879900"/>
            </a:xfrm>
            <a:prstGeom prst="ellipse">
              <a:avLst/>
            </a:prstGeom>
            <a:solidFill>
              <a:srgbClr val="ECECEC">
                <a:alpha val="7024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"/>
                  <a:ea typeface="Lato"/>
                  <a:cs typeface="Lato"/>
                  <a:sym typeface="Lato"/>
                </a:rPr>
                <a:t> 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endParaRPr>
            </a:p>
          </p:txBody>
        </p:sp>
        <p:pic>
          <p:nvPicPr>
            <p:cNvPr id="752" name="Google Shape;752;p59"/>
            <p:cNvPicPr preferRelativeResize="0"/>
            <p:nvPr/>
          </p:nvPicPr>
          <p:blipFill>
            <a:blip r:embed="rId10">
              <a:alphaModFix/>
            </a:blip>
            <a:stretch>
              <a:fillRect/>
            </a:stretch>
          </p:blipFill>
          <p:spPr>
            <a:xfrm>
              <a:off x="4197475" y="5741607"/>
              <a:ext cx="556348" cy="38517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753" name="Google Shape;753;p59"/>
            <p:cNvPicPr preferRelativeResize="0"/>
            <p:nvPr/>
          </p:nvPicPr>
          <p:blipFill>
            <a:blip r:embed="rId11">
              <a:alphaModFix/>
            </a:blip>
            <a:stretch>
              <a:fillRect/>
            </a:stretch>
          </p:blipFill>
          <p:spPr>
            <a:xfrm>
              <a:off x="4719217" y="5273686"/>
              <a:ext cx="495142" cy="467924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54" name="Google Shape;754;p59"/>
          <p:cNvSpPr txBox="1">
            <a:spLocks noGrp="1"/>
          </p:cNvSpPr>
          <p:nvPr>
            <p:ph type="title"/>
          </p:nvPr>
        </p:nvSpPr>
        <p:spPr>
          <a:xfrm>
            <a:off x="415600" y="1226067"/>
            <a:ext cx="11360700" cy="304800"/>
          </a:xfrm>
          <a:prstGeom prst="rect">
            <a:avLst/>
          </a:prstGeom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200" b="0">
                <a:solidFill>
                  <a:schemeClr val="accent1"/>
                </a:solidFill>
                <a:latin typeface="Lato Black"/>
                <a:ea typeface="Lato Black"/>
                <a:cs typeface="Lato Black"/>
                <a:sym typeface="Lato Black"/>
              </a:rPr>
              <a:t>Medications are only </a:t>
            </a:r>
            <a:r>
              <a:rPr lang="en-US" sz="2200" b="0" u="sng">
                <a:solidFill>
                  <a:schemeClr val="accent1"/>
                </a:solidFill>
                <a:latin typeface="Lato Black"/>
                <a:ea typeface="Lato Black"/>
                <a:cs typeface="Lato Black"/>
                <a:sym typeface="Lato Black"/>
              </a:rPr>
              <a:t>one</a:t>
            </a:r>
            <a:r>
              <a:rPr lang="en-US" sz="2200" b="0">
                <a:solidFill>
                  <a:schemeClr val="accent1"/>
                </a:solidFill>
                <a:latin typeface="Lato Black"/>
                <a:ea typeface="Lato Black"/>
                <a:cs typeface="Lato Black"/>
                <a:sym typeface="Lato Black"/>
              </a:rPr>
              <a:t> part of a treatment plan </a:t>
            </a:r>
            <a:endParaRPr b="0" i="1"/>
          </a:p>
        </p:txBody>
      </p:sp>
      <p:pic>
        <p:nvPicPr>
          <p:cNvPr id="755" name="Google Shape;755;p59"/>
          <p:cNvPicPr preferRelativeResize="0"/>
          <p:nvPr/>
        </p:nvPicPr>
        <p:blipFill>
          <a:blip r:embed="rId12">
            <a:alphaModFix/>
          </a:blip>
          <a:stretch>
            <a:fillRect/>
          </a:stretch>
        </p:blipFill>
        <p:spPr>
          <a:xfrm>
            <a:off x="7675306" y="1408325"/>
            <a:ext cx="2498551" cy="5147873"/>
          </a:xfrm>
          <a:prstGeom prst="rect">
            <a:avLst/>
          </a:prstGeom>
          <a:noFill/>
          <a:ln>
            <a:noFill/>
          </a:ln>
        </p:spPr>
      </p:pic>
      <p:pic>
        <p:nvPicPr>
          <p:cNvPr id="756" name="Google Shape;756;p59"/>
          <p:cNvPicPr preferRelativeResize="0"/>
          <p:nvPr/>
        </p:nvPicPr>
        <p:blipFill>
          <a:blip r:embed="rId13">
            <a:alphaModFix/>
          </a:blip>
          <a:stretch>
            <a:fillRect/>
          </a:stretch>
        </p:blipFill>
        <p:spPr>
          <a:xfrm>
            <a:off x="7676075" y="1405312"/>
            <a:ext cx="2498551" cy="514788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9BDE52E-2228-408E-F01B-80690D34667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8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2" name="Google Shape;762;p60"/>
          <p:cNvSpPr txBox="1">
            <a:spLocks noGrp="1"/>
          </p:cNvSpPr>
          <p:nvPr>
            <p:ph type="title" idx="4294967295"/>
          </p:nvPr>
        </p:nvSpPr>
        <p:spPr>
          <a:xfrm>
            <a:off x="414533" y="536167"/>
            <a:ext cx="10766100" cy="42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45700" anchor="ctr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SzPts val="900"/>
              <a:buNone/>
            </a:pPr>
            <a:r>
              <a:rPr lang="en-US" sz="2700" b="1" dirty="0">
                <a:solidFill>
                  <a:schemeClr val="dk2"/>
                </a:solidFill>
                <a:latin typeface="CVS Health Sans" panose="020B0504020202020204" pitchFamily="34" charset="0"/>
                <a:cs typeface="Aharoni" panose="02010803020104030203" pitchFamily="2" charset="-79"/>
              </a:rPr>
              <a:t>A simple, digital hub to improve heart health</a:t>
            </a:r>
            <a:endParaRPr sz="2700" b="1" dirty="0">
              <a:latin typeface="CVS Health Sans" panose="020B0504020202020204" pitchFamily="34" charset="0"/>
              <a:cs typeface="Aharoni" panose="02010803020104030203" pitchFamily="2" charset="-79"/>
            </a:endParaRPr>
          </a:p>
        </p:txBody>
      </p:sp>
      <p:sp>
        <p:nvSpPr>
          <p:cNvPr id="763" name="Google Shape;763;p60"/>
          <p:cNvSpPr txBox="1">
            <a:spLocks noGrp="1"/>
          </p:cNvSpPr>
          <p:nvPr>
            <p:ph type="title" idx="4294967295"/>
          </p:nvPr>
        </p:nvSpPr>
        <p:spPr>
          <a:xfrm>
            <a:off x="414533" y="1082133"/>
            <a:ext cx="10974000" cy="33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45700" anchor="ctr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SzPts val="900"/>
              <a:buNone/>
            </a:pPr>
            <a:r>
              <a:rPr lang="en-US" sz="2100">
                <a:latin typeface="Lato"/>
                <a:ea typeface="Lato"/>
                <a:cs typeface="Lato"/>
                <a:sym typeface="Lato"/>
              </a:rPr>
              <a:t>Driving behavior change to lower blood pressure, cholesterol, and other CVD risk factors</a:t>
            </a:r>
            <a:endParaRPr sz="2100">
              <a:latin typeface="Lato"/>
              <a:ea typeface="Lato"/>
              <a:cs typeface="Lato"/>
              <a:sym typeface="Lato"/>
            </a:endParaRPr>
          </a:p>
        </p:txBody>
      </p:sp>
      <p:grpSp>
        <p:nvGrpSpPr>
          <p:cNvPr id="764" name="Google Shape;764;p60"/>
          <p:cNvGrpSpPr/>
          <p:nvPr/>
        </p:nvGrpSpPr>
        <p:grpSpPr>
          <a:xfrm>
            <a:off x="3468634" y="2019926"/>
            <a:ext cx="6280507" cy="3414952"/>
            <a:chOff x="1895315" y="1471984"/>
            <a:chExt cx="5028831" cy="2561278"/>
          </a:xfrm>
        </p:grpSpPr>
        <p:sp>
          <p:nvSpPr>
            <p:cNvPr id="765" name="Google Shape;765;p60"/>
            <p:cNvSpPr/>
            <p:nvPr/>
          </p:nvSpPr>
          <p:spPr>
            <a:xfrm>
              <a:off x="4048965" y="1481884"/>
              <a:ext cx="644400" cy="624600"/>
            </a:xfrm>
            <a:prstGeom prst="arc">
              <a:avLst>
                <a:gd name="adj1" fmla="val 16200000"/>
                <a:gd name="adj2" fmla="val 0"/>
              </a:avLst>
            </a:prstGeom>
            <a:noFill/>
            <a:ln w="76200" cap="flat" cmpd="sng">
              <a:solidFill>
                <a:srgbClr val="F3F3EA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endParaRPr>
            </a:p>
          </p:txBody>
        </p:sp>
        <p:sp>
          <p:nvSpPr>
            <p:cNvPr id="766" name="Google Shape;766;p60"/>
            <p:cNvSpPr/>
            <p:nvPr/>
          </p:nvSpPr>
          <p:spPr>
            <a:xfrm rot="-5400000">
              <a:off x="2510015" y="1481884"/>
              <a:ext cx="644400" cy="624600"/>
            </a:xfrm>
            <a:prstGeom prst="arc">
              <a:avLst>
                <a:gd name="adj1" fmla="val 16200000"/>
                <a:gd name="adj2" fmla="val 0"/>
              </a:avLst>
            </a:prstGeom>
            <a:noFill/>
            <a:ln w="76200" cap="flat" cmpd="sng">
              <a:solidFill>
                <a:srgbClr val="F3F3EA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endParaRPr>
            </a:p>
          </p:txBody>
        </p:sp>
        <p:cxnSp>
          <p:nvCxnSpPr>
            <p:cNvPr id="767" name="Google Shape;767;p60"/>
            <p:cNvCxnSpPr>
              <a:stCxn id="766" idx="2"/>
              <a:endCxn id="765" idx="0"/>
            </p:cNvCxnSpPr>
            <p:nvPr/>
          </p:nvCxnSpPr>
          <p:spPr>
            <a:xfrm>
              <a:off x="2832215" y="1471984"/>
              <a:ext cx="1539000" cy="9900"/>
            </a:xfrm>
            <a:prstGeom prst="straightConnector1">
              <a:avLst/>
            </a:prstGeom>
            <a:noFill/>
            <a:ln w="76200" cap="flat" cmpd="sng">
              <a:solidFill>
                <a:srgbClr val="F3F3EA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768" name="Google Shape;768;p60"/>
            <p:cNvSpPr/>
            <p:nvPr/>
          </p:nvSpPr>
          <p:spPr>
            <a:xfrm rot="10800000">
              <a:off x="4728590" y="3398762"/>
              <a:ext cx="644400" cy="624600"/>
            </a:xfrm>
            <a:prstGeom prst="arc">
              <a:avLst>
                <a:gd name="adj1" fmla="val 16200000"/>
                <a:gd name="adj2" fmla="val 0"/>
              </a:avLst>
            </a:prstGeom>
            <a:noFill/>
            <a:ln w="76200" cap="flat" cmpd="sng">
              <a:solidFill>
                <a:srgbClr val="F3F3EA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endParaRPr>
            </a:p>
          </p:txBody>
        </p:sp>
        <p:sp>
          <p:nvSpPr>
            <p:cNvPr id="769" name="Google Shape;769;p60"/>
            <p:cNvSpPr/>
            <p:nvPr/>
          </p:nvSpPr>
          <p:spPr>
            <a:xfrm rot="5400000">
              <a:off x="6267540" y="3398762"/>
              <a:ext cx="644400" cy="624600"/>
            </a:xfrm>
            <a:prstGeom prst="arc">
              <a:avLst>
                <a:gd name="adj1" fmla="val 16200000"/>
                <a:gd name="adj2" fmla="val 0"/>
              </a:avLst>
            </a:prstGeom>
            <a:noFill/>
            <a:ln w="76200" cap="flat" cmpd="sng">
              <a:solidFill>
                <a:srgbClr val="F3F3EA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endParaRPr>
            </a:p>
          </p:txBody>
        </p:sp>
        <p:cxnSp>
          <p:nvCxnSpPr>
            <p:cNvPr id="770" name="Google Shape;770;p60"/>
            <p:cNvCxnSpPr>
              <a:stCxn id="769" idx="2"/>
              <a:endCxn id="768" idx="0"/>
            </p:cNvCxnSpPr>
            <p:nvPr/>
          </p:nvCxnSpPr>
          <p:spPr>
            <a:xfrm rot="10800000">
              <a:off x="5050740" y="4023362"/>
              <a:ext cx="1539000" cy="9900"/>
            </a:xfrm>
            <a:prstGeom prst="straightConnector1">
              <a:avLst/>
            </a:prstGeom>
            <a:noFill/>
            <a:ln w="76200" cap="flat" cmpd="sng">
              <a:solidFill>
                <a:srgbClr val="F3F3EA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771" name="Google Shape;771;p60"/>
            <p:cNvCxnSpPr/>
            <p:nvPr/>
          </p:nvCxnSpPr>
          <p:spPr>
            <a:xfrm>
              <a:off x="4707967" y="2071848"/>
              <a:ext cx="0" cy="1356900"/>
            </a:xfrm>
            <a:prstGeom prst="straightConnector1">
              <a:avLst/>
            </a:prstGeom>
            <a:noFill/>
            <a:ln w="76200" cap="flat" cmpd="sng">
              <a:solidFill>
                <a:srgbClr val="F3F3EA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772" name="Google Shape;772;p60"/>
            <p:cNvCxnSpPr/>
            <p:nvPr/>
          </p:nvCxnSpPr>
          <p:spPr>
            <a:xfrm>
              <a:off x="6924145" y="2071814"/>
              <a:ext cx="0" cy="1356900"/>
            </a:xfrm>
            <a:prstGeom prst="straightConnector1">
              <a:avLst/>
            </a:prstGeom>
            <a:noFill/>
            <a:ln w="76200" cap="flat" cmpd="sng">
              <a:solidFill>
                <a:srgbClr val="F3F3EA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773" name="Google Shape;773;p60"/>
            <p:cNvSpPr/>
            <p:nvPr/>
          </p:nvSpPr>
          <p:spPr>
            <a:xfrm rot="5400000">
              <a:off x="1885415" y="1783646"/>
              <a:ext cx="644400" cy="624600"/>
            </a:xfrm>
            <a:prstGeom prst="arc">
              <a:avLst>
                <a:gd name="adj1" fmla="val 16200000"/>
                <a:gd name="adj2" fmla="val 0"/>
              </a:avLst>
            </a:prstGeom>
            <a:noFill/>
            <a:ln w="76200" cap="flat" cmpd="sng">
              <a:solidFill>
                <a:srgbClr val="F3F3EA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endParaRPr>
            </a:p>
          </p:txBody>
        </p:sp>
        <p:cxnSp>
          <p:nvCxnSpPr>
            <p:cNvPr id="774" name="Google Shape;774;p60"/>
            <p:cNvCxnSpPr>
              <a:stCxn id="773" idx="2"/>
            </p:cNvCxnSpPr>
            <p:nvPr/>
          </p:nvCxnSpPr>
          <p:spPr>
            <a:xfrm rot="10800000">
              <a:off x="1911815" y="2418146"/>
              <a:ext cx="295800" cy="0"/>
            </a:xfrm>
            <a:prstGeom prst="straightConnector1">
              <a:avLst/>
            </a:prstGeom>
            <a:noFill/>
            <a:ln w="76200" cap="flat" cmpd="sng">
              <a:solidFill>
                <a:srgbClr val="F3F3EA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sp>
        <p:nvSpPr>
          <p:cNvPr id="775" name="Google Shape;775;p60"/>
          <p:cNvSpPr/>
          <p:nvPr/>
        </p:nvSpPr>
        <p:spPr>
          <a:xfrm>
            <a:off x="3282100" y="4222746"/>
            <a:ext cx="2697900" cy="1352400"/>
          </a:xfrm>
          <a:prstGeom prst="roundRect">
            <a:avLst>
              <a:gd name="adj" fmla="val 16667"/>
            </a:avLst>
          </a:prstGeom>
          <a:noFill/>
          <a:ln w="76200" cap="flat" cmpd="sng">
            <a:solidFill>
              <a:srgbClr val="F4CCCC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9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/>
              <a:ea typeface="Lato"/>
              <a:cs typeface="Lato"/>
              <a:sym typeface="Lato"/>
            </a:endParaRPr>
          </a:p>
        </p:txBody>
      </p:sp>
      <p:grpSp>
        <p:nvGrpSpPr>
          <p:cNvPr id="776" name="Google Shape;776;p60"/>
          <p:cNvGrpSpPr/>
          <p:nvPr/>
        </p:nvGrpSpPr>
        <p:grpSpPr>
          <a:xfrm>
            <a:off x="5649798" y="4529311"/>
            <a:ext cx="667648" cy="667648"/>
            <a:chOff x="7502697" y="3273050"/>
            <a:chExt cx="1025100" cy="1025100"/>
          </a:xfrm>
        </p:grpSpPr>
        <p:sp>
          <p:nvSpPr>
            <p:cNvPr id="777" name="Google Shape;777;p60"/>
            <p:cNvSpPr/>
            <p:nvPr/>
          </p:nvSpPr>
          <p:spPr>
            <a:xfrm>
              <a:off x="7502697" y="3273050"/>
              <a:ext cx="1025100" cy="1025100"/>
            </a:xfrm>
            <a:prstGeom prst="ellipse">
              <a:avLst/>
            </a:prstGeom>
            <a:solidFill>
              <a:srgbClr val="F5F5F0"/>
            </a:solidFill>
            <a:ln>
              <a:noFill/>
            </a:ln>
            <a:effectLst>
              <a:outerShdw blurRad="171450" dist="28575" dir="7080000" algn="bl" rotWithShape="0">
                <a:srgbClr val="000000">
                  <a:alpha val="14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endParaRPr>
            </a:p>
          </p:txBody>
        </p:sp>
        <p:pic>
          <p:nvPicPr>
            <p:cNvPr id="778" name="Google Shape;778;p60"/>
            <p:cNvPicPr preferRelativeResize="0"/>
            <p:nvPr/>
          </p:nvPicPr>
          <p:blipFill rotWithShape="1">
            <a:blip r:embed="rId3">
              <a:alphaModFix/>
            </a:blip>
            <a:srcRect l="327" r="337"/>
            <a:stretch/>
          </p:blipFill>
          <p:spPr>
            <a:xfrm>
              <a:off x="7752909" y="3523250"/>
              <a:ext cx="524677" cy="524700"/>
            </a:xfrm>
            <a:prstGeom prst="rect">
              <a:avLst/>
            </a:prstGeom>
            <a:noFill/>
            <a:ln>
              <a:noFill/>
            </a:ln>
            <a:effectLst>
              <a:outerShdw blurRad="171450" dist="19050" dir="7080000" algn="bl" rotWithShape="0">
                <a:srgbClr val="000000">
                  <a:alpha val="14000"/>
                </a:srgbClr>
              </a:outerShdw>
            </a:effectLst>
          </p:spPr>
        </p:pic>
      </p:grpSp>
      <p:grpSp>
        <p:nvGrpSpPr>
          <p:cNvPr id="779" name="Google Shape;779;p60"/>
          <p:cNvGrpSpPr/>
          <p:nvPr/>
        </p:nvGrpSpPr>
        <p:grpSpPr>
          <a:xfrm>
            <a:off x="4277246" y="3891934"/>
            <a:ext cx="667648" cy="667648"/>
            <a:chOff x="5583447" y="1705913"/>
            <a:chExt cx="1025100" cy="1025100"/>
          </a:xfrm>
        </p:grpSpPr>
        <p:sp>
          <p:nvSpPr>
            <p:cNvPr id="780" name="Google Shape;780;p60"/>
            <p:cNvSpPr/>
            <p:nvPr/>
          </p:nvSpPr>
          <p:spPr>
            <a:xfrm>
              <a:off x="5583447" y="1705913"/>
              <a:ext cx="1025100" cy="1025100"/>
            </a:xfrm>
            <a:prstGeom prst="ellipse">
              <a:avLst/>
            </a:prstGeom>
            <a:solidFill>
              <a:srgbClr val="F5F5F0"/>
            </a:solidFill>
            <a:ln>
              <a:noFill/>
            </a:ln>
            <a:effectLst>
              <a:outerShdw blurRad="171450" dist="19050" dir="7080000" algn="bl" rotWithShape="0">
                <a:srgbClr val="000000">
                  <a:alpha val="14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endParaRPr>
            </a:p>
          </p:txBody>
        </p:sp>
        <p:pic>
          <p:nvPicPr>
            <p:cNvPr id="781" name="Google Shape;781;p60"/>
            <p:cNvPicPr preferRelativeResize="0"/>
            <p:nvPr/>
          </p:nvPicPr>
          <p:blipFill rotWithShape="1">
            <a:blip r:embed="rId4">
              <a:alphaModFix/>
            </a:blip>
            <a:srcRect t="15413" b="10087"/>
            <a:stretch/>
          </p:blipFill>
          <p:spPr>
            <a:xfrm>
              <a:off x="5789150" y="1989863"/>
              <a:ext cx="613700" cy="457200"/>
            </a:xfrm>
            <a:prstGeom prst="rect">
              <a:avLst/>
            </a:prstGeom>
            <a:noFill/>
            <a:ln>
              <a:noFill/>
            </a:ln>
            <a:effectLst>
              <a:outerShdw blurRad="171450" dist="19050" dir="7080000" algn="bl" rotWithShape="0">
                <a:srgbClr val="000000">
                  <a:alpha val="14000"/>
                </a:srgbClr>
              </a:outerShdw>
            </a:effectLst>
          </p:spPr>
        </p:pic>
      </p:grpSp>
      <p:grpSp>
        <p:nvGrpSpPr>
          <p:cNvPr id="782" name="Google Shape;782;p60"/>
          <p:cNvGrpSpPr/>
          <p:nvPr/>
        </p:nvGrpSpPr>
        <p:grpSpPr>
          <a:xfrm>
            <a:off x="5082373" y="3886331"/>
            <a:ext cx="667648" cy="667648"/>
            <a:chOff x="6928397" y="2077038"/>
            <a:chExt cx="1025100" cy="1025100"/>
          </a:xfrm>
        </p:grpSpPr>
        <p:sp>
          <p:nvSpPr>
            <p:cNvPr id="783" name="Google Shape;783;p60"/>
            <p:cNvSpPr/>
            <p:nvPr/>
          </p:nvSpPr>
          <p:spPr>
            <a:xfrm>
              <a:off x="6928397" y="2077038"/>
              <a:ext cx="1025100" cy="1025100"/>
            </a:xfrm>
            <a:prstGeom prst="ellipse">
              <a:avLst/>
            </a:prstGeom>
            <a:solidFill>
              <a:srgbClr val="F5F5F0"/>
            </a:solidFill>
            <a:ln>
              <a:noFill/>
            </a:ln>
            <a:effectLst>
              <a:outerShdw blurRad="171450" dist="19050" dir="7080000" algn="bl" rotWithShape="0">
                <a:srgbClr val="000000">
                  <a:alpha val="14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endParaRPr>
            </a:p>
          </p:txBody>
        </p:sp>
        <p:pic>
          <p:nvPicPr>
            <p:cNvPr id="784" name="Google Shape;784;p60"/>
            <p:cNvPicPr preferRelativeResize="0"/>
            <p:nvPr/>
          </p:nvPicPr>
          <p:blipFill rotWithShape="1">
            <a:blip r:embed="rId5">
              <a:alphaModFix/>
            </a:blip>
            <a:srcRect t="377" b="367"/>
            <a:stretch/>
          </p:blipFill>
          <p:spPr>
            <a:xfrm>
              <a:off x="7221030" y="2327238"/>
              <a:ext cx="439834" cy="524700"/>
            </a:xfrm>
            <a:prstGeom prst="rect">
              <a:avLst/>
            </a:prstGeom>
            <a:noFill/>
            <a:ln>
              <a:noFill/>
            </a:ln>
            <a:effectLst>
              <a:outerShdw blurRad="171450" dist="19050" dir="7080000" algn="bl" rotWithShape="0">
                <a:srgbClr val="000000">
                  <a:alpha val="14000"/>
                </a:srgbClr>
              </a:outerShdw>
            </a:effectLst>
          </p:spPr>
        </p:pic>
      </p:grpSp>
      <p:grpSp>
        <p:nvGrpSpPr>
          <p:cNvPr id="785" name="Google Shape;785;p60"/>
          <p:cNvGrpSpPr/>
          <p:nvPr/>
        </p:nvGrpSpPr>
        <p:grpSpPr>
          <a:xfrm>
            <a:off x="5082374" y="5239279"/>
            <a:ext cx="667648" cy="667648"/>
            <a:chOff x="6705597" y="4545250"/>
            <a:chExt cx="1025100" cy="1025100"/>
          </a:xfrm>
        </p:grpSpPr>
        <p:sp>
          <p:nvSpPr>
            <p:cNvPr id="786" name="Google Shape;786;p60"/>
            <p:cNvSpPr/>
            <p:nvPr/>
          </p:nvSpPr>
          <p:spPr>
            <a:xfrm>
              <a:off x="6705597" y="4545250"/>
              <a:ext cx="1025100" cy="1025100"/>
            </a:xfrm>
            <a:prstGeom prst="ellipse">
              <a:avLst/>
            </a:prstGeom>
            <a:solidFill>
              <a:srgbClr val="F5F5F0"/>
            </a:solidFill>
            <a:ln>
              <a:noFill/>
            </a:ln>
            <a:effectLst>
              <a:outerShdw blurRad="171450" dist="19050" dir="7080000" algn="bl" rotWithShape="0">
                <a:srgbClr val="000000">
                  <a:alpha val="14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endParaRPr>
            </a:p>
          </p:txBody>
        </p:sp>
        <p:pic>
          <p:nvPicPr>
            <p:cNvPr id="787" name="Google Shape;787;p60"/>
            <p:cNvPicPr preferRelativeResize="0"/>
            <p:nvPr/>
          </p:nvPicPr>
          <p:blipFill>
            <a:blip r:embed="rId6">
              <a:alphaModFix/>
            </a:blip>
            <a:stretch>
              <a:fillRect/>
            </a:stretch>
          </p:blipFill>
          <p:spPr>
            <a:xfrm>
              <a:off x="6911297" y="4803604"/>
              <a:ext cx="613700" cy="508392"/>
            </a:xfrm>
            <a:prstGeom prst="rect">
              <a:avLst/>
            </a:prstGeom>
            <a:noFill/>
            <a:ln>
              <a:noFill/>
            </a:ln>
            <a:effectLst>
              <a:outerShdw blurRad="171450" dist="19050" dir="7080000" algn="bl" rotWithShape="0">
                <a:srgbClr val="000000">
                  <a:alpha val="14000"/>
                </a:srgbClr>
              </a:outerShdw>
            </a:effectLst>
          </p:spPr>
        </p:pic>
      </p:grpSp>
      <p:grpSp>
        <p:nvGrpSpPr>
          <p:cNvPr id="788" name="Google Shape;788;p60"/>
          <p:cNvGrpSpPr/>
          <p:nvPr/>
        </p:nvGrpSpPr>
        <p:grpSpPr>
          <a:xfrm>
            <a:off x="4277252" y="5239294"/>
            <a:ext cx="667648" cy="667648"/>
            <a:chOff x="5293547" y="4723425"/>
            <a:chExt cx="1025100" cy="1025100"/>
          </a:xfrm>
        </p:grpSpPr>
        <p:sp>
          <p:nvSpPr>
            <p:cNvPr id="789" name="Google Shape;789;p60"/>
            <p:cNvSpPr/>
            <p:nvPr/>
          </p:nvSpPr>
          <p:spPr>
            <a:xfrm>
              <a:off x="5293547" y="4723425"/>
              <a:ext cx="1025100" cy="1025100"/>
            </a:xfrm>
            <a:prstGeom prst="ellipse">
              <a:avLst/>
            </a:prstGeom>
            <a:solidFill>
              <a:srgbClr val="F5F5F0"/>
            </a:solidFill>
            <a:ln>
              <a:noFill/>
            </a:ln>
            <a:effectLst>
              <a:outerShdw blurRad="171450" dist="19050" dir="7080000" algn="bl" rotWithShape="0">
                <a:srgbClr val="000000">
                  <a:alpha val="14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endParaRPr>
            </a:p>
          </p:txBody>
        </p:sp>
        <p:pic>
          <p:nvPicPr>
            <p:cNvPr id="790" name="Google Shape;790;p60"/>
            <p:cNvPicPr preferRelativeResize="0"/>
            <p:nvPr/>
          </p:nvPicPr>
          <p:blipFill>
            <a:blip r:embed="rId7">
              <a:alphaModFix/>
            </a:blip>
            <a:stretch>
              <a:fillRect/>
            </a:stretch>
          </p:blipFill>
          <p:spPr>
            <a:xfrm>
              <a:off x="5527495" y="4973625"/>
              <a:ext cx="557204" cy="524700"/>
            </a:xfrm>
            <a:prstGeom prst="rect">
              <a:avLst/>
            </a:prstGeom>
            <a:noFill/>
            <a:ln>
              <a:noFill/>
            </a:ln>
            <a:effectLst>
              <a:outerShdw blurRad="171450" dist="19050" dir="7080000" algn="bl" rotWithShape="0">
                <a:srgbClr val="000000">
                  <a:alpha val="14000"/>
                </a:srgbClr>
              </a:outerShdw>
            </a:effectLst>
          </p:spPr>
        </p:pic>
      </p:grpSp>
      <p:sp>
        <p:nvSpPr>
          <p:cNvPr id="791" name="Google Shape;791;p60"/>
          <p:cNvSpPr txBox="1"/>
          <p:nvPr/>
        </p:nvSpPr>
        <p:spPr>
          <a:xfrm>
            <a:off x="4482984" y="2348038"/>
            <a:ext cx="2187900" cy="118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132535"/>
                </a:solidFill>
                <a:effectLst/>
                <a:uLnTx/>
                <a:uFillTx/>
                <a:latin typeface="Lato Black"/>
                <a:ea typeface="Lato Black"/>
                <a:cs typeface="Lato Black"/>
                <a:sym typeface="Lato Black"/>
              </a:rPr>
              <a:t>Tracking </a:t>
            </a:r>
            <a:endParaRPr kumimoji="0" sz="2000" b="0" i="0" u="none" strike="noStrike" kern="0" cap="none" spc="0" normalizeH="0" baseline="0" noProof="0">
              <a:ln>
                <a:noFill/>
              </a:ln>
              <a:solidFill>
                <a:srgbClr val="132535"/>
              </a:solidFill>
              <a:effectLst/>
              <a:uLnTx/>
              <a:uFillTx/>
              <a:latin typeface="Lato Black"/>
              <a:ea typeface="Lato Black"/>
              <a:cs typeface="Lato Black"/>
              <a:sym typeface="Lato Black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132535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  <a:t>blood pressure, cholesterol, medication, activity, and weight</a:t>
            </a: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132535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92" name="Google Shape;792;p60"/>
          <p:cNvSpPr txBox="1"/>
          <p:nvPr/>
        </p:nvSpPr>
        <p:spPr>
          <a:xfrm>
            <a:off x="7235849" y="2348038"/>
            <a:ext cx="2187900" cy="118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132535"/>
                </a:solidFill>
                <a:effectLst/>
                <a:uLnTx/>
                <a:uFillTx/>
                <a:latin typeface="Lato Black"/>
                <a:ea typeface="Lato Black"/>
                <a:cs typeface="Lato Black"/>
                <a:sym typeface="Lato Black"/>
              </a:rPr>
              <a:t>Detecting </a:t>
            </a:r>
            <a:endParaRPr kumimoji="0" sz="2000" b="0" i="0" u="none" strike="noStrike" kern="0" cap="none" spc="0" normalizeH="0" baseline="0" noProof="0">
              <a:ln>
                <a:noFill/>
              </a:ln>
              <a:solidFill>
                <a:srgbClr val="132535"/>
              </a:solidFill>
              <a:effectLst/>
              <a:uLnTx/>
              <a:uFillTx/>
              <a:latin typeface="Lato Black"/>
              <a:ea typeface="Lato Black"/>
              <a:cs typeface="Lato Black"/>
              <a:sym typeface="Lato Black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132535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  <a:t>irregularities in </a:t>
            </a:r>
            <a:br>
              <a: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132535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</a:br>
            <a:r>
              <a: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132535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  <a:t>blood pressure and pulse</a:t>
            </a: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132535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93" name="Google Shape;793;p60"/>
          <p:cNvSpPr txBox="1"/>
          <p:nvPr/>
        </p:nvSpPr>
        <p:spPr>
          <a:xfrm>
            <a:off x="7219269" y="4551811"/>
            <a:ext cx="2187900" cy="72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132535"/>
                </a:solidFill>
                <a:effectLst/>
                <a:uLnTx/>
                <a:uFillTx/>
                <a:latin typeface="Lato Black"/>
                <a:ea typeface="Lato Black"/>
                <a:cs typeface="Lato Black"/>
                <a:sym typeface="Lato Black"/>
              </a:rPr>
              <a:t>Digital coaching</a:t>
            </a:r>
            <a:endParaRPr kumimoji="0" sz="2000" b="0" i="0" u="none" strike="noStrike" kern="0" cap="none" spc="0" normalizeH="0" baseline="0" noProof="0">
              <a:ln>
                <a:noFill/>
              </a:ln>
              <a:solidFill>
                <a:srgbClr val="132535"/>
              </a:solidFill>
              <a:effectLst/>
              <a:uLnTx/>
              <a:uFillTx/>
              <a:latin typeface="Lato Black"/>
              <a:ea typeface="Lato Black"/>
              <a:cs typeface="Lato Black"/>
              <a:sym typeface="Lato Black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132535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  <a:t>personalized with AI</a:t>
            </a: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132535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94" name="Google Shape;794;p60"/>
          <p:cNvSpPr txBox="1"/>
          <p:nvPr/>
        </p:nvSpPr>
        <p:spPr>
          <a:xfrm>
            <a:off x="9964396" y="2348038"/>
            <a:ext cx="1831500" cy="95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132535"/>
                </a:solidFill>
                <a:effectLst/>
                <a:uLnTx/>
                <a:uFillTx/>
                <a:latin typeface="Lato Black"/>
                <a:ea typeface="Lato Black"/>
                <a:cs typeface="Lato Black"/>
                <a:sym typeface="Lato Black"/>
              </a:rPr>
              <a:t>Health equity </a:t>
            </a:r>
            <a:endParaRPr kumimoji="0" sz="2000" b="0" i="0" u="none" strike="noStrike" kern="0" cap="none" spc="0" normalizeH="0" baseline="0" noProof="0">
              <a:ln>
                <a:noFill/>
              </a:ln>
              <a:solidFill>
                <a:srgbClr val="132535"/>
              </a:solidFill>
              <a:effectLst/>
              <a:uLnTx/>
              <a:uFillTx/>
              <a:latin typeface="Lato Black"/>
              <a:ea typeface="Lato Black"/>
              <a:cs typeface="Lato Black"/>
              <a:sym typeface="Lato Black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132535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  <a:t>and women’s heart health</a:t>
            </a: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132535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95" name="Google Shape;795;p60"/>
          <p:cNvSpPr txBox="1"/>
          <p:nvPr/>
        </p:nvSpPr>
        <p:spPr>
          <a:xfrm>
            <a:off x="9950527" y="4551811"/>
            <a:ext cx="1831500" cy="118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132535"/>
                </a:solidFill>
                <a:effectLst/>
                <a:uLnTx/>
                <a:uFillTx/>
                <a:latin typeface="Lato Black"/>
                <a:ea typeface="Lato Black"/>
                <a:cs typeface="Lato Black"/>
                <a:sym typeface="Lato Black"/>
              </a:rPr>
              <a:t>Reporting </a:t>
            </a:r>
            <a:endParaRPr kumimoji="0" sz="2000" b="0" i="0" u="none" strike="noStrike" kern="0" cap="none" spc="0" normalizeH="0" baseline="0" noProof="0">
              <a:ln>
                <a:noFill/>
              </a:ln>
              <a:solidFill>
                <a:srgbClr val="132535"/>
              </a:solidFill>
              <a:effectLst/>
              <a:uLnTx/>
              <a:uFillTx/>
              <a:latin typeface="Lato Black"/>
              <a:ea typeface="Lato Black"/>
              <a:cs typeface="Lato Black"/>
              <a:sym typeface="Lato Black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132535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  <a:t>shareable with physicians and care managers</a:t>
            </a: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132535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796" name="Google Shape;796;p60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4056977" y="2454063"/>
            <a:ext cx="365668" cy="365668"/>
          </a:xfrm>
          <a:prstGeom prst="rect">
            <a:avLst/>
          </a:prstGeom>
          <a:noFill/>
          <a:ln>
            <a:noFill/>
          </a:ln>
        </p:spPr>
      </p:pic>
      <p:pic>
        <p:nvPicPr>
          <p:cNvPr id="797" name="Google Shape;797;p60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6807410" y="2454063"/>
            <a:ext cx="365668" cy="365668"/>
          </a:xfrm>
          <a:prstGeom prst="rect">
            <a:avLst/>
          </a:prstGeom>
          <a:noFill/>
          <a:ln>
            <a:noFill/>
          </a:ln>
        </p:spPr>
      </p:pic>
      <p:pic>
        <p:nvPicPr>
          <p:cNvPr id="798" name="Google Shape;798;p60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6807399" y="4628863"/>
            <a:ext cx="365668" cy="365668"/>
          </a:xfrm>
          <a:prstGeom prst="rect">
            <a:avLst/>
          </a:prstGeom>
          <a:noFill/>
          <a:ln>
            <a:noFill/>
          </a:ln>
        </p:spPr>
      </p:pic>
      <p:pic>
        <p:nvPicPr>
          <p:cNvPr id="799" name="Google Shape;799;p60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9538677" y="2433113"/>
            <a:ext cx="365668" cy="365668"/>
          </a:xfrm>
          <a:prstGeom prst="rect">
            <a:avLst/>
          </a:prstGeom>
          <a:noFill/>
          <a:ln>
            <a:noFill/>
          </a:ln>
        </p:spPr>
      </p:pic>
      <p:pic>
        <p:nvPicPr>
          <p:cNvPr id="800" name="Google Shape;800;p60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9538666" y="4636884"/>
            <a:ext cx="365668" cy="365668"/>
          </a:xfrm>
          <a:prstGeom prst="rect">
            <a:avLst/>
          </a:prstGeom>
          <a:noFill/>
          <a:ln>
            <a:noFill/>
          </a:ln>
        </p:spPr>
      </p:pic>
      <p:pic>
        <p:nvPicPr>
          <p:cNvPr id="801" name="Google Shape;801;p60"/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1676400" y="1686862"/>
            <a:ext cx="2311950" cy="4431238"/>
          </a:xfrm>
          <a:prstGeom prst="rect">
            <a:avLst/>
          </a:prstGeom>
          <a:noFill/>
          <a:ln>
            <a:noFill/>
          </a:ln>
        </p:spPr>
      </p:pic>
      <p:pic>
        <p:nvPicPr>
          <p:cNvPr id="802" name="Google Shape;802;p60"/>
          <p:cNvPicPr preferRelativeResize="0"/>
          <p:nvPr/>
        </p:nvPicPr>
        <p:blipFill rotWithShape="1">
          <a:blip r:embed="rId10">
            <a:alphaModFix/>
          </a:blip>
          <a:srcRect b="8441"/>
          <a:stretch/>
        </p:blipFill>
        <p:spPr>
          <a:xfrm>
            <a:off x="396100" y="3759537"/>
            <a:ext cx="2533776" cy="2754293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FA8A9AA-E600-3400-B009-AB2784C2FBC2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9</a:t>
            </a:fld>
            <a:endParaRPr lang="en-US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Theme">
      <a:majorFont>
        <a:latin typeface="Aptos Display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ptos" panose="020B000402020202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Hello Heart">
  <a:themeElements>
    <a:clrScheme name="Modern Writer">
      <a:dk1>
        <a:srgbClr val="F72246"/>
      </a:dk1>
      <a:lt1>
        <a:srgbClr val="FFFFFF"/>
      </a:lt1>
      <a:dk2>
        <a:srgbClr val="132535"/>
      </a:dk2>
      <a:lt2>
        <a:srgbClr val="F5F5F0"/>
      </a:lt2>
      <a:accent1>
        <a:srgbClr val="1D9696"/>
      </a:accent1>
      <a:accent2>
        <a:srgbClr val="BA20A4"/>
      </a:accent2>
      <a:accent3>
        <a:srgbClr val="FFB71B"/>
      </a:accent3>
      <a:accent4>
        <a:srgbClr val="F5F5F0"/>
      </a:accent4>
      <a:accent5>
        <a:srgbClr val="CCCCCC"/>
      </a:accent5>
      <a:accent6>
        <a:srgbClr val="F42246"/>
      </a:accent6>
      <a:hlink>
        <a:srgbClr val="1D9696"/>
      </a:hlink>
      <a:folHlink>
        <a:srgbClr val="00838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office theme">
  <a:themeElements>
    <a:clrScheme name="Office">
      <a:dk1>
        <a:srgbClr val="000000"/>
      </a:dk1>
      <a:lt1>
        <a:srgbClr val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CVS_Health_PPT_Executive_Template">
  <a:themeElements>
    <a:clrScheme name="PBM Blue Theme">
      <a:dk1>
        <a:srgbClr val="000000"/>
      </a:dk1>
      <a:lt1>
        <a:srgbClr val="FFFFFF"/>
      </a:lt1>
      <a:dk2>
        <a:srgbClr val="3F3F3F"/>
      </a:dk2>
      <a:lt2>
        <a:srgbClr val="C0C0C0"/>
      </a:lt2>
      <a:accent1>
        <a:srgbClr val="0A4B8C"/>
      </a:accent1>
      <a:accent2>
        <a:srgbClr val="267AC0"/>
      </a:accent2>
      <a:accent3>
        <a:srgbClr val="6AB2E6"/>
      </a:accent3>
      <a:accent4>
        <a:srgbClr val="A7D2F4"/>
      </a:accent4>
      <a:accent5>
        <a:srgbClr val="646464"/>
      </a:accent5>
      <a:accent6>
        <a:srgbClr val="868686"/>
      </a:accent6>
      <a:hlink>
        <a:srgbClr val="3F3F3F"/>
      </a:hlink>
      <a:folHlink>
        <a:srgbClr val="A5A5A5"/>
      </a:folHlink>
    </a:clrScheme>
    <a:fontScheme name="CVS Fonts">
      <a:majorFont>
        <a:latin typeface="CVS Health Sans"/>
        <a:ea typeface=""/>
        <a:cs typeface=""/>
      </a:majorFont>
      <a:minorFont>
        <a:latin typeface="CVS Health Sans"/>
        <a:ea typeface=""/>
        <a:cs typeface=""/>
      </a:minorFont>
    </a:fontScheme>
    <a:fmtScheme name="Flat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>
            <a:shade val="65000"/>
          </a:schemeClr>
        </a:solidFill>
      </a:fillStyleLst>
      <a:lnStyleLst>
        <a:ln w="3175" cap="flat" cmpd="sng" algn="ctr">
          <a:solidFill>
            <a:schemeClr val="phClr">
              <a:shade val="65000"/>
            </a:schemeClr>
          </a:solidFill>
          <a:prstDash val="solid"/>
        </a:ln>
        <a:ln w="3175" cap="flat" cmpd="sng" algn="ctr">
          <a:solidFill>
            <a:schemeClr val="phClr"/>
          </a:solidFill>
          <a:prstDash val="solid"/>
        </a:ln>
        <a:ln w="0" cap="flat" cmpd="sng" algn="ctr">
          <a:noFill/>
        </a:ln>
      </a:lnStyleLst>
      <a:effectStyleLst>
        <a:effectStyle>
          <a:effectLst>
            <a:blur/>
          </a:effectLst>
        </a:effectStyle>
        <a:effectStyle>
          <a:effectLst>
            <a:blur/>
          </a:effectLst>
        </a:effectStyle>
        <a:effectStyle>
          <a:effectLst>
            <a:fillOverlay blend="darken">
              <a:solidFill>
                <a:schemeClr val="phClr">
                  <a:shade val="30000"/>
                </a:schemeClr>
              </a:solidFill>
            </a:fillOverlay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5"/>
        </a:solidFill>
        <a:ln>
          <a:noFill/>
          <a:miter lim="800000"/>
        </a:ln>
        <a:effectLst/>
      </a:spPr>
      <a:bodyPr rtlCol="0" anchor="ctr"/>
      <a:lstStyle>
        <a:defPPr algn="ctr">
          <a:defRPr sz="1500" b="1" dirty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CVS Health Red">
      <a:srgbClr val="CC0000"/>
    </a:custClr>
    <a:custClr name="PPT Red Dark">
      <a:srgbClr val="9E0000"/>
    </a:custClr>
    <a:custClr name="Gray Extralight">
      <a:srgbClr val="E9E9E9"/>
    </a:custClr>
    <a:custClr name="PPT Gray Light">
      <a:srgbClr val="C0C0C0"/>
    </a:custClr>
    <a:custClr name="PPT Gray Medium">
      <a:srgbClr val="868686"/>
    </a:custClr>
    <a:custClr name="PPT Gray Dark">
      <a:srgbClr val="646464"/>
    </a:custClr>
    <a:custClr name="Aetna Violet">
      <a:srgbClr val="7D3F98"/>
    </a:custClr>
    <a:custClr name="PPT Violet Dark">
      <a:srgbClr val="563D82"/>
    </a:custClr>
    <a:custClr name="Navy Light">
      <a:srgbClr val="0A4B8C"/>
    </a:custClr>
    <a:custClr name="Navy">
      <a:srgbClr val="0B315E"/>
    </a:custClr>
    <a:custClr name="Navy Light">
      <a:srgbClr val="0A4B8C"/>
    </a:custClr>
    <a:custClr name="PPT Blue Dark">
      <a:srgbClr val="267AC0"/>
    </a:custClr>
    <a:custClr name="PPT Teal Extradark">
      <a:srgbClr val="00787E"/>
    </a:custClr>
    <a:custClr name="Teal Dark">
      <a:srgbClr val="00A78E"/>
    </a:custClr>
    <a:custClr name="PPT Gray Dark">
      <a:srgbClr val="646464"/>
    </a:custClr>
    <a:custClr name="PPT Gray Medium">
      <a:srgbClr val="868686"/>
    </a:custClr>
    <a:custClr name="PPT Green Extradark">
      <a:srgbClr val="487A10"/>
    </a:custClr>
    <a:custClr name="Green Dark">
      <a:srgbClr val="61A515"/>
    </a:custClr>
    <a:custClr name="PPT Orange Extradark">
      <a:srgbClr val="CE430C"/>
    </a:custClr>
    <a:custClr name="Orange Dark">
      <a:srgbClr val="F4642A"/>
    </a:custClr>
  </a:custClrLst>
  <a:extLst>
    <a:ext uri="{05A4C25C-085E-4340-85A3-A5531E510DB2}">
      <thm15:themeFamily xmlns:thm15="http://schemas.microsoft.com/office/thememl/2012/main" name="Presentation2" id="{B1C1A04F-3C82-CD4D-AB5C-C6B508022F56}" vid="{5AA5BB87-DDB4-6446-8792-44BBA9F09DF6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TaxCatchAll xmlns="565fee76-5c69-47ec-8d5c-de6706c05df9" xsi:nil="true"/>
    <_ip_UnifiedCompliancePolicyProperties xmlns="http://schemas.microsoft.com/sharepoint/v3" xsi:nil="true"/>
    <lcf76f155ced4ddcb4097134ff3c332f xmlns="f9bbe8b6-5114-4b7f-a6e4-c9cc42d32f28">
      <Terms xmlns="http://schemas.microsoft.com/office/infopath/2007/PartnerControls"/>
    </lcf76f155ced4ddcb4097134ff3c332f>
    <SharedWithUsers xmlns="565fee76-5c69-47ec-8d5c-de6706c05df9">
      <UserInfo>
        <DisplayName>Cragin Mosteller</DisplayName>
        <AccountId>40</AccountId>
        <AccountType/>
      </UserInfo>
      <UserInfo>
        <DisplayName>Krista Sinibaldi</DisplayName>
        <AccountId>7751</AccountId>
        <AccountType/>
      </UserInfo>
      <UserInfo>
        <DisplayName>Ginger Delegal</DisplayName>
        <AccountId>31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A6F73050F6844468BAB12C587612892" ma:contentTypeVersion="20" ma:contentTypeDescription="Create a new document." ma:contentTypeScope="" ma:versionID="c828ce6ac3ea40107310b8c2a5ff2fa0">
  <xsd:schema xmlns:xsd="http://www.w3.org/2001/XMLSchema" xmlns:xs="http://www.w3.org/2001/XMLSchema" xmlns:p="http://schemas.microsoft.com/office/2006/metadata/properties" xmlns:ns1="http://schemas.microsoft.com/sharepoint/v3" xmlns:ns2="f9bbe8b6-5114-4b7f-a6e4-c9cc42d32f28" xmlns:ns3="565fee76-5c69-47ec-8d5c-de6706c05df9" targetNamespace="http://schemas.microsoft.com/office/2006/metadata/properties" ma:root="true" ma:fieldsID="30d058f8735b8e2d5fdf9c7a57e71c91" ns1:_="" ns2:_="" ns3:_="">
    <xsd:import namespace="http://schemas.microsoft.com/sharepoint/v3"/>
    <xsd:import namespace="f9bbe8b6-5114-4b7f-a6e4-c9cc42d32f28"/>
    <xsd:import namespace="565fee76-5c69-47ec-8d5c-de6706c05df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1:_ip_UnifiedCompliancePolicyProperties" minOccurs="0"/>
                <xsd:element ref="ns1:_ip_UnifiedCompliancePolicyUIAction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3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4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bbe8b6-5114-4b7f-a6e4-c9cc42d32f2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7f8e0c7d-1306-4f30-8931-762c1820acf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65fee76-5c69-47ec-8d5c-de6706c05df9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c66a42c1-3c32-4b0f-9346-66f8283914e4}" ma:internalName="TaxCatchAll" ma:showField="CatchAllData" ma:web="565fee76-5c69-47ec-8d5c-de6706c05df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E880ABF-22DA-4D6D-9EC1-53034D92B51F}">
  <ds:schemaRefs>
    <ds:schemaRef ds:uri="http://schemas.microsoft.com/sharepoint/v3"/>
    <ds:schemaRef ds:uri="http://purl.org/dc/terms/"/>
    <ds:schemaRef ds:uri="http://schemas.openxmlformats.org/package/2006/metadata/core-properties"/>
    <ds:schemaRef ds:uri="f9bbe8b6-5114-4b7f-a6e4-c9cc42d32f28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565fee76-5c69-47ec-8d5c-de6706c05df9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224C35AA-5D9B-4C8D-9450-6B0B26A6012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f9bbe8b6-5114-4b7f-a6e4-c9cc42d32f28"/>
    <ds:schemaRef ds:uri="565fee76-5c69-47ec-8d5c-de6706c05df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5834DC4-7B28-49A4-A79C-FE49926882C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2593</TotalTime>
  <Words>560</Words>
  <Application>Microsoft Office PowerPoint</Application>
  <PresentationFormat>Widescreen</PresentationFormat>
  <Paragraphs>114</Paragraphs>
  <Slides>10</Slides>
  <Notes>8</Notes>
  <HiddenSlides>0</HiddenSlides>
  <MMClips>0</MMClips>
  <ScaleCrop>false</ScaleCrop>
  <HeadingPairs>
    <vt:vector size="4" baseType="variant">
      <vt:variant>
        <vt:lpstr>Theme</vt:lpstr>
      </vt:variant>
      <vt:variant>
        <vt:i4>4</vt:i4>
      </vt:variant>
      <vt:variant>
        <vt:lpstr>Slide Titles</vt:lpstr>
      </vt:variant>
      <vt:variant>
        <vt:i4>10</vt:i4>
      </vt:variant>
    </vt:vector>
  </HeadingPairs>
  <TitlesOfParts>
    <vt:vector size="14" baseType="lpstr">
      <vt:lpstr>office theme</vt:lpstr>
      <vt:lpstr>Hello Heart</vt:lpstr>
      <vt:lpstr>1_office theme</vt:lpstr>
      <vt:lpstr>CVS_Health_PPT_Executive_Template</vt:lpstr>
      <vt:lpstr>PowerPoint Presentation</vt:lpstr>
      <vt:lpstr>PowerPoint Presentation</vt:lpstr>
      <vt:lpstr>How glucagon like peptides (GLP-1s) work? </vt:lpstr>
      <vt:lpstr>PowerPoint Presentation</vt:lpstr>
      <vt:lpstr>PowerPoint Presentation</vt:lpstr>
      <vt:lpstr>Hypertension, diabetes, high cholesterol, &amp; obesity are interrelated and risk factors for CVD</vt:lpstr>
      <vt:lpstr>Lifestyle change is key to managing health</vt:lpstr>
      <vt:lpstr>Engagement strategies are key</vt:lpstr>
      <vt:lpstr>A simple, digital hub to improve heart health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Lozada, Sandra</cp:lastModifiedBy>
  <cp:revision>64</cp:revision>
  <dcterms:created xsi:type="dcterms:W3CDTF">2024-04-10T16:21:06Z</dcterms:created>
  <dcterms:modified xsi:type="dcterms:W3CDTF">2024-06-27T15:14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A6F73050F6844468BAB12C587612892</vt:lpwstr>
  </property>
  <property fmtid="{D5CDD505-2E9C-101B-9397-08002B2CF9AE}" pid="3" name="MediaServiceImageTags">
    <vt:lpwstr/>
  </property>
  <property fmtid="{D5CDD505-2E9C-101B-9397-08002B2CF9AE}" pid="4" name="MSIP_Label_1ecdf243-b9b0-4f63-8694-76742e4201b7_Enabled">
    <vt:lpwstr>true</vt:lpwstr>
  </property>
  <property fmtid="{D5CDD505-2E9C-101B-9397-08002B2CF9AE}" pid="5" name="MSIP_Label_1ecdf243-b9b0-4f63-8694-76742e4201b7_SetDate">
    <vt:lpwstr>2024-05-23T18:12:11Z</vt:lpwstr>
  </property>
  <property fmtid="{D5CDD505-2E9C-101B-9397-08002B2CF9AE}" pid="6" name="MSIP_Label_1ecdf243-b9b0-4f63-8694-76742e4201b7_Method">
    <vt:lpwstr>Standard</vt:lpwstr>
  </property>
  <property fmtid="{D5CDD505-2E9C-101B-9397-08002B2CF9AE}" pid="7" name="MSIP_Label_1ecdf243-b9b0-4f63-8694-76742e4201b7_Name">
    <vt:lpwstr>Proprietary general</vt:lpwstr>
  </property>
  <property fmtid="{D5CDD505-2E9C-101B-9397-08002B2CF9AE}" pid="8" name="MSIP_Label_1ecdf243-b9b0-4f63-8694-76742e4201b7_SiteId">
    <vt:lpwstr>fabb61b8-3afe-4e75-b934-a47f782b8cd7</vt:lpwstr>
  </property>
  <property fmtid="{D5CDD505-2E9C-101B-9397-08002B2CF9AE}" pid="9" name="MSIP_Label_1ecdf243-b9b0-4f63-8694-76742e4201b7_ActionId">
    <vt:lpwstr>0840ad1f-dff6-42e4-b53c-f0b1739dea96</vt:lpwstr>
  </property>
  <property fmtid="{D5CDD505-2E9C-101B-9397-08002B2CF9AE}" pid="10" name="MSIP_Label_1ecdf243-b9b0-4f63-8694-76742e4201b7_ContentBits">
    <vt:lpwstr>0</vt:lpwstr>
  </property>
</Properties>
</file>